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gif" ContentType="image/gif"/>
  <Default Extension="wdp" ContentType="image/vnd.ms-photo"/>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embeddings/oleObject1.bin" ContentType="application/vnd.openxmlformats-officedocument.oleObject"/>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notesSlides/notesSlide10.xml" ContentType="application/vnd.openxmlformats-officedocument.presentationml.notesSlide+xml"/>
  <Override PartName="/ppt/embeddings/oleObject2.bin" ContentType="application/vnd.openxmlformats-officedocument.oleObject"/>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74" r:id="rId1"/>
  </p:sldMasterIdLst>
  <p:notesMasterIdLst>
    <p:notesMasterId r:id="rId21"/>
  </p:notesMasterIdLst>
  <p:handoutMasterIdLst>
    <p:handoutMasterId r:id="rId22"/>
  </p:handoutMasterIdLst>
  <p:sldIdLst>
    <p:sldId id="316" r:id="rId2"/>
    <p:sldId id="313" r:id="rId3"/>
    <p:sldId id="265" r:id="rId4"/>
    <p:sldId id="317" r:id="rId5"/>
    <p:sldId id="269" r:id="rId6"/>
    <p:sldId id="270" r:id="rId7"/>
    <p:sldId id="320" r:id="rId8"/>
    <p:sldId id="268" r:id="rId9"/>
    <p:sldId id="272" r:id="rId10"/>
    <p:sldId id="318" r:id="rId11"/>
    <p:sldId id="319" r:id="rId12"/>
    <p:sldId id="323" r:id="rId13"/>
    <p:sldId id="305" r:id="rId14"/>
    <p:sldId id="306" r:id="rId15"/>
    <p:sldId id="307" r:id="rId16"/>
    <p:sldId id="308" r:id="rId17"/>
    <p:sldId id="309" r:id="rId18"/>
    <p:sldId id="310" r:id="rId19"/>
    <p:sldId id="311" r:id="rId20"/>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606">
          <p15:clr>
            <a:srgbClr val="A4A3A4"/>
          </p15:clr>
        </p15:guide>
        <p15:guide id="2" pos="2880">
          <p15:clr>
            <a:srgbClr val="A4A3A4"/>
          </p15:clr>
        </p15:guide>
      </p15:sldGuideLst>
    </p:ext>
    <p:ext uri="{2D200454-40CA-4A62-9FC3-DE9A4176ACB9}">
      <p15:notesGuideLst xmlns=""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30" autoAdjust="0"/>
    <p:restoredTop sz="93389" autoAdjust="0"/>
  </p:normalViewPr>
  <p:slideViewPr>
    <p:cSldViewPr snapToGrid="0" snapToObjects="1" showGuides="1">
      <p:cViewPr varScale="1">
        <p:scale>
          <a:sx n="176" d="100"/>
          <a:sy n="176" d="100"/>
        </p:scale>
        <p:origin x="-1864" y="-112"/>
      </p:cViewPr>
      <p:guideLst>
        <p:guide orient="horz" pos="1606"/>
        <p:guide pos="2880"/>
      </p:guideLst>
    </p:cSldViewPr>
  </p:slideViewPr>
  <p:outlineViewPr>
    <p:cViewPr>
      <p:scale>
        <a:sx n="33" d="100"/>
        <a:sy n="33" d="100"/>
      </p:scale>
      <p:origin x="0" y="-5592"/>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p:cViewPr>
        <p:scale>
          <a:sx n="120" d="100"/>
          <a:sy n="120" d="100"/>
        </p:scale>
        <p:origin x="1790" y="77"/>
      </p:cViewPr>
      <p:guideLst/>
    </p:cSldViewPr>
  </p:notes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notesMaster" Target="notesMasters/notesMaster1.xml"/><Relationship Id="rId22" Type="http://schemas.openxmlformats.org/officeDocument/2006/relationships/handoutMaster" Target="handoutMasters/handoutMaster1.xml"/><Relationship Id="rId23" Type="http://schemas.openxmlformats.org/officeDocument/2006/relationships/printerSettings" Target="printerSettings/printerSettings1.bin"/><Relationship Id="rId24" Type="http://schemas.openxmlformats.org/officeDocument/2006/relationships/presProps" Target="presProps.xml"/><Relationship Id="rId25" Type="http://schemas.openxmlformats.org/officeDocument/2006/relationships/viewProps" Target="viewProps.xml"/><Relationship Id="rId26" Type="http://schemas.openxmlformats.org/officeDocument/2006/relationships/theme" Target="theme/theme1.xml"/><Relationship Id="rId27"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oleObject" Target="file:///C:\Users\mnm\AppData\Local\Microsoft\Windows\Temporary%20Internet%20Files\Content.Outlook\XGWAZTWD\All%20Workshop%20Attendees%20by%20Sector%20and%20Organization_UPDATED_13_05_01%20(2).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dLbls>
            <c:dLbl>
              <c:idx val="0"/>
              <c:layout>
                <c:manualLayout>
                  <c:x val="-0.170494590936042"/>
                  <c:y val="0.138716344309068"/>
                </c:manualLayout>
              </c:layout>
              <c:spPr/>
              <c:txPr>
                <a:bodyPr/>
                <a:lstStyle/>
                <a:p>
                  <a:pPr>
                    <a:defRPr b="1">
                      <a:solidFill>
                        <a:schemeClr val="bg1"/>
                      </a:solidFill>
                    </a:defRPr>
                  </a:pPr>
                  <a:endParaRPr lang="en-US"/>
                </a:p>
              </c:txPr>
              <c:dLblPos val="bestFit"/>
              <c:showLegendKey val="0"/>
              <c:showVal val="0"/>
              <c:showCatName val="1"/>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0-13B3-4FEC-95B2-B115067EBA0A}"/>
                </c:ext>
              </c:extLst>
            </c:dLbl>
            <c:dLbl>
              <c:idx val="1"/>
              <c:layout>
                <c:manualLayout>
                  <c:x val="-0.0730691104011609"/>
                  <c:y val="-0.192996652951747"/>
                </c:manualLayout>
              </c:layout>
              <c:spPr/>
              <c:txPr>
                <a:bodyPr/>
                <a:lstStyle/>
                <a:p>
                  <a:pPr>
                    <a:defRPr b="1">
                      <a:solidFill>
                        <a:schemeClr val="bg1"/>
                      </a:solidFill>
                    </a:defRPr>
                  </a:pPr>
                  <a:endParaRPr lang="en-US"/>
                </a:p>
              </c:txPr>
              <c:dLblPos val="bestFit"/>
              <c:showLegendKey val="0"/>
              <c:showVal val="0"/>
              <c:showCatName val="1"/>
              <c:showSerName val="0"/>
              <c:showPercent val="1"/>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13B3-4FEC-95B2-B115067EBA0A}"/>
                </c:ext>
              </c:extLst>
            </c:dLbl>
            <c:dLbl>
              <c:idx val="2"/>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13B3-4FEC-95B2-B115067EBA0A}"/>
                </c:ext>
              </c:extLst>
            </c:dLbl>
            <c:dLbl>
              <c:idx val="3"/>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13B3-4FEC-95B2-B115067EBA0A}"/>
                </c:ext>
              </c:extLst>
            </c:dLbl>
            <c:dLbl>
              <c:idx val="4"/>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4-13B3-4FEC-95B2-B115067EBA0A}"/>
                </c:ext>
              </c:extLst>
            </c:dLbl>
            <c:dLbl>
              <c:idx val="5"/>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13B3-4FEC-95B2-B115067EBA0A}"/>
                </c:ext>
              </c:extLst>
            </c:dLbl>
            <c:spPr>
              <a:noFill/>
              <a:ln>
                <a:noFill/>
              </a:ln>
              <a:effectLst/>
            </c:spPr>
            <c:dLblPos val="outEnd"/>
            <c:showLegendKey val="0"/>
            <c:showVal val="0"/>
            <c:showCatName val="1"/>
            <c:showSerName val="0"/>
            <c:showPercent val="1"/>
            <c:showBubbleSize val="0"/>
            <c:showLeaderLines val="1"/>
            <c:extLst xmlns:c16r2="http://schemas.microsoft.com/office/drawing/2015/06/chart">
              <c:ext xmlns:c15="http://schemas.microsoft.com/office/drawing/2012/chart" uri="{CE6537A1-D6FC-4f65-9D91-7224C49458BB}"/>
            </c:extLst>
          </c:dLbls>
          <c:cat>
            <c:strRef>
              <c:f>Participants!$F$1227:$F$1232</c:f>
              <c:strCache>
                <c:ptCount val="6"/>
                <c:pt idx="0">
                  <c:v>Industry</c:v>
                </c:pt>
                <c:pt idx="1">
                  <c:v>Academia</c:v>
                </c:pt>
                <c:pt idx="2">
                  <c:v>Federal State &amp; Local Government</c:v>
                </c:pt>
                <c:pt idx="3">
                  <c:v>Research, non-profit organizations</c:v>
                </c:pt>
                <c:pt idx="4">
                  <c:v>Economic Development</c:v>
                </c:pt>
                <c:pt idx="5">
                  <c:v>All Other</c:v>
                </c:pt>
              </c:strCache>
            </c:strRef>
          </c:cat>
          <c:val>
            <c:numRef>
              <c:f>Participants!$G$1227:$G$1232</c:f>
              <c:numCache>
                <c:formatCode>General</c:formatCode>
                <c:ptCount val="6"/>
                <c:pt idx="0">
                  <c:v>382.0</c:v>
                </c:pt>
                <c:pt idx="1">
                  <c:v>375.0</c:v>
                </c:pt>
                <c:pt idx="2">
                  <c:v>170.0</c:v>
                </c:pt>
                <c:pt idx="3">
                  <c:v>91.0</c:v>
                </c:pt>
                <c:pt idx="4">
                  <c:v>73.0</c:v>
                </c:pt>
                <c:pt idx="5">
                  <c:v>124.0</c:v>
                </c:pt>
              </c:numCache>
            </c:numRef>
          </c:val>
          <c:extLst xmlns:c16r2="http://schemas.microsoft.com/office/drawing/2015/06/chart">
            <c:ext xmlns:c16="http://schemas.microsoft.com/office/drawing/2014/chart" uri="{C3380CC4-5D6E-409C-BE32-E72D297353CC}">
              <c16:uniqueId val="{00000006-13B3-4FEC-95B2-B115067EBA0A}"/>
            </c:ext>
          </c:extLst>
        </c:ser>
        <c:dLbls>
          <c:showLegendKey val="0"/>
          <c:showVal val="0"/>
          <c:showCatName val="0"/>
          <c:showSerName val="0"/>
          <c:showPercent val="0"/>
          <c:showBubbleSize val="0"/>
          <c:showLeaderLines val="1"/>
        </c:dLbls>
        <c:firstSliceAng val="0"/>
      </c:pieChart>
    </c:plotArea>
    <c:plotVisOnly val="1"/>
    <c:dispBlanksAs val="gap"/>
    <c:showDLblsOverMax val="0"/>
  </c:chart>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5.png"/><Relationship Id="rId5" Type="http://schemas.openxmlformats.org/officeDocument/2006/relationships/image" Target="../media/image36.png"/><Relationship Id="rId6" Type="http://schemas.openxmlformats.org/officeDocument/2006/relationships/image" Target="../media/image37.png"/><Relationship Id="rId7" Type="http://schemas.openxmlformats.org/officeDocument/2006/relationships/image" Target="../media/image38.png"/><Relationship Id="rId8" Type="http://schemas.openxmlformats.org/officeDocument/2006/relationships/image" Target="../media/image39.png"/><Relationship Id="rId1" Type="http://schemas.openxmlformats.org/officeDocument/2006/relationships/image" Target="../media/image32.png"/><Relationship Id="rId2" Type="http://schemas.openxmlformats.org/officeDocument/2006/relationships/image" Target="../media/image33.png"/></Relationships>
</file>

<file path=ppt/diagrams/_rels/data2.xml.rels><?xml version="1.0" encoding="UTF-8" standalone="yes"?>
<Relationships xmlns="http://schemas.openxmlformats.org/package/2006/relationships"><Relationship Id="rId1" Type="http://schemas.openxmlformats.org/officeDocument/2006/relationships/image" Target="../media/image110.png"/><Relationship Id="rId2" Type="http://schemas.openxmlformats.org/officeDocument/2006/relationships/image" Target="../media/image111.jpeg"/></Relationships>
</file>

<file path=ppt/diagrams/_rels/drawing1.xml.rels><?xml version="1.0" encoding="UTF-8" standalone="yes"?>
<Relationships xmlns="http://schemas.openxmlformats.org/package/2006/relationships"><Relationship Id="rId3" Type="http://schemas.openxmlformats.org/officeDocument/2006/relationships/image" Target="../media/image38.png"/><Relationship Id="rId4" Type="http://schemas.openxmlformats.org/officeDocument/2006/relationships/image" Target="../media/image39.png"/><Relationship Id="rId5" Type="http://schemas.openxmlformats.org/officeDocument/2006/relationships/image" Target="../media/image32.png"/><Relationship Id="rId6" Type="http://schemas.openxmlformats.org/officeDocument/2006/relationships/image" Target="../media/image33.png"/><Relationship Id="rId7" Type="http://schemas.openxmlformats.org/officeDocument/2006/relationships/image" Target="../media/image34.png"/><Relationship Id="rId8" Type="http://schemas.openxmlformats.org/officeDocument/2006/relationships/image" Target="../media/image35.png"/><Relationship Id="rId1" Type="http://schemas.openxmlformats.org/officeDocument/2006/relationships/image" Target="../media/image36.png"/><Relationship Id="rId2" Type="http://schemas.openxmlformats.org/officeDocument/2006/relationships/image" Target="../media/image37.png"/></Relationships>
</file>

<file path=ppt/diagrams/_rels/drawing2.xml.rels><?xml version="1.0" encoding="UTF-8" standalone="yes"?>
<Relationships xmlns="http://schemas.openxmlformats.org/package/2006/relationships"><Relationship Id="rId1" Type="http://schemas.openxmlformats.org/officeDocument/2006/relationships/image" Target="../media/image110.png"/><Relationship Id="rId2" Type="http://schemas.openxmlformats.org/officeDocument/2006/relationships/image" Target="../media/image111.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8955258-151C-4755-969C-5FE6272AD3B2}"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4CB569B4-F3A0-4A79-86B4-3880DCDD400F}">
      <dgm:prSet phldrT="[Text]"/>
      <dgm:spPr>
        <a:blipFill rotWithShape="0">
          <a:blip xmlns:r="http://schemas.openxmlformats.org/officeDocument/2006/relationships" r:embed="rId1" cstate="email">
            <a:extLst>
              <a:ext uri="{28A0092B-C50C-407E-A947-70E740481C1C}">
                <a14:useLocalDpi xmlns:a14="http://schemas.microsoft.com/office/drawing/2010/main"/>
              </a:ext>
            </a:extLst>
          </a:blip>
          <a:stretch>
            <a:fillRect/>
          </a:stretch>
        </a:blipFill>
      </dgm:spPr>
      <dgm:t>
        <a:bodyPr/>
        <a:lstStyle/>
        <a:p>
          <a:r>
            <a:rPr lang="en-US" dirty="0" smtClean="0"/>
            <a:t> </a:t>
          </a:r>
          <a:endParaRPr lang="en-US" dirty="0"/>
        </a:p>
      </dgm:t>
    </dgm:pt>
    <dgm:pt modelId="{9EC6D9BC-9AB3-4BD3-9DFE-7A872495AEB7}" type="parTrans" cxnId="{4C7DA11C-C108-4F4C-918F-0C1B413FED0F}">
      <dgm:prSet/>
      <dgm:spPr/>
      <dgm:t>
        <a:bodyPr/>
        <a:lstStyle/>
        <a:p>
          <a:endParaRPr lang="en-US"/>
        </a:p>
      </dgm:t>
    </dgm:pt>
    <dgm:pt modelId="{2C79CFA7-5A2D-47B7-AA5F-1B28EC34D573}" type="sibTrans" cxnId="{4C7DA11C-C108-4F4C-918F-0C1B413FED0F}">
      <dgm:prSet/>
      <dgm:spPr>
        <a:blipFill rotWithShape="0">
          <a:blip xmlns:r="http://schemas.openxmlformats.org/officeDocument/2006/relationships" r:embed="rId2" cstate="email">
            <a:extLst>
              <a:ext uri="{28A0092B-C50C-407E-A947-70E740481C1C}">
                <a14:useLocalDpi xmlns:a14="http://schemas.microsoft.com/office/drawing/2010/main"/>
              </a:ext>
            </a:extLst>
          </a:blip>
          <a:stretch>
            <a:fillRect/>
          </a:stretch>
        </a:blipFill>
      </dgm:spPr>
      <dgm:t>
        <a:bodyPr/>
        <a:lstStyle/>
        <a:p>
          <a:endParaRPr lang="en-US" dirty="0"/>
        </a:p>
      </dgm:t>
    </dgm:pt>
    <dgm:pt modelId="{CFF8EA93-D2FC-4DE6-9BCA-140ECDB94D31}">
      <dgm:prSet phldrT="[Text]"/>
      <dgm:spPr>
        <a:blipFill rotWithShape="0">
          <a:blip xmlns:r="http://schemas.openxmlformats.org/officeDocument/2006/relationships" r:embed="rId3" cstate="email">
            <a:extLst>
              <a:ext uri="{28A0092B-C50C-407E-A947-70E740481C1C}">
                <a14:useLocalDpi xmlns:a14="http://schemas.microsoft.com/office/drawing/2010/main"/>
              </a:ext>
            </a:extLst>
          </a:blip>
          <a:stretch>
            <a:fillRect/>
          </a:stretch>
        </a:blipFill>
      </dgm:spPr>
      <dgm:t>
        <a:bodyPr/>
        <a:lstStyle/>
        <a:p>
          <a:r>
            <a:rPr lang="en-US" dirty="0" smtClean="0"/>
            <a:t> </a:t>
          </a:r>
          <a:endParaRPr lang="en-US" dirty="0"/>
        </a:p>
      </dgm:t>
    </dgm:pt>
    <dgm:pt modelId="{AF53911E-FACB-43CC-833D-644161E8CB98}" type="parTrans" cxnId="{5B486CFF-1630-44DC-BFA8-64AA6FD16C9B}">
      <dgm:prSet/>
      <dgm:spPr/>
      <dgm:t>
        <a:bodyPr/>
        <a:lstStyle/>
        <a:p>
          <a:endParaRPr lang="en-US"/>
        </a:p>
      </dgm:t>
    </dgm:pt>
    <dgm:pt modelId="{5866E7EA-DA68-41B5-8599-4C8279A9E191}" type="sibTrans" cxnId="{5B486CFF-1630-44DC-BFA8-64AA6FD16C9B}">
      <dgm:prSet/>
      <dgm:spPr>
        <a:blipFill rotWithShape="0">
          <a:blip xmlns:r="http://schemas.openxmlformats.org/officeDocument/2006/relationships" r:embed="rId4" cstate="email">
            <a:extLst>
              <a:ext uri="{28A0092B-C50C-407E-A947-70E740481C1C}">
                <a14:useLocalDpi xmlns:a14="http://schemas.microsoft.com/office/drawing/2010/main"/>
              </a:ext>
            </a:extLst>
          </a:blip>
          <a:stretch>
            <a:fillRect/>
          </a:stretch>
        </a:blipFill>
      </dgm:spPr>
      <dgm:t>
        <a:bodyPr/>
        <a:lstStyle/>
        <a:p>
          <a:endParaRPr lang="en-US" dirty="0"/>
        </a:p>
      </dgm:t>
    </dgm:pt>
    <dgm:pt modelId="{93D719CE-E2A1-4F72-BCEC-7547CAAE8B50}">
      <dgm:prSet phldrT="[Text]"/>
      <dgm:spPr>
        <a:blipFill rotWithShape="0">
          <a:blip xmlns:r="http://schemas.openxmlformats.org/officeDocument/2006/relationships" r:embed="rId5" cstate="email">
            <a:extLst>
              <a:ext uri="{28A0092B-C50C-407E-A947-70E740481C1C}">
                <a14:useLocalDpi xmlns:a14="http://schemas.microsoft.com/office/drawing/2010/main"/>
              </a:ext>
            </a:extLst>
          </a:blip>
          <a:stretch>
            <a:fillRect/>
          </a:stretch>
        </a:blipFill>
      </dgm:spPr>
      <dgm:t>
        <a:bodyPr/>
        <a:lstStyle/>
        <a:p>
          <a:r>
            <a:rPr lang="en-US" dirty="0" smtClean="0"/>
            <a:t> </a:t>
          </a:r>
          <a:endParaRPr lang="en-US" dirty="0"/>
        </a:p>
      </dgm:t>
    </dgm:pt>
    <dgm:pt modelId="{4FA72531-6A10-4F25-9339-08E8D985C1FF}" type="sibTrans" cxnId="{1E738ED8-FE5E-4F80-B475-5E58DB9396F3}">
      <dgm:prSet/>
      <dgm:spPr>
        <a:blipFill rotWithShape="0">
          <a:blip xmlns:r="http://schemas.openxmlformats.org/officeDocument/2006/relationships" r:embed="rId6" cstate="email">
            <a:extLst>
              <a:ext uri="{28A0092B-C50C-407E-A947-70E740481C1C}">
                <a14:useLocalDpi xmlns:a14="http://schemas.microsoft.com/office/drawing/2010/main"/>
              </a:ext>
            </a:extLst>
          </a:blip>
          <a:stretch>
            <a:fillRect/>
          </a:stretch>
        </a:blipFill>
      </dgm:spPr>
      <dgm:t>
        <a:bodyPr/>
        <a:lstStyle/>
        <a:p>
          <a:endParaRPr lang="en-US" dirty="0"/>
        </a:p>
      </dgm:t>
    </dgm:pt>
    <dgm:pt modelId="{208C471F-9101-4ABD-B27F-2E40EBEEDE05}" type="parTrans" cxnId="{1E738ED8-FE5E-4F80-B475-5E58DB9396F3}">
      <dgm:prSet/>
      <dgm:spPr/>
      <dgm:t>
        <a:bodyPr/>
        <a:lstStyle/>
        <a:p>
          <a:endParaRPr lang="en-US"/>
        </a:p>
      </dgm:t>
    </dgm:pt>
    <dgm:pt modelId="{457B4F71-B603-49E0-A4C0-A4895722CB6C}">
      <dgm:prSet/>
      <dgm:spPr>
        <a:blipFill rotWithShape="0">
          <a:blip xmlns:r="http://schemas.openxmlformats.org/officeDocument/2006/relationships" r:embed="rId7" cstate="email">
            <a:extLst>
              <a:ext uri="{28A0092B-C50C-407E-A947-70E740481C1C}">
                <a14:useLocalDpi xmlns:a14="http://schemas.microsoft.com/office/drawing/2010/main"/>
              </a:ext>
            </a:extLst>
          </a:blip>
          <a:stretch>
            <a:fillRect/>
          </a:stretch>
        </a:blipFill>
      </dgm:spPr>
      <dgm:t>
        <a:bodyPr/>
        <a:lstStyle/>
        <a:p>
          <a:endParaRPr lang="en-US" dirty="0"/>
        </a:p>
      </dgm:t>
    </dgm:pt>
    <dgm:pt modelId="{03FBB1AF-D0BE-4213-8955-BD2EB4AACB66}" type="parTrans" cxnId="{2CF820AE-804F-4554-B67D-92DD20A65345}">
      <dgm:prSet/>
      <dgm:spPr/>
      <dgm:t>
        <a:bodyPr/>
        <a:lstStyle/>
        <a:p>
          <a:endParaRPr lang="en-US"/>
        </a:p>
      </dgm:t>
    </dgm:pt>
    <dgm:pt modelId="{E4749562-ABB8-46D7-8DB2-E1D2F80510C9}" type="sibTrans" cxnId="{2CF820AE-804F-4554-B67D-92DD20A65345}">
      <dgm:prSet/>
      <dgm:spPr>
        <a:blipFill rotWithShape="0">
          <a:blip xmlns:r="http://schemas.openxmlformats.org/officeDocument/2006/relationships" r:embed="rId8" cstate="email">
            <a:extLst>
              <a:ext uri="{28A0092B-C50C-407E-A947-70E740481C1C}">
                <a14:useLocalDpi xmlns:a14="http://schemas.microsoft.com/office/drawing/2010/main"/>
              </a:ext>
            </a:extLst>
          </a:blip>
          <a:stretch>
            <a:fillRect/>
          </a:stretch>
        </a:blipFill>
      </dgm:spPr>
      <dgm:t>
        <a:bodyPr/>
        <a:lstStyle/>
        <a:p>
          <a:endParaRPr lang="en-US" dirty="0"/>
        </a:p>
      </dgm:t>
    </dgm:pt>
    <dgm:pt modelId="{CD3B0D9D-FBAC-4CA8-A694-EED1BD68BE79}" type="pres">
      <dgm:prSet presAssocID="{B8955258-151C-4755-969C-5FE6272AD3B2}" presName="Name0" presStyleCnt="0">
        <dgm:presLayoutVars>
          <dgm:chMax/>
          <dgm:chPref/>
          <dgm:dir/>
          <dgm:animLvl val="lvl"/>
        </dgm:presLayoutVars>
      </dgm:prSet>
      <dgm:spPr/>
      <dgm:t>
        <a:bodyPr/>
        <a:lstStyle/>
        <a:p>
          <a:endParaRPr lang="en-US"/>
        </a:p>
      </dgm:t>
    </dgm:pt>
    <dgm:pt modelId="{CED3329B-D336-4F9F-8524-6F3D5595A9D1}" type="pres">
      <dgm:prSet presAssocID="{93D719CE-E2A1-4F72-BCEC-7547CAAE8B50}" presName="composite" presStyleCnt="0"/>
      <dgm:spPr/>
    </dgm:pt>
    <dgm:pt modelId="{0B1A67BA-C8D9-4E10-AE9A-922C47AE4338}" type="pres">
      <dgm:prSet presAssocID="{93D719CE-E2A1-4F72-BCEC-7547CAAE8B50}" presName="Parent1" presStyleLbl="node1" presStyleIdx="0" presStyleCnt="8">
        <dgm:presLayoutVars>
          <dgm:chMax val="1"/>
          <dgm:chPref val="1"/>
          <dgm:bulletEnabled val="1"/>
        </dgm:presLayoutVars>
      </dgm:prSet>
      <dgm:spPr/>
      <dgm:t>
        <a:bodyPr/>
        <a:lstStyle/>
        <a:p>
          <a:endParaRPr lang="en-US"/>
        </a:p>
      </dgm:t>
    </dgm:pt>
    <dgm:pt modelId="{758B3EC9-984B-4891-91BB-39393D844A4C}" type="pres">
      <dgm:prSet presAssocID="{93D719CE-E2A1-4F72-BCEC-7547CAAE8B50}" presName="Childtext1" presStyleLbl="revTx" presStyleIdx="0" presStyleCnt="4">
        <dgm:presLayoutVars>
          <dgm:chMax val="0"/>
          <dgm:chPref val="0"/>
          <dgm:bulletEnabled val="1"/>
        </dgm:presLayoutVars>
      </dgm:prSet>
      <dgm:spPr/>
      <dgm:t>
        <a:bodyPr/>
        <a:lstStyle/>
        <a:p>
          <a:endParaRPr lang="en-US"/>
        </a:p>
      </dgm:t>
    </dgm:pt>
    <dgm:pt modelId="{AEE96414-4DA7-4767-811E-5D9B4BD5A7CB}" type="pres">
      <dgm:prSet presAssocID="{93D719CE-E2A1-4F72-BCEC-7547CAAE8B50}" presName="BalanceSpacing" presStyleCnt="0"/>
      <dgm:spPr/>
    </dgm:pt>
    <dgm:pt modelId="{E5D2BAEF-FA69-416C-AF6A-C17F73CFFD9A}" type="pres">
      <dgm:prSet presAssocID="{93D719CE-E2A1-4F72-BCEC-7547CAAE8B50}" presName="BalanceSpacing1" presStyleCnt="0"/>
      <dgm:spPr/>
    </dgm:pt>
    <dgm:pt modelId="{FB13E468-3092-470A-8334-FA139B6560A5}" type="pres">
      <dgm:prSet presAssocID="{4FA72531-6A10-4F25-9339-08E8D985C1FF}" presName="Accent1Text" presStyleLbl="node1" presStyleIdx="1" presStyleCnt="8"/>
      <dgm:spPr/>
      <dgm:t>
        <a:bodyPr/>
        <a:lstStyle/>
        <a:p>
          <a:endParaRPr lang="en-US"/>
        </a:p>
      </dgm:t>
    </dgm:pt>
    <dgm:pt modelId="{9FF61741-0954-4EB3-AFEB-97EC2FA099DE}" type="pres">
      <dgm:prSet presAssocID="{4FA72531-6A10-4F25-9339-08E8D985C1FF}" presName="spaceBetweenRectangles" presStyleCnt="0"/>
      <dgm:spPr/>
    </dgm:pt>
    <dgm:pt modelId="{FE703CCE-AB5F-4028-B143-50EAA189434F}" type="pres">
      <dgm:prSet presAssocID="{457B4F71-B603-49E0-A4C0-A4895722CB6C}" presName="composite" presStyleCnt="0"/>
      <dgm:spPr/>
    </dgm:pt>
    <dgm:pt modelId="{7735819C-D51A-4D24-B0D6-90495ACC87F6}" type="pres">
      <dgm:prSet presAssocID="{457B4F71-B603-49E0-A4C0-A4895722CB6C}" presName="Parent1" presStyleLbl="node1" presStyleIdx="2" presStyleCnt="8">
        <dgm:presLayoutVars>
          <dgm:chMax val="1"/>
          <dgm:chPref val="1"/>
          <dgm:bulletEnabled val="1"/>
        </dgm:presLayoutVars>
      </dgm:prSet>
      <dgm:spPr/>
      <dgm:t>
        <a:bodyPr/>
        <a:lstStyle/>
        <a:p>
          <a:endParaRPr lang="en-US"/>
        </a:p>
      </dgm:t>
    </dgm:pt>
    <dgm:pt modelId="{839D2C20-26C6-4175-B57D-F4AF4E1B94EC}" type="pres">
      <dgm:prSet presAssocID="{457B4F71-B603-49E0-A4C0-A4895722CB6C}" presName="Childtext1" presStyleLbl="revTx" presStyleIdx="1" presStyleCnt="4">
        <dgm:presLayoutVars>
          <dgm:chMax val="0"/>
          <dgm:chPref val="0"/>
          <dgm:bulletEnabled val="1"/>
        </dgm:presLayoutVars>
      </dgm:prSet>
      <dgm:spPr/>
    </dgm:pt>
    <dgm:pt modelId="{905ADB79-670C-47C7-BE47-A69EF77670CB}" type="pres">
      <dgm:prSet presAssocID="{457B4F71-B603-49E0-A4C0-A4895722CB6C}" presName="BalanceSpacing" presStyleCnt="0"/>
      <dgm:spPr/>
    </dgm:pt>
    <dgm:pt modelId="{AACCABC3-3763-4835-A5BC-9BC48CABA261}" type="pres">
      <dgm:prSet presAssocID="{457B4F71-B603-49E0-A4C0-A4895722CB6C}" presName="BalanceSpacing1" presStyleCnt="0"/>
      <dgm:spPr/>
    </dgm:pt>
    <dgm:pt modelId="{37F31D68-A20A-4049-AF53-9085157B0512}" type="pres">
      <dgm:prSet presAssocID="{E4749562-ABB8-46D7-8DB2-E1D2F80510C9}" presName="Accent1Text" presStyleLbl="node1" presStyleIdx="3" presStyleCnt="8"/>
      <dgm:spPr/>
      <dgm:t>
        <a:bodyPr/>
        <a:lstStyle/>
        <a:p>
          <a:endParaRPr lang="en-US"/>
        </a:p>
      </dgm:t>
    </dgm:pt>
    <dgm:pt modelId="{0AB56F36-24B8-4D05-87CC-8D4192A056CD}" type="pres">
      <dgm:prSet presAssocID="{E4749562-ABB8-46D7-8DB2-E1D2F80510C9}" presName="spaceBetweenRectangles" presStyleCnt="0"/>
      <dgm:spPr/>
    </dgm:pt>
    <dgm:pt modelId="{31016F63-20D2-4D22-97A2-8664430B1A1D}" type="pres">
      <dgm:prSet presAssocID="{4CB569B4-F3A0-4A79-86B4-3880DCDD400F}" presName="composite" presStyleCnt="0"/>
      <dgm:spPr/>
    </dgm:pt>
    <dgm:pt modelId="{43251672-AFE0-453C-9C21-38F9F8A9AEBD}" type="pres">
      <dgm:prSet presAssocID="{4CB569B4-F3A0-4A79-86B4-3880DCDD400F}" presName="Parent1" presStyleLbl="node1" presStyleIdx="4" presStyleCnt="8">
        <dgm:presLayoutVars>
          <dgm:chMax val="1"/>
          <dgm:chPref val="1"/>
          <dgm:bulletEnabled val="1"/>
        </dgm:presLayoutVars>
      </dgm:prSet>
      <dgm:spPr/>
      <dgm:t>
        <a:bodyPr/>
        <a:lstStyle/>
        <a:p>
          <a:endParaRPr lang="en-US"/>
        </a:p>
      </dgm:t>
    </dgm:pt>
    <dgm:pt modelId="{476D08A0-71E6-442A-BDCA-E77807F7D679}" type="pres">
      <dgm:prSet presAssocID="{4CB569B4-F3A0-4A79-86B4-3880DCDD400F}" presName="Childtext1" presStyleLbl="revTx" presStyleIdx="2" presStyleCnt="4">
        <dgm:presLayoutVars>
          <dgm:chMax val="0"/>
          <dgm:chPref val="0"/>
          <dgm:bulletEnabled val="1"/>
        </dgm:presLayoutVars>
      </dgm:prSet>
      <dgm:spPr/>
      <dgm:t>
        <a:bodyPr/>
        <a:lstStyle/>
        <a:p>
          <a:endParaRPr lang="en-US"/>
        </a:p>
      </dgm:t>
    </dgm:pt>
    <dgm:pt modelId="{4F52AF88-6A7C-4628-BD6E-D297C2C7C784}" type="pres">
      <dgm:prSet presAssocID="{4CB569B4-F3A0-4A79-86B4-3880DCDD400F}" presName="BalanceSpacing" presStyleCnt="0"/>
      <dgm:spPr/>
    </dgm:pt>
    <dgm:pt modelId="{1E2CDE1C-C1D8-4984-8FAE-377F8963341D}" type="pres">
      <dgm:prSet presAssocID="{4CB569B4-F3A0-4A79-86B4-3880DCDD400F}" presName="BalanceSpacing1" presStyleCnt="0"/>
      <dgm:spPr/>
    </dgm:pt>
    <dgm:pt modelId="{296139D1-F87E-4506-9AE8-62DF73B7785D}" type="pres">
      <dgm:prSet presAssocID="{2C79CFA7-5A2D-47B7-AA5F-1B28EC34D573}" presName="Accent1Text" presStyleLbl="node1" presStyleIdx="5" presStyleCnt="8"/>
      <dgm:spPr/>
      <dgm:t>
        <a:bodyPr/>
        <a:lstStyle/>
        <a:p>
          <a:endParaRPr lang="en-US"/>
        </a:p>
      </dgm:t>
    </dgm:pt>
    <dgm:pt modelId="{BF482752-FFB2-4666-8711-43AAACC6EAD4}" type="pres">
      <dgm:prSet presAssocID="{2C79CFA7-5A2D-47B7-AA5F-1B28EC34D573}" presName="spaceBetweenRectangles" presStyleCnt="0"/>
      <dgm:spPr/>
    </dgm:pt>
    <dgm:pt modelId="{167CA4C6-3E59-4159-B656-C6BAC0816F51}" type="pres">
      <dgm:prSet presAssocID="{CFF8EA93-D2FC-4DE6-9BCA-140ECDB94D31}" presName="composite" presStyleCnt="0"/>
      <dgm:spPr/>
    </dgm:pt>
    <dgm:pt modelId="{DF2B0CFB-927B-4CFB-9C09-159DF69541FF}" type="pres">
      <dgm:prSet presAssocID="{CFF8EA93-D2FC-4DE6-9BCA-140ECDB94D31}" presName="Parent1" presStyleLbl="node1" presStyleIdx="6" presStyleCnt="8">
        <dgm:presLayoutVars>
          <dgm:chMax val="1"/>
          <dgm:chPref val="1"/>
          <dgm:bulletEnabled val="1"/>
        </dgm:presLayoutVars>
      </dgm:prSet>
      <dgm:spPr/>
      <dgm:t>
        <a:bodyPr/>
        <a:lstStyle/>
        <a:p>
          <a:endParaRPr lang="en-US"/>
        </a:p>
      </dgm:t>
    </dgm:pt>
    <dgm:pt modelId="{D78318BE-345F-48DC-9827-B1C599CF00E1}" type="pres">
      <dgm:prSet presAssocID="{CFF8EA93-D2FC-4DE6-9BCA-140ECDB94D31}" presName="Childtext1" presStyleLbl="revTx" presStyleIdx="3" presStyleCnt="4">
        <dgm:presLayoutVars>
          <dgm:chMax val="0"/>
          <dgm:chPref val="0"/>
          <dgm:bulletEnabled val="1"/>
        </dgm:presLayoutVars>
      </dgm:prSet>
      <dgm:spPr/>
    </dgm:pt>
    <dgm:pt modelId="{DDAF5339-D77D-4D85-8D3A-81A3C9F05C5E}" type="pres">
      <dgm:prSet presAssocID="{CFF8EA93-D2FC-4DE6-9BCA-140ECDB94D31}" presName="BalanceSpacing" presStyleCnt="0"/>
      <dgm:spPr/>
    </dgm:pt>
    <dgm:pt modelId="{10408035-9298-4C05-AAB2-447C099C811D}" type="pres">
      <dgm:prSet presAssocID="{CFF8EA93-D2FC-4DE6-9BCA-140ECDB94D31}" presName="BalanceSpacing1" presStyleCnt="0"/>
      <dgm:spPr/>
    </dgm:pt>
    <dgm:pt modelId="{E92FE89E-88B9-4B43-B8EE-9B35B84F7884}" type="pres">
      <dgm:prSet presAssocID="{5866E7EA-DA68-41B5-8599-4C8279A9E191}" presName="Accent1Text" presStyleLbl="node1" presStyleIdx="7" presStyleCnt="8"/>
      <dgm:spPr/>
      <dgm:t>
        <a:bodyPr/>
        <a:lstStyle/>
        <a:p>
          <a:endParaRPr lang="en-US"/>
        </a:p>
      </dgm:t>
    </dgm:pt>
  </dgm:ptLst>
  <dgm:cxnLst>
    <dgm:cxn modelId="{DE704027-87E8-784F-8393-BE196CEFB20F}" type="presOf" srcId="{93D719CE-E2A1-4F72-BCEC-7547CAAE8B50}" destId="{0B1A67BA-C8D9-4E10-AE9A-922C47AE4338}" srcOrd="0" destOrd="0" presId="urn:microsoft.com/office/officeart/2008/layout/AlternatingHexagons"/>
    <dgm:cxn modelId="{8C4E1278-3FDE-3948-97C3-6B694151DA26}" type="presOf" srcId="{CFF8EA93-D2FC-4DE6-9BCA-140ECDB94D31}" destId="{DF2B0CFB-927B-4CFB-9C09-159DF69541FF}" srcOrd="0" destOrd="0" presId="urn:microsoft.com/office/officeart/2008/layout/AlternatingHexagons"/>
    <dgm:cxn modelId="{ADB624E3-7B6A-344F-9134-ED6E634296A4}" type="presOf" srcId="{4FA72531-6A10-4F25-9339-08E8D985C1FF}" destId="{FB13E468-3092-470A-8334-FA139B6560A5}" srcOrd="0" destOrd="0" presId="urn:microsoft.com/office/officeart/2008/layout/AlternatingHexagons"/>
    <dgm:cxn modelId="{787365F7-42FE-834B-8232-61FDB336C880}" type="presOf" srcId="{2C79CFA7-5A2D-47B7-AA5F-1B28EC34D573}" destId="{296139D1-F87E-4506-9AE8-62DF73B7785D}" srcOrd="0" destOrd="0" presId="urn:microsoft.com/office/officeart/2008/layout/AlternatingHexagons"/>
    <dgm:cxn modelId="{2CF820AE-804F-4554-B67D-92DD20A65345}" srcId="{B8955258-151C-4755-969C-5FE6272AD3B2}" destId="{457B4F71-B603-49E0-A4C0-A4895722CB6C}" srcOrd="1" destOrd="0" parTransId="{03FBB1AF-D0BE-4213-8955-BD2EB4AACB66}" sibTransId="{E4749562-ABB8-46D7-8DB2-E1D2F80510C9}"/>
    <dgm:cxn modelId="{D3129F93-BD3C-F74A-8D50-6F4901ED5A5D}" type="presOf" srcId="{457B4F71-B603-49E0-A4C0-A4895722CB6C}" destId="{7735819C-D51A-4D24-B0D6-90495ACC87F6}" srcOrd="0" destOrd="0" presId="urn:microsoft.com/office/officeart/2008/layout/AlternatingHexagons"/>
    <dgm:cxn modelId="{2E7AA897-ADF3-694D-8728-999448A0CD70}" type="presOf" srcId="{E4749562-ABB8-46D7-8DB2-E1D2F80510C9}" destId="{37F31D68-A20A-4049-AF53-9085157B0512}" srcOrd="0" destOrd="0" presId="urn:microsoft.com/office/officeart/2008/layout/AlternatingHexagons"/>
    <dgm:cxn modelId="{1E738ED8-FE5E-4F80-B475-5E58DB9396F3}" srcId="{B8955258-151C-4755-969C-5FE6272AD3B2}" destId="{93D719CE-E2A1-4F72-BCEC-7547CAAE8B50}" srcOrd="0" destOrd="0" parTransId="{208C471F-9101-4ABD-B27F-2E40EBEEDE05}" sibTransId="{4FA72531-6A10-4F25-9339-08E8D985C1FF}"/>
    <dgm:cxn modelId="{4C7DA11C-C108-4F4C-918F-0C1B413FED0F}" srcId="{B8955258-151C-4755-969C-5FE6272AD3B2}" destId="{4CB569B4-F3A0-4A79-86B4-3880DCDD400F}" srcOrd="2" destOrd="0" parTransId="{9EC6D9BC-9AB3-4BD3-9DFE-7A872495AEB7}" sibTransId="{2C79CFA7-5A2D-47B7-AA5F-1B28EC34D573}"/>
    <dgm:cxn modelId="{5B486CFF-1630-44DC-BFA8-64AA6FD16C9B}" srcId="{B8955258-151C-4755-969C-5FE6272AD3B2}" destId="{CFF8EA93-D2FC-4DE6-9BCA-140ECDB94D31}" srcOrd="3" destOrd="0" parTransId="{AF53911E-FACB-43CC-833D-644161E8CB98}" sibTransId="{5866E7EA-DA68-41B5-8599-4C8279A9E191}"/>
    <dgm:cxn modelId="{912E35AB-E569-DB4D-BE49-F5C14067708E}" type="presOf" srcId="{4CB569B4-F3A0-4A79-86B4-3880DCDD400F}" destId="{43251672-AFE0-453C-9C21-38F9F8A9AEBD}" srcOrd="0" destOrd="0" presId="urn:microsoft.com/office/officeart/2008/layout/AlternatingHexagons"/>
    <dgm:cxn modelId="{E5907CA4-6A02-4849-AB54-BD1444C45E25}" type="presOf" srcId="{5866E7EA-DA68-41B5-8599-4C8279A9E191}" destId="{E92FE89E-88B9-4B43-B8EE-9B35B84F7884}" srcOrd="0" destOrd="0" presId="urn:microsoft.com/office/officeart/2008/layout/AlternatingHexagons"/>
    <dgm:cxn modelId="{8CDA2B20-9AF2-854B-8D3A-C6685A27E368}" type="presOf" srcId="{B8955258-151C-4755-969C-5FE6272AD3B2}" destId="{CD3B0D9D-FBAC-4CA8-A694-EED1BD68BE79}" srcOrd="0" destOrd="0" presId="urn:microsoft.com/office/officeart/2008/layout/AlternatingHexagons"/>
    <dgm:cxn modelId="{A5F7B5A8-60C3-2243-8786-928408267579}" type="presParOf" srcId="{CD3B0D9D-FBAC-4CA8-A694-EED1BD68BE79}" destId="{CED3329B-D336-4F9F-8524-6F3D5595A9D1}" srcOrd="0" destOrd="0" presId="urn:microsoft.com/office/officeart/2008/layout/AlternatingHexagons"/>
    <dgm:cxn modelId="{541CE65B-4061-0B4B-BF7B-612DB9CBF4DF}" type="presParOf" srcId="{CED3329B-D336-4F9F-8524-6F3D5595A9D1}" destId="{0B1A67BA-C8D9-4E10-AE9A-922C47AE4338}" srcOrd="0" destOrd="0" presId="urn:microsoft.com/office/officeart/2008/layout/AlternatingHexagons"/>
    <dgm:cxn modelId="{82BBD096-AC34-C44C-AFF6-6F0F7447FD74}" type="presParOf" srcId="{CED3329B-D336-4F9F-8524-6F3D5595A9D1}" destId="{758B3EC9-984B-4891-91BB-39393D844A4C}" srcOrd="1" destOrd="0" presId="urn:microsoft.com/office/officeart/2008/layout/AlternatingHexagons"/>
    <dgm:cxn modelId="{3E6093C2-9723-054A-8D21-0B321A256D63}" type="presParOf" srcId="{CED3329B-D336-4F9F-8524-6F3D5595A9D1}" destId="{AEE96414-4DA7-4767-811E-5D9B4BD5A7CB}" srcOrd="2" destOrd="0" presId="urn:microsoft.com/office/officeart/2008/layout/AlternatingHexagons"/>
    <dgm:cxn modelId="{7230F6E9-E7D7-9540-A32D-6D5BC3FC5F93}" type="presParOf" srcId="{CED3329B-D336-4F9F-8524-6F3D5595A9D1}" destId="{E5D2BAEF-FA69-416C-AF6A-C17F73CFFD9A}" srcOrd="3" destOrd="0" presId="urn:microsoft.com/office/officeart/2008/layout/AlternatingHexagons"/>
    <dgm:cxn modelId="{7B345142-64FF-5743-B039-88D6D715404B}" type="presParOf" srcId="{CED3329B-D336-4F9F-8524-6F3D5595A9D1}" destId="{FB13E468-3092-470A-8334-FA139B6560A5}" srcOrd="4" destOrd="0" presId="urn:microsoft.com/office/officeart/2008/layout/AlternatingHexagons"/>
    <dgm:cxn modelId="{21DEB7F8-0A3A-D146-BE7F-DD0DDACFF5BA}" type="presParOf" srcId="{CD3B0D9D-FBAC-4CA8-A694-EED1BD68BE79}" destId="{9FF61741-0954-4EB3-AFEB-97EC2FA099DE}" srcOrd="1" destOrd="0" presId="urn:microsoft.com/office/officeart/2008/layout/AlternatingHexagons"/>
    <dgm:cxn modelId="{F42DA8F7-5278-E248-8C69-E44C16E4FA6E}" type="presParOf" srcId="{CD3B0D9D-FBAC-4CA8-A694-EED1BD68BE79}" destId="{FE703CCE-AB5F-4028-B143-50EAA189434F}" srcOrd="2" destOrd="0" presId="urn:microsoft.com/office/officeart/2008/layout/AlternatingHexagons"/>
    <dgm:cxn modelId="{47F202BD-C006-024D-B3BB-C1B4D7E4D51E}" type="presParOf" srcId="{FE703CCE-AB5F-4028-B143-50EAA189434F}" destId="{7735819C-D51A-4D24-B0D6-90495ACC87F6}" srcOrd="0" destOrd="0" presId="urn:microsoft.com/office/officeart/2008/layout/AlternatingHexagons"/>
    <dgm:cxn modelId="{37FD9F7C-747D-4546-B63A-AFDCCB5EEF45}" type="presParOf" srcId="{FE703CCE-AB5F-4028-B143-50EAA189434F}" destId="{839D2C20-26C6-4175-B57D-F4AF4E1B94EC}" srcOrd="1" destOrd="0" presId="urn:microsoft.com/office/officeart/2008/layout/AlternatingHexagons"/>
    <dgm:cxn modelId="{1F545387-5BA8-1C4D-A41E-0E16D11AAA00}" type="presParOf" srcId="{FE703CCE-AB5F-4028-B143-50EAA189434F}" destId="{905ADB79-670C-47C7-BE47-A69EF77670CB}" srcOrd="2" destOrd="0" presId="urn:microsoft.com/office/officeart/2008/layout/AlternatingHexagons"/>
    <dgm:cxn modelId="{8BF771CA-C0C4-B04D-B116-8BB7BB9337AB}" type="presParOf" srcId="{FE703CCE-AB5F-4028-B143-50EAA189434F}" destId="{AACCABC3-3763-4835-A5BC-9BC48CABA261}" srcOrd="3" destOrd="0" presId="urn:microsoft.com/office/officeart/2008/layout/AlternatingHexagons"/>
    <dgm:cxn modelId="{302A99CE-1AFF-114E-9720-FD7FE42106EF}" type="presParOf" srcId="{FE703CCE-AB5F-4028-B143-50EAA189434F}" destId="{37F31D68-A20A-4049-AF53-9085157B0512}" srcOrd="4" destOrd="0" presId="urn:microsoft.com/office/officeart/2008/layout/AlternatingHexagons"/>
    <dgm:cxn modelId="{374FA256-997F-6D43-9B3B-93D5996D96EB}" type="presParOf" srcId="{CD3B0D9D-FBAC-4CA8-A694-EED1BD68BE79}" destId="{0AB56F36-24B8-4D05-87CC-8D4192A056CD}" srcOrd="3" destOrd="0" presId="urn:microsoft.com/office/officeart/2008/layout/AlternatingHexagons"/>
    <dgm:cxn modelId="{FF845876-69F8-2F45-9BEA-6B4C20E95708}" type="presParOf" srcId="{CD3B0D9D-FBAC-4CA8-A694-EED1BD68BE79}" destId="{31016F63-20D2-4D22-97A2-8664430B1A1D}" srcOrd="4" destOrd="0" presId="urn:microsoft.com/office/officeart/2008/layout/AlternatingHexagons"/>
    <dgm:cxn modelId="{765D7881-F12A-3D47-B89C-648AE24345E0}" type="presParOf" srcId="{31016F63-20D2-4D22-97A2-8664430B1A1D}" destId="{43251672-AFE0-453C-9C21-38F9F8A9AEBD}" srcOrd="0" destOrd="0" presId="urn:microsoft.com/office/officeart/2008/layout/AlternatingHexagons"/>
    <dgm:cxn modelId="{C03DA2EE-0ABA-5F44-9F33-BB3BED570968}" type="presParOf" srcId="{31016F63-20D2-4D22-97A2-8664430B1A1D}" destId="{476D08A0-71E6-442A-BDCA-E77807F7D679}" srcOrd="1" destOrd="0" presId="urn:microsoft.com/office/officeart/2008/layout/AlternatingHexagons"/>
    <dgm:cxn modelId="{D3242A7F-62E0-9D46-9F42-FFF4E7C2DFBC}" type="presParOf" srcId="{31016F63-20D2-4D22-97A2-8664430B1A1D}" destId="{4F52AF88-6A7C-4628-BD6E-D297C2C7C784}" srcOrd="2" destOrd="0" presId="urn:microsoft.com/office/officeart/2008/layout/AlternatingHexagons"/>
    <dgm:cxn modelId="{91B4CF32-3018-EC42-BFF6-844D812D00D8}" type="presParOf" srcId="{31016F63-20D2-4D22-97A2-8664430B1A1D}" destId="{1E2CDE1C-C1D8-4984-8FAE-377F8963341D}" srcOrd="3" destOrd="0" presId="urn:microsoft.com/office/officeart/2008/layout/AlternatingHexagons"/>
    <dgm:cxn modelId="{FFCEEAFC-C657-DA43-83C8-477E8C8618C4}" type="presParOf" srcId="{31016F63-20D2-4D22-97A2-8664430B1A1D}" destId="{296139D1-F87E-4506-9AE8-62DF73B7785D}" srcOrd="4" destOrd="0" presId="urn:microsoft.com/office/officeart/2008/layout/AlternatingHexagons"/>
    <dgm:cxn modelId="{077C09D4-5992-5B40-B6D1-1F81901FFE82}" type="presParOf" srcId="{CD3B0D9D-FBAC-4CA8-A694-EED1BD68BE79}" destId="{BF482752-FFB2-4666-8711-43AAACC6EAD4}" srcOrd="5" destOrd="0" presId="urn:microsoft.com/office/officeart/2008/layout/AlternatingHexagons"/>
    <dgm:cxn modelId="{4EE74418-E048-3642-9EC9-38618BF77FD3}" type="presParOf" srcId="{CD3B0D9D-FBAC-4CA8-A694-EED1BD68BE79}" destId="{167CA4C6-3E59-4159-B656-C6BAC0816F51}" srcOrd="6" destOrd="0" presId="urn:microsoft.com/office/officeart/2008/layout/AlternatingHexagons"/>
    <dgm:cxn modelId="{EC9F9605-6EC7-B94F-93F2-EE340883DEF8}" type="presParOf" srcId="{167CA4C6-3E59-4159-B656-C6BAC0816F51}" destId="{DF2B0CFB-927B-4CFB-9C09-159DF69541FF}" srcOrd="0" destOrd="0" presId="urn:microsoft.com/office/officeart/2008/layout/AlternatingHexagons"/>
    <dgm:cxn modelId="{B22F2B2A-4520-3B48-9D79-3AED71C745FC}" type="presParOf" srcId="{167CA4C6-3E59-4159-B656-C6BAC0816F51}" destId="{D78318BE-345F-48DC-9827-B1C599CF00E1}" srcOrd="1" destOrd="0" presId="urn:microsoft.com/office/officeart/2008/layout/AlternatingHexagons"/>
    <dgm:cxn modelId="{9F1C6BAF-4032-6041-90A4-18946D96D802}" type="presParOf" srcId="{167CA4C6-3E59-4159-B656-C6BAC0816F51}" destId="{DDAF5339-D77D-4D85-8D3A-81A3C9F05C5E}" srcOrd="2" destOrd="0" presId="urn:microsoft.com/office/officeart/2008/layout/AlternatingHexagons"/>
    <dgm:cxn modelId="{F66D3358-FBD8-F545-A168-FFFD31AD774A}" type="presParOf" srcId="{167CA4C6-3E59-4159-B656-C6BAC0816F51}" destId="{10408035-9298-4C05-AAB2-447C099C811D}" srcOrd="3" destOrd="0" presId="urn:microsoft.com/office/officeart/2008/layout/AlternatingHexagons"/>
    <dgm:cxn modelId="{46016F38-1F3D-9A48-91FE-A09A8A23897D}" type="presParOf" srcId="{167CA4C6-3E59-4159-B656-C6BAC0816F51}" destId="{E92FE89E-88B9-4B43-B8EE-9B35B84F7884}"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667C42F-BE9B-4C89-850A-8EDA512359FF}"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en-US"/>
        </a:p>
      </dgm:t>
    </dgm:pt>
    <dgm:pt modelId="{7082B9E2-EE03-4E37-BD71-0B9426AF9CF1}">
      <dgm:prSet/>
      <dgm:spPr/>
      <dgm:t>
        <a:bodyPr/>
        <a:lstStyle/>
        <a:p>
          <a:pPr rtl="0"/>
          <a:r>
            <a:rPr lang="en-US" b="1" i="0" smtClean="0"/>
            <a:t>Five/Ten Year Technical Goals</a:t>
          </a:r>
          <a:endParaRPr lang="en-US"/>
        </a:p>
      </dgm:t>
    </dgm:pt>
    <dgm:pt modelId="{9239E182-56D8-4BC6-ABAC-98FA174B3B68}" type="parTrans" cxnId="{C16D0F0C-A66C-4F5D-9B95-7D7D39EDB88E}">
      <dgm:prSet/>
      <dgm:spPr/>
      <dgm:t>
        <a:bodyPr/>
        <a:lstStyle/>
        <a:p>
          <a:endParaRPr lang="en-US"/>
        </a:p>
      </dgm:t>
    </dgm:pt>
    <dgm:pt modelId="{F70E286B-3AC9-4DB2-A215-393DA91D577E}" type="sibTrans" cxnId="{C16D0F0C-A66C-4F5D-9B95-7D7D39EDB88E}">
      <dgm:prSet/>
      <dgm:spPr/>
      <dgm:t>
        <a:bodyPr/>
        <a:lstStyle/>
        <a:p>
          <a:endParaRPr lang="en-US"/>
        </a:p>
      </dgm:t>
    </dgm:pt>
    <dgm:pt modelId="{BC224746-0786-4AAE-8C22-EC53E070A52A}">
      <dgm:prSet/>
      <dgm:spPr/>
      <dgm:t>
        <a:bodyPr/>
        <a:lstStyle/>
        <a:p>
          <a:pPr rtl="0"/>
          <a:r>
            <a:rPr lang="en-US" b="0" i="0" smtClean="0"/>
            <a:t>25/50% lower carbon fiber–reinforced polymer (CFRP) cost</a:t>
          </a:r>
          <a:endParaRPr lang="en-US"/>
        </a:p>
      </dgm:t>
    </dgm:pt>
    <dgm:pt modelId="{70C907F8-1ACF-4CED-949C-2B5C8A91CC2B}" type="parTrans" cxnId="{F22913E4-DE8A-4201-A9AC-9D94B99D83FE}">
      <dgm:prSet/>
      <dgm:spPr/>
      <dgm:t>
        <a:bodyPr/>
        <a:lstStyle/>
        <a:p>
          <a:endParaRPr lang="en-US"/>
        </a:p>
      </dgm:t>
    </dgm:pt>
    <dgm:pt modelId="{8C50B0D8-17A2-4975-AAD9-179529800931}" type="sibTrans" cxnId="{F22913E4-DE8A-4201-A9AC-9D94B99D83FE}">
      <dgm:prSet/>
      <dgm:spPr/>
      <dgm:t>
        <a:bodyPr/>
        <a:lstStyle/>
        <a:p>
          <a:endParaRPr lang="en-US"/>
        </a:p>
      </dgm:t>
    </dgm:pt>
    <dgm:pt modelId="{13F6A213-3182-4EBD-A86D-E7B4ADD68120}">
      <dgm:prSet/>
      <dgm:spPr/>
      <dgm:t>
        <a:bodyPr/>
        <a:lstStyle/>
        <a:p>
          <a:pPr rtl="0"/>
          <a:r>
            <a:rPr lang="en-US" b="0" i="0" smtClean="0"/>
            <a:t>50/75% reduction in CFRP embodied energy </a:t>
          </a:r>
          <a:endParaRPr lang="en-US"/>
        </a:p>
      </dgm:t>
    </dgm:pt>
    <dgm:pt modelId="{ABDC4A0A-BC3A-40AB-B8A3-96568843358A}" type="parTrans" cxnId="{09D1F803-CBF2-4609-93B5-CF2020A1EEFC}">
      <dgm:prSet/>
      <dgm:spPr/>
      <dgm:t>
        <a:bodyPr/>
        <a:lstStyle/>
        <a:p>
          <a:endParaRPr lang="en-US"/>
        </a:p>
      </dgm:t>
    </dgm:pt>
    <dgm:pt modelId="{97A7C945-8CDE-4121-9B60-53FB31E602AE}" type="sibTrans" cxnId="{09D1F803-CBF2-4609-93B5-CF2020A1EEFC}">
      <dgm:prSet/>
      <dgm:spPr/>
      <dgm:t>
        <a:bodyPr/>
        <a:lstStyle/>
        <a:p>
          <a:endParaRPr lang="en-US"/>
        </a:p>
      </dgm:t>
    </dgm:pt>
    <dgm:pt modelId="{0482C967-953D-4E46-863D-794D0D342169}">
      <dgm:prSet/>
      <dgm:spPr/>
      <dgm:t>
        <a:bodyPr/>
        <a:lstStyle/>
        <a:p>
          <a:pPr rtl="0"/>
          <a:r>
            <a:rPr lang="en-US" b="0" i="0" smtClean="0"/>
            <a:t>80/95% composite recyclability into useful products</a:t>
          </a:r>
          <a:endParaRPr lang="en-US"/>
        </a:p>
      </dgm:t>
    </dgm:pt>
    <dgm:pt modelId="{8F190D0E-77E6-49A9-9B76-96F3044120CA}" type="parTrans" cxnId="{40757E5A-6255-43BB-ABE0-3A0C6D10F379}">
      <dgm:prSet/>
      <dgm:spPr/>
      <dgm:t>
        <a:bodyPr/>
        <a:lstStyle/>
        <a:p>
          <a:endParaRPr lang="en-US"/>
        </a:p>
      </dgm:t>
    </dgm:pt>
    <dgm:pt modelId="{BB764DA3-F12C-464C-A927-46B5B0845FB8}" type="sibTrans" cxnId="{40757E5A-6255-43BB-ABE0-3A0C6D10F379}">
      <dgm:prSet/>
      <dgm:spPr/>
      <dgm:t>
        <a:bodyPr/>
        <a:lstStyle/>
        <a:p>
          <a:endParaRPr lang="en-US"/>
        </a:p>
      </dgm:t>
    </dgm:pt>
    <dgm:pt modelId="{4D12CEAB-ADBD-48DB-8F93-F056BC813110}">
      <dgm:prSet/>
      <dgm:spPr/>
      <dgm:t>
        <a:bodyPr/>
        <a:lstStyle/>
        <a:p>
          <a:pPr rtl="0"/>
          <a:r>
            <a:rPr lang="en-US" b="1" i="0" smtClean="0"/>
            <a:t>Impact Goals</a:t>
          </a:r>
          <a:endParaRPr lang="en-US"/>
        </a:p>
      </dgm:t>
    </dgm:pt>
    <dgm:pt modelId="{467336C2-5221-4280-8CEA-EB5D0E403F28}" type="parTrans" cxnId="{8EEE8886-1E91-428A-B6CA-A3037B9F503E}">
      <dgm:prSet/>
      <dgm:spPr/>
      <dgm:t>
        <a:bodyPr/>
        <a:lstStyle/>
        <a:p>
          <a:endParaRPr lang="en-US"/>
        </a:p>
      </dgm:t>
    </dgm:pt>
    <dgm:pt modelId="{453B0F3B-65DF-4C62-A679-F4B897283D7D}" type="sibTrans" cxnId="{8EEE8886-1E91-428A-B6CA-A3037B9F503E}">
      <dgm:prSet/>
      <dgm:spPr/>
      <dgm:t>
        <a:bodyPr/>
        <a:lstStyle/>
        <a:p>
          <a:endParaRPr lang="en-US"/>
        </a:p>
      </dgm:t>
    </dgm:pt>
    <dgm:pt modelId="{5B51CEE7-9A77-451F-BE14-9570516551F7}">
      <dgm:prSet/>
      <dgm:spPr/>
      <dgm:t>
        <a:bodyPr/>
        <a:lstStyle/>
        <a:p>
          <a:pPr rtl="0"/>
          <a:r>
            <a:rPr lang="en-US" b="0" i="0" smtClean="0"/>
            <a:t>Enhanced energy productivity</a:t>
          </a:r>
          <a:endParaRPr lang="en-US"/>
        </a:p>
      </dgm:t>
    </dgm:pt>
    <dgm:pt modelId="{FA89618E-E5E7-487C-BCF9-B2E0928A87D7}" type="parTrans" cxnId="{DB2B1834-FD78-4169-A99E-E709FE511571}">
      <dgm:prSet/>
      <dgm:spPr/>
      <dgm:t>
        <a:bodyPr/>
        <a:lstStyle/>
        <a:p>
          <a:endParaRPr lang="en-US"/>
        </a:p>
      </dgm:t>
    </dgm:pt>
    <dgm:pt modelId="{12F46A41-081D-4952-921E-4DD3912B7F99}" type="sibTrans" cxnId="{DB2B1834-FD78-4169-A99E-E709FE511571}">
      <dgm:prSet/>
      <dgm:spPr/>
      <dgm:t>
        <a:bodyPr/>
        <a:lstStyle/>
        <a:p>
          <a:endParaRPr lang="en-US"/>
        </a:p>
      </dgm:t>
    </dgm:pt>
    <dgm:pt modelId="{00D6D2AB-5BCD-4A80-9E65-03EF3E690AFC}">
      <dgm:prSet/>
      <dgm:spPr/>
      <dgm:t>
        <a:bodyPr/>
        <a:lstStyle/>
        <a:p>
          <a:pPr rtl="0"/>
          <a:r>
            <a:rPr lang="en-US" b="0" i="0" smtClean="0"/>
            <a:t>Reduced life cycle energy consumption</a:t>
          </a:r>
          <a:endParaRPr lang="en-US"/>
        </a:p>
      </dgm:t>
    </dgm:pt>
    <dgm:pt modelId="{0DAB02E8-1808-4A08-9C49-656647BF4420}" type="parTrans" cxnId="{72C6F837-49FF-4778-A788-15F63ECD6318}">
      <dgm:prSet/>
      <dgm:spPr/>
      <dgm:t>
        <a:bodyPr/>
        <a:lstStyle/>
        <a:p>
          <a:endParaRPr lang="en-US"/>
        </a:p>
      </dgm:t>
    </dgm:pt>
    <dgm:pt modelId="{2F9F4DD2-134D-42E9-8BC6-6C4B200973DA}" type="sibTrans" cxnId="{72C6F837-49FF-4778-A788-15F63ECD6318}">
      <dgm:prSet/>
      <dgm:spPr/>
      <dgm:t>
        <a:bodyPr/>
        <a:lstStyle/>
        <a:p>
          <a:endParaRPr lang="en-US"/>
        </a:p>
      </dgm:t>
    </dgm:pt>
    <dgm:pt modelId="{A66F0BCA-319C-45DC-984C-D9B672A9ECA7}">
      <dgm:prSet/>
      <dgm:spPr/>
      <dgm:t>
        <a:bodyPr/>
        <a:lstStyle/>
        <a:p>
          <a:pPr rtl="0"/>
          <a:r>
            <a:rPr lang="en-US" b="0" i="0" smtClean="0"/>
            <a:t>Increased domestic production capacity</a:t>
          </a:r>
          <a:endParaRPr lang="en-US"/>
        </a:p>
      </dgm:t>
    </dgm:pt>
    <dgm:pt modelId="{32D1DBA0-BA42-4790-A327-DC8F2C883387}" type="parTrans" cxnId="{8C6DBE7F-BC44-492D-8215-C8DB14A0D640}">
      <dgm:prSet/>
      <dgm:spPr/>
      <dgm:t>
        <a:bodyPr/>
        <a:lstStyle/>
        <a:p>
          <a:endParaRPr lang="en-US"/>
        </a:p>
      </dgm:t>
    </dgm:pt>
    <dgm:pt modelId="{8862031B-8D2F-4864-B690-17D4A7092778}" type="sibTrans" cxnId="{8C6DBE7F-BC44-492D-8215-C8DB14A0D640}">
      <dgm:prSet/>
      <dgm:spPr/>
      <dgm:t>
        <a:bodyPr/>
        <a:lstStyle/>
        <a:p>
          <a:endParaRPr lang="en-US"/>
        </a:p>
      </dgm:t>
    </dgm:pt>
    <dgm:pt modelId="{95A39EED-4B8E-4393-ADD3-852F07AA6A1A}">
      <dgm:prSet/>
      <dgm:spPr/>
      <dgm:t>
        <a:bodyPr/>
        <a:lstStyle/>
        <a:p>
          <a:pPr rtl="0"/>
          <a:r>
            <a:rPr lang="en-US" b="0" i="0" smtClean="0"/>
            <a:t>Job growth and economic development </a:t>
          </a:r>
          <a:endParaRPr lang="en-US"/>
        </a:p>
      </dgm:t>
    </dgm:pt>
    <dgm:pt modelId="{05FEC585-DFCD-4E49-AD96-0579C1627A5C}" type="parTrans" cxnId="{7302F331-504E-4696-83C7-57D99A6A9021}">
      <dgm:prSet/>
      <dgm:spPr/>
      <dgm:t>
        <a:bodyPr/>
        <a:lstStyle/>
        <a:p>
          <a:endParaRPr lang="en-US"/>
        </a:p>
      </dgm:t>
    </dgm:pt>
    <dgm:pt modelId="{564A96EE-4D32-4D4E-ABCE-11AFEC6FC20F}" type="sibTrans" cxnId="{7302F331-504E-4696-83C7-57D99A6A9021}">
      <dgm:prSet/>
      <dgm:spPr/>
      <dgm:t>
        <a:bodyPr/>
        <a:lstStyle/>
        <a:p>
          <a:endParaRPr lang="en-US"/>
        </a:p>
      </dgm:t>
    </dgm:pt>
    <dgm:pt modelId="{0948AFA1-D1D9-425A-B42B-48C017E74EDD}" type="pres">
      <dgm:prSet presAssocID="{2667C42F-BE9B-4C89-850A-8EDA512359FF}" presName="linearFlow" presStyleCnt="0">
        <dgm:presLayoutVars>
          <dgm:dir/>
          <dgm:resizeHandles val="exact"/>
        </dgm:presLayoutVars>
      </dgm:prSet>
      <dgm:spPr/>
      <dgm:t>
        <a:bodyPr/>
        <a:lstStyle/>
        <a:p>
          <a:endParaRPr lang="en-US"/>
        </a:p>
      </dgm:t>
    </dgm:pt>
    <dgm:pt modelId="{360921E6-3D40-4E15-B46E-0D09445EC6C3}" type="pres">
      <dgm:prSet presAssocID="{7082B9E2-EE03-4E37-BD71-0B9426AF9CF1}" presName="composite" presStyleCnt="0"/>
      <dgm:spPr/>
    </dgm:pt>
    <dgm:pt modelId="{A3787940-F515-4C02-BC17-ECE5D6EA1DA0}" type="pres">
      <dgm:prSet presAssocID="{7082B9E2-EE03-4E37-BD71-0B9426AF9CF1}" presName="imgShp" presStyleLbl="fgImgPlace1" presStyleIdx="0" presStyleCnt="2"/>
      <dgm:spPr>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dgm:spPr>
      <dgm:t>
        <a:bodyPr/>
        <a:lstStyle/>
        <a:p>
          <a:endParaRPr lang="en-US"/>
        </a:p>
      </dgm:t>
    </dgm:pt>
    <dgm:pt modelId="{FA031AC0-D6F0-47E2-8D33-DF4DC3373D22}" type="pres">
      <dgm:prSet presAssocID="{7082B9E2-EE03-4E37-BD71-0B9426AF9CF1}" presName="txShp" presStyleLbl="node1" presStyleIdx="0" presStyleCnt="2">
        <dgm:presLayoutVars>
          <dgm:bulletEnabled val="1"/>
        </dgm:presLayoutVars>
      </dgm:prSet>
      <dgm:spPr/>
      <dgm:t>
        <a:bodyPr/>
        <a:lstStyle/>
        <a:p>
          <a:endParaRPr lang="en-US"/>
        </a:p>
      </dgm:t>
    </dgm:pt>
    <dgm:pt modelId="{2B5C51A9-31BC-4A2C-BBF1-38B5E664FE70}" type="pres">
      <dgm:prSet presAssocID="{F70E286B-3AC9-4DB2-A215-393DA91D577E}" presName="spacing" presStyleCnt="0"/>
      <dgm:spPr/>
    </dgm:pt>
    <dgm:pt modelId="{76D3AE7E-9527-4895-9433-225A172A09CE}" type="pres">
      <dgm:prSet presAssocID="{4D12CEAB-ADBD-48DB-8F93-F056BC813110}" presName="composite" presStyleCnt="0"/>
      <dgm:spPr/>
    </dgm:pt>
    <dgm:pt modelId="{940AD057-B75D-44C8-B918-00E21A2163FD}" type="pres">
      <dgm:prSet presAssocID="{4D12CEAB-ADBD-48DB-8F93-F056BC813110}" presName="imgShp" presStyleLbl="fgImgPlace1" presStyleIdx="1" presStyleCnt="2"/>
      <dgm:spPr>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dgm:spPr>
      <dgm:t>
        <a:bodyPr/>
        <a:lstStyle/>
        <a:p>
          <a:endParaRPr lang="en-US"/>
        </a:p>
      </dgm:t>
    </dgm:pt>
    <dgm:pt modelId="{1340E760-6E91-423E-9BC7-CAF36A305646}" type="pres">
      <dgm:prSet presAssocID="{4D12CEAB-ADBD-48DB-8F93-F056BC813110}" presName="txShp" presStyleLbl="node1" presStyleIdx="1" presStyleCnt="2">
        <dgm:presLayoutVars>
          <dgm:bulletEnabled val="1"/>
        </dgm:presLayoutVars>
      </dgm:prSet>
      <dgm:spPr/>
      <dgm:t>
        <a:bodyPr/>
        <a:lstStyle/>
        <a:p>
          <a:endParaRPr lang="en-US"/>
        </a:p>
      </dgm:t>
    </dgm:pt>
  </dgm:ptLst>
  <dgm:cxnLst>
    <dgm:cxn modelId="{F33EFADE-8391-414B-B1C8-A8A5F7C52BC5}" type="presOf" srcId="{5B51CEE7-9A77-451F-BE14-9570516551F7}" destId="{1340E760-6E91-423E-9BC7-CAF36A305646}" srcOrd="0" destOrd="1" presId="urn:microsoft.com/office/officeart/2005/8/layout/vList3"/>
    <dgm:cxn modelId="{8C6DBE7F-BC44-492D-8215-C8DB14A0D640}" srcId="{4D12CEAB-ADBD-48DB-8F93-F056BC813110}" destId="{A66F0BCA-319C-45DC-984C-D9B672A9ECA7}" srcOrd="2" destOrd="0" parTransId="{32D1DBA0-BA42-4790-A327-DC8F2C883387}" sibTransId="{8862031B-8D2F-4864-B690-17D4A7092778}"/>
    <dgm:cxn modelId="{A6F8045F-5F50-4EB9-9955-3FAFBA13E667}" type="presOf" srcId="{BC224746-0786-4AAE-8C22-EC53E070A52A}" destId="{FA031AC0-D6F0-47E2-8D33-DF4DC3373D22}" srcOrd="0" destOrd="1" presId="urn:microsoft.com/office/officeart/2005/8/layout/vList3"/>
    <dgm:cxn modelId="{F22913E4-DE8A-4201-A9AC-9D94B99D83FE}" srcId="{7082B9E2-EE03-4E37-BD71-0B9426AF9CF1}" destId="{BC224746-0786-4AAE-8C22-EC53E070A52A}" srcOrd="0" destOrd="0" parTransId="{70C907F8-1ACF-4CED-949C-2B5C8A91CC2B}" sibTransId="{8C50B0D8-17A2-4975-AAD9-179529800931}"/>
    <dgm:cxn modelId="{40757E5A-6255-43BB-ABE0-3A0C6D10F379}" srcId="{7082B9E2-EE03-4E37-BD71-0B9426AF9CF1}" destId="{0482C967-953D-4E46-863D-794D0D342169}" srcOrd="2" destOrd="0" parTransId="{8F190D0E-77E6-49A9-9B76-96F3044120CA}" sibTransId="{BB764DA3-F12C-464C-A927-46B5B0845FB8}"/>
    <dgm:cxn modelId="{09D1F803-CBF2-4609-93B5-CF2020A1EEFC}" srcId="{7082B9E2-EE03-4E37-BD71-0B9426AF9CF1}" destId="{13F6A213-3182-4EBD-A86D-E7B4ADD68120}" srcOrd="1" destOrd="0" parTransId="{ABDC4A0A-BC3A-40AB-B8A3-96568843358A}" sibTransId="{97A7C945-8CDE-4121-9B60-53FB31E602AE}"/>
    <dgm:cxn modelId="{907CC5F6-A3AF-47E8-845B-35D6F8E5ABD8}" type="presOf" srcId="{0482C967-953D-4E46-863D-794D0D342169}" destId="{FA031AC0-D6F0-47E2-8D33-DF4DC3373D22}" srcOrd="0" destOrd="3" presId="urn:microsoft.com/office/officeart/2005/8/layout/vList3"/>
    <dgm:cxn modelId="{45089917-50C7-4640-9048-9375DB2F498B}" type="presOf" srcId="{13F6A213-3182-4EBD-A86D-E7B4ADD68120}" destId="{FA031AC0-D6F0-47E2-8D33-DF4DC3373D22}" srcOrd="0" destOrd="2" presId="urn:microsoft.com/office/officeart/2005/8/layout/vList3"/>
    <dgm:cxn modelId="{DB2B1834-FD78-4169-A99E-E709FE511571}" srcId="{4D12CEAB-ADBD-48DB-8F93-F056BC813110}" destId="{5B51CEE7-9A77-451F-BE14-9570516551F7}" srcOrd="0" destOrd="0" parTransId="{FA89618E-E5E7-487C-BCF9-B2E0928A87D7}" sibTransId="{12F46A41-081D-4952-921E-4DD3912B7F99}"/>
    <dgm:cxn modelId="{523B0918-AB78-4E46-A246-A981AF1F7178}" type="presOf" srcId="{A66F0BCA-319C-45DC-984C-D9B672A9ECA7}" destId="{1340E760-6E91-423E-9BC7-CAF36A305646}" srcOrd="0" destOrd="3" presId="urn:microsoft.com/office/officeart/2005/8/layout/vList3"/>
    <dgm:cxn modelId="{A5E2CEC7-6BBC-4324-A518-9983FF41E749}" type="presOf" srcId="{7082B9E2-EE03-4E37-BD71-0B9426AF9CF1}" destId="{FA031AC0-D6F0-47E2-8D33-DF4DC3373D22}" srcOrd="0" destOrd="0" presId="urn:microsoft.com/office/officeart/2005/8/layout/vList3"/>
    <dgm:cxn modelId="{BD98928D-EA7F-4E0B-A480-6A6D6DBC9F3D}" type="presOf" srcId="{2667C42F-BE9B-4C89-850A-8EDA512359FF}" destId="{0948AFA1-D1D9-425A-B42B-48C017E74EDD}" srcOrd="0" destOrd="0" presId="urn:microsoft.com/office/officeart/2005/8/layout/vList3"/>
    <dgm:cxn modelId="{CA3F863E-AF0F-43FA-A7CF-AA829BBAE71B}" type="presOf" srcId="{95A39EED-4B8E-4393-ADD3-852F07AA6A1A}" destId="{1340E760-6E91-423E-9BC7-CAF36A305646}" srcOrd="0" destOrd="4" presId="urn:microsoft.com/office/officeart/2005/8/layout/vList3"/>
    <dgm:cxn modelId="{8EEE8886-1E91-428A-B6CA-A3037B9F503E}" srcId="{2667C42F-BE9B-4C89-850A-8EDA512359FF}" destId="{4D12CEAB-ADBD-48DB-8F93-F056BC813110}" srcOrd="1" destOrd="0" parTransId="{467336C2-5221-4280-8CEA-EB5D0E403F28}" sibTransId="{453B0F3B-65DF-4C62-A679-F4B897283D7D}"/>
    <dgm:cxn modelId="{4C15368B-ABF6-4C13-BA71-071ADCE1AA29}" type="presOf" srcId="{4D12CEAB-ADBD-48DB-8F93-F056BC813110}" destId="{1340E760-6E91-423E-9BC7-CAF36A305646}" srcOrd="0" destOrd="0" presId="urn:microsoft.com/office/officeart/2005/8/layout/vList3"/>
    <dgm:cxn modelId="{7302F331-504E-4696-83C7-57D99A6A9021}" srcId="{4D12CEAB-ADBD-48DB-8F93-F056BC813110}" destId="{95A39EED-4B8E-4393-ADD3-852F07AA6A1A}" srcOrd="3" destOrd="0" parTransId="{05FEC585-DFCD-4E49-AD96-0579C1627A5C}" sibTransId="{564A96EE-4D32-4D4E-ABCE-11AFEC6FC20F}"/>
    <dgm:cxn modelId="{C16D0F0C-A66C-4F5D-9B95-7D7D39EDB88E}" srcId="{2667C42F-BE9B-4C89-850A-8EDA512359FF}" destId="{7082B9E2-EE03-4E37-BD71-0B9426AF9CF1}" srcOrd="0" destOrd="0" parTransId="{9239E182-56D8-4BC6-ABAC-98FA174B3B68}" sibTransId="{F70E286B-3AC9-4DB2-A215-393DA91D577E}"/>
    <dgm:cxn modelId="{0DFE2E24-4F3F-46CF-BC06-66FF3E142318}" type="presOf" srcId="{00D6D2AB-5BCD-4A80-9E65-03EF3E690AFC}" destId="{1340E760-6E91-423E-9BC7-CAF36A305646}" srcOrd="0" destOrd="2" presId="urn:microsoft.com/office/officeart/2005/8/layout/vList3"/>
    <dgm:cxn modelId="{72C6F837-49FF-4778-A788-15F63ECD6318}" srcId="{4D12CEAB-ADBD-48DB-8F93-F056BC813110}" destId="{00D6D2AB-5BCD-4A80-9E65-03EF3E690AFC}" srcOrd="1" destOrd="0" parTransId="{0DAB02E8-1808-4A08-9C49-656647BF4420}" sibTransId="{2F9F4DD2-134D-42E9-8BC6-6C4B200973DA}"/>
    <dgm:cxn modelId="{B53B2550-0343-4299-848C-677988650546}" type="presParOf" srcId="{0948AFA1-D1D9-425A-B42B-48C017E74EDD}" destId="{360921E6-3D40-4E15-B46E-0D09445EC6C3}" srcOrd="0" destOrd="0" presId="urn:microsoft.com/office/officeart/2005/8/layout/vList3"/>
    <dgm:cxn modelId="{0311A4A8-2307-4129-ADC3-EFF7CF9D5312}" type="presParOf" srcId="{360921E6-3D40-4E15-B46E-0D09445EC6C3}" destId="{A3787940-F515-4C02-BC17-ECE5D6EA1DA0}" srcOrd="0" destOrd="0" presId="urn:microsoft.com/office/officeart/2005/8/layout/vList3"/>
    <dgm:cxn modelId="{0259E82A-B670-4305-B473-1FA78B7D7CD3}" type="presParOf" srcId="{360921E6-3D40-4E15-B46E-0D09445EC6C3}" destId="{FA031AC0-D6F0-47E2-8D33-DF4DC3373D22}" srcOrd="1" destOrd="0" presId="urn:microsoft.com/office/officeart/2005/8/layout/vList3"/>
    <dgm:cxn modelId="{AB4678A7-6F99-481B-ABF6-401E70E0D139}" type="presParOf" srcId="{0948AFA1-D1D9-425A-B42B-48C017E74EDD}" destId="{2B5C51A9-31BC-4A2C-BBF1-38B5E664FE70}" srcOrd="1" destOrd="0" presId="urn:microsoft.com/office/officeart/2005/8/layout/vList3"/>
    <dgm:cxn modelId="{85B850FF-FF65-4AC0-902E-833B05BFA350}" type="presParOf" srcId="{0948AFA1-D1D9-425A-B42B-48C017E74EDD}" destId="{76D3AE7E-9527-4895-9433-225A172A09CE}" srcOrd="2" destOrd="0" presId="urn:microsoft.com/office/officeart/2005/8/layout/vList3"/>
    <dgm:cxn modelId="{7B5D2694-0402-49F9-8444-B2F27D95C141}" type="presParOf" srcId="{76D3AE7E-9527-4895-9433-225A172A09CE}" destId="{940AD057-B75D-44C8-B918-00E21A2163FD}" srcOrd="0" destOrd="0" presId="urn:microsoft.com/office/officeart/2005/8/layout/vList3"/>
    <dgm:cxn modelId="{3F8F1622-25DB-4A61-9105-4B39990C7409}" type="presParOf" srcId="{76D3AE7E-9527-4895-9433-225A172A09CE}" destId="{1340E760-6E91-423E-9BC7-CAF36A305646}" srcOrd="1" destOrd="0" presId="urn:microsoft.com/office/officeart/2005/8/layout/vList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1A67BA-C8D9-4E10-AE9A-922C47AE4338}">
      <dsp:nvSpPr>
        <dsp:cNvPr id="0" name=""/>
        <dsp:cNvSpPr/>
      </dsp:nvSpPr>
      <dsp:spPr>
        <a:xfrm rot="5400000">
          <a:off x="1508499" y="58120"/>
          <a:ext cx="871741" cy="758415"/>
        </a:xfrm>
        <a:prstGeom prst="hexagon">
          <a:avLst>
            <a:gd name="adj" fmla="val 25000"/>
            <a:gd name="vf" fmla="val 115470"/>
          </a:avLst>
        </a:prstGeom>
        <a:blipFill rotWithShape="0">
          <a:blip xmlns:r="http://schemas.openxmlformats.org/officeDocument/2006/relationships" r:embed="rId1"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 </a:t>
          </a:r>
          <a:endParaRPr lang="en-US" sz="2700" kern="1200" dirty="0"/>
        </a:p>
      </dsp:txBody>
      <dsp:txXfrm rot="-5400000">
        <a:off x="1683348" y="137303"/>
        <a:ext cx="522043" cy="600049"/>
      </dsp:txXfrm>
    </dsp:sp>
    <dsp:sp modelId="{758B3EC9-984B-4891-91BB-39393D844A4C}">
      <dsp:nvSpPr>
        <dsp:cNvPr id="0" name=""/>
        <dsp:cNvSpPr/>
      </dsp:nvSpPr>
      <dsp:spPr>
        <a:xfrm>
          <a:off x="2346591" y="175806"/>
          <a:ext cx="972863" cy="523044"/>
        </a:xfrm>
        <a:prstGeom prst="rect">
          <a:avLst/>
        </a:prstGeom>
        <a:noFill/>
        <a:ln>
          <a:noFill/>
        </a:ln>
        <a:effectLst/>
      </dsp:spPr>
      <dsp:style>
        <a:lnRef idx="0">
          <a:scrgbClr r="0" g="0" b="0"/>
        </a:lnRef>
        <a:fillRef idx="0">
          <a:scrgbClr r="0" g="0" b="0"/>
        </a:fillRef>
        <a:effectRef idx="0">
          <a:scrgbClr r="0" g="0" b="0"/>
        </a:effectRef>
        <a:fontRef idx="minor"/>
      </dsp:style>
    </dsp:sp>
    <dsp:sp modelId="{FB13E468-3092-470A-8334-FA139B6560A5}">
      <dsp:nvSpPr>
        <dsp:cNvPr id="0" name=""/>
        <dsp:cNvSpPr/>
      </dsp:nvSpPr>
      <dsp:spPr>
        <a:xfrm rot="5400000">
          <a:off x="689410" y="58120"/>
          <a:ext cx="871741" cy="758415"/>
        </a:xfrm>
        <a:prstGeom prst="hexagon">
          <a:avLst>
            <a:gd name="adj" fmla="val 25000"/>
            <a:gd name="vf" fmla="val 115470"/>
          </a:avLst>
        </a:prstGeom>
        <a:blipFill rotWithShape="0">
          <a:blip xmlns:r="http://schemas.openxmlformats.org/officeDocument/2006/relationships" r:embed="rId2"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dirty="0"/>
        </a:p>
      </dsp:txBody>
      <dsp:txXfrm rot="-5400000">
        <a:off x="864259" y="137303"/>
        <a:ext cx="522043" cy="600049"/>
      </dsp:txXfrm>
    </dsp:sp>
    <dsp:sp modelId="{7735819C-D51A-4D24-B0D6-90495ACC87F6}">
      <dsp:nvSpPr>
        <dsp:cNvPr id="0" name=""/>
        <dsp:cNvSpPr/>
      </dsp:nvSpPr>
      <dsp:spPr>
        <a:xfrm rot="5400000">
          <a:off x="1097386" y="798055"/>
          <a:ext cx="871741" cy="758415"/>
        </a:xfrm>
        <a:prstGeom prst="hexagon">
          <a:avLst>
            <a:gd name="adj" fmla="val 25000"/>
            <a:gd name="vf" fmla="val 115470"/>
          </a:avLst>
        </a:prstGeom>
        <a:blipFill rotWithShape="0">
          <a:blip xmlns:r="http://schemas.openxmlformats.org/officeDocument/2006/relationships" r:embed="rId3"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endParaRPr lang="en-US" sz="2700" kern="1200" dirty="0"/>
        </a:p>
      </dsp:txBody>
      <dsp:txXfrm rot="-5400000">
        <a:off x="1272235" y="877238"/>
        <a:ext cx="522043" cy="600049"/>
      </dsp:txXfrm>
    </dsp:sp>
    <dsp:sp modelId="{839D2C20-26C6-4175-B57D-F4AF4E1B94EC}">
      <dsp:nvSpPr>
        <dsp:cNvPr id="0" name=""/>
        <dsp:cNvSpPr/>
      </dsp:nvSpPr>
      <dsp:spPr>
        <a:xfrm>
          <a:off x="181185" y="915740"/>
          <a:ext cx="941480" cy="523044"/>
        </a:xfrm>
        <a:prstGeom prst="rect">
          <a:avLst/>
        </a:prstGeom>
        <a:noFill/>
        <a:ln>
          <a:noFill/>
        </a:ln>
        <a:effectLst/>
      </dsp:spPr>
      <dsp:style>
        <a:lnRef idx="0">
          <a:scrgbClr r="0" g="0" b="0"/>
        </a:lnRef>
        <a:fillRef idx="0">
          <a:scrgbClr r="0" g="0" b="0"/>
        </a:fillRef>
        <a:effectRef idx="0">
          <a:scrgbClr r="0" g="0" b="0"/>
        </a:effectRef>
        <a:fontRef idx="minor"/>
      </dsp:style>
    </dsp:sp>
    <dsp:sp modelId="{37F31D68-A20A-4049-AF53-9085157B0512}">
      <dsp:nvSpPr>
        <dsp:cNvPr id="0" name=""/>
        <dsp:cNvSpPr/>
      </dsp:nvSpPr>
      <dsp:spPr>
        <a:xfrm rot="5400000">
          <a:off x="1916474" y="798055"/>
          <a:ext cx="871741" cy="758415"/>
        </a:xfrm>
        <a:prstGeom prst="hexagon">
          <a:avLst>
            <a:gd name="adj" fmla="val 25000"/>
            <a:gd name="vf" fmla="val 115470"/>
          </a:avLst>
        </a:prstGeom>
        <a:blipFill rotWithShape="0">
          <a:blip xmlns:r="http://schemas.openxmlformats.org/officeDocument/2006/relationships" r:embed="rId4"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dirty="0"/>
        </a:p>
      </dsp:txBody>
      <dsp:txXfrm rot="-5400000">
        <a:off x="2091323" y="877238"/>
        <a:ext cx="522043" cy="600049"/>
      </dsp:txXfrm>
    </dsp:sp>
    <dsp:sp modelId="{43251672-AFE0-453C-9C21-38F9F8A9AEBD}">
      <dsp:nvSpPr>
        <dsp:cNvPr id="0" name=""/>
        <dsp:cNvSpPr/>
      </dsp:nvSpPr>
      <dsp:spPr>
        <a:xfrm rot="5400000">
          <a:off x="1508499" y="1537989"/>
          <a:ext cx="871741" cy="758415"/>
        </a:xfrm>
        <a:prstGeom prst="hexagon">
          <a:avLst>
            <a:gd name="adj" fmla="val 25000"/>
            <a:gd name="vf" fmla="val 115470"/>
          </a:avLst>
        </a:prstGeom>
        <a:blipFill rotWithShape="0">
          <a:blip xmlns:r="http://schemas.openxmlformats.org/officeDocument/2006/relationships" r:embed="rId5"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 </a:t>
          </a:r>
          <a:endParaRPr lang="en-US" sz="2700" kern="1200" dirty="0"/>
        </a:p>
      </dsp:txBody>
      <dsp:txXfrm rot="-5400000">
        <a:off x="1683348" y="1617172"/>
        <a:ext cx="522043" cy="600049"/>
      </dsp:txXfrm>
    </dsp:sp>
    <dsp:sp modelId="{476D08A0-71E6-442A-BDCA-E77807F7D679}">
      <dsp:nvSpPr>
        <dsp:cNvPr id="0" name=""/>
        <dsp:cNvSpPr/>
      </dsp:nvSpPr>
      <dsp:spPr>
        <a:xfrm>
          <a:off x="2346591" y="1655674"/>
          <a:ext cx="972863" cy="523044"/>
        </a:xfrm>
        <a:prstGeom prst="rect">
          <a:avLst/>
        </a:prstGeom>
        <a:noFill/>
        <a:ln>
          <a:noFill/>
        </a:ln>
        <a:effectLst/>
      </dsp:spPr>
      <dsp:style>
        <a:lnRef idx="0">
          <a:scrgbClr r="0" g="0" b="0"/>
        </a:lnRef>
        <a:fillRef idx="0">
          <a:scrgbClr r="0" g="0" b="0"/>
        </a:fillRef>
        <a:effectRef idx="0">
          <a:scrgbClr r="0" g="0" b="0"/>
        </a:effectRef>
        <a:fontRef idx="minor"/>
      </dsp:style>
    </dsp:sp>
    <dsp:sp modelId="{296139D1-F87E-4506-9AE8-62DF73B7785D}">
      <dsp:nvSpPr>
        <dsp:cNvPr id="0" name=""/>
        <dsp:cNvSpPr/>
      </dsp:nvSpPr>
      <dsp:spPr>
        <a:xfrm rot="5400000">
          <a:off x="689410" y="1537989"/>
          <a:ext cx="871741" cy="758415"/>
        </a:xfrm>
        <a:prstGeom prst="hexagon">
          <a:avLst>
            <a:gd name="adj" fmla="val 25000"/>
            <a:gd name="vf" fmla="val 115470"/>
          </a:avLst>
        </a:prstGeom>
        <a:blipFill rotWithShape="0">
          <a:blip xmlns:r="http://schemas.openxmlformats.org/officeDocument/2006/relationships" r:embed="rId6"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dirty="0"/>
        </a:p>
      </dsp:txBody>
      <dsp:txXfrm rot="-5400000">
        <a:off x="864259" y="1617172"/>
        <a:ext cx="522043" cy="600049"/>
      </dsp:txXfrm>
    </dsp:sp>
    <dsp:sp modelId="{DF2B0CFB-927B-4CFB-9C09-159DF69541FF}">
      <dsp:nvSpPr>
        <dsp:cNvPr id="0" name=""/>
        <dsp:cNvSpPr/>
      </dsp:nvSpPr>
      <dsp:spPr>
        <a:xfrm rot="5400000">
          <a:off x="1097386" y="2277923"/>
          <a:ext cx="871741" cy="758415"/>
        </a:xfrm>
        <a:prstGeom prst="hexagon">
          <a:avLst>
            <a:gd name="adj" fmla="val 25000"/>
            <a:gd name="vf" fmla="val 115470"/>
          </a:avLst>
        </a:prstGeom>
        <a:blipFill rotWithShape="0">
          <a:blip xmlns:r="http://schemas.openxmlformats.org/officeDocument/2006/relationships" r:embed="rId7"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ctr" anchorCtr="0">
          <a:noAutofit/>
        </a:bodyPr>
        <a:lstStyle/>
        <a:p>
          <a:pPr lvl="0" algn="ctr" defTabSz="1200150">
            <a:lnSpc>
              <a:spcPct val="90000"/>
            </a:lnSpc>
            <a:spcBef>
              <a:spcPct val="0"/>
            </a:spcBef>
            <a:spcAft>
              <a:spcPct val="35000"/>
            </a:spcAft>
          </a:pPr>
          <a:r>
            <a:rPr lang="en-US" sz="2700" kern="1200" dirty="0" smtClean="0"/>
            <a:t> </a:t>
          </a:r>
          <a:endParaRPr lang="en-US" sz="2700" kern="1200" dirty="0"/>
        </a:p>
      </dsp:txBody>
      <dsp:txXfrm rot="-5400000">
        <a:off x="1272235" y="2357106"/>
        <a:ext cx="522043" cy="600049"/>
      </dsp:txXfrm>
    </dsp:sp>
    <dsp:sp modelId="{D78318BE-345F-48DC-9827-B1C599CF00E1}">
      <dsp:nvSpPr>
        <dsp:cNvPr id="0" name=""/>
        <dsp:cNvSpPr/>
      </dsp:nvSpPr>
      <dsp:spPr>
        <a:xfrm>
          <a:off x="181185" y="2395608"/>
          <a:ext cx="941480" cy="523044"/>
        </a:xfrm>
        <a:prstGeom prst="rect">
          <a:avLst/>
        </a:prstGeom>
        <a:noFill/>
        <a:ln>
          <a:noFill/>
        </a:ln>
        <a:effectLst/>
      </dsp:spPr>
      <dsp:style>
        <a:lnRef idx="0">
          <a:scrgbClr r="0" g="0" b="0"/>
        </a:lnRef>
        <a:fillRef idx="0">
          <a:scrgbClr r="0" g="0" b="0"/>
        </a:fillRef>
        <a:effectRef idx="0">
          <a:scrgbClr r="0" g="0" b="0"/>
        </a:effectRef>
        <a:fontRef idx="minor"/>
      </dsp:style>
    </dsp:sp>
    <dsp:sp modelId="{E92FE89E-88B9-4B43-B8EE-9B35B84F7884}">
      <dsp:nvSpPr>
        <dsp:cNvPr id="0" name=""/>
        <dsp:cNvSpPr/>
      </dsp:nvSpPr>
      <dsp:spPr>
        <a:xfrm rot="5400000">
          <a:off x="1916474" y="2277923"/>
          <a:ext cx="871741" cy="758415"/>
        </a:xfrm>
        <a:prstGeom prst="hexagon">
          <a:avLst>
            <a:gd name="adj" fmla="val 25000"/>
            <a:gd name="vf" fmla="val 115470"/>
          </a:avLst>
        </a:prstGeom>
        <a:blipFill rotWithShape="0">
          <a:blip xmlns:r="http://schemas.openxmlformats.org/officeDocument/2006/relationships" r:embed="rId8" cstate="email">
            <a:extLst>
              <a:ext uri="{28A0092B-C50C-407E-A947-70E740481C1C}">
                <a14:useLocalDpi xmlns:a14="http://schemas.microsoft.com/office/drawing/2010/main"/>
              </a:ext>
            </a:extLst>
          </a:blip>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600200">
            <a:lnSpc>
              <a:spcPct val="90000"/>
            </a:lnSpc>
            <a:spcBef>
              <a:spcPct val="0"/>
            </a:spcBef>
            <a:spcAft>
              <a:spcPct val="35000"/>
            </a:spcAft>
          </a:pPr>
          <a:endParaRPr lang="en-US" sz="3600" kern="1200" dirty="0"/>
        </a:p>
      </dsp:txBody>
      <dsp:txXfrm rot="-5400000">
        <a:off x="2091323" y="2357106"/>
        <a:ext cx="522043" cy="60004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031AC0-D6F0-47E2-8D33-DF4DC3373D22}">
      <dsp:nvSpPr>
        <dsp:cNvPr id="0" name=""/>
        <dsp:cNvSpPr/>
      </dsp:nvSpPr>
      <dsp:spPr>
        <a:xfrm rot="10800000">
          <a:off x="1928086" y="601"/>
          <a:ext cx="5744600" cy="1924554"/>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8675" tIns="83820" rIns="156464" bIns="83820" numCol="1" spcCol="1270" anchor="t" anchorCtr="0">
          <a:noAutofit/>
        </a:bodyPr>
        <a:lstStyle/>
        <a:p>
          <a:pPr lvl="0" algn="l" defTabSz="977900" rtl="0">
            <a:lnSpc>
              <a:spcPct val="90000"/>
            </a:lnSpc>
            <a:spcBef>
              <a:spcPct val="0"/>
            </a:spcBef>
            <a:spcAft>
              <a:spcPct val="35000"/>
            </a:spcAft>
          </a:pPr>
          <a:r>
            <a:rPr lang="en-US" sz="2200" b="1" i="0" kern="1200" smtClean="0"/>
            <a:t>Five/Ten Year Technical Goals</a:t>
          </a:r>
          <a:endParaRPr lang="en-US" sz="2200" kern="1200"/>
        </a:p>
        <a:p>
          <a:pPr marL="171450" lvl="1" indent="-171450" algn="l" defTabSz="755650" rtl="0">
            <a:lnSpc>
              <a:spcPct val="90000"/>
            </a:lnSpc>
            <a:spcBef>
              <a:spcPct val="0"/>
            </a:spcBef>
            <a:spcAft>
              <a:spcPct val="15000"/>
            </a:spcAft>
            <a:buChar char="••"/>
          </a:pPr>
          <a:r>
            <a:rPr lang="en-US" sz="1700" b="0" i="0" kern="1200" smtClean="0"/>
            <a:t>25/50% lower carbon fiber–reinforced polymer (CFRP) cost</a:t>
          </a:r>
          <a:endParaRPr lang="en-US" sz="1700" kern="1200"/>
        </a:p>
        <a:p>
          <a:pPr marL="171450" lvl="1" indent="-171450" algn="l" defTabSz="755650" rtl="0">
            <a:lnSpc>
              <a:spcPct val="90000"/>
            </a:lnSpc>
            <a:spcBef>
              <a:spcPct val="0"/>
            </a:spcBef>
            <a:spcAft>
              <a:spcPct val="15000"/>
            </a:spcAft>
            <a:buChar char="••"/>
          </a:pPr>
          <a:r>
            <a:rPr lang="en-US" sz="1700" b="0" i="0" kern="1200" smtClean="0"/>
            <a:t>50/75% reduction in CFRP embodied energy </a:t>
          </a:r>
          <a:endParaRPr lang="en-US" sz="1700" kern="1200"/>
        </a:p>
        <a:p>
          <a:pPr marL="171450" lvl="1" indent="-171450" algn="l" defTabSz="755650" rtl="0">
            <a:lnSpc>
              <a:spcPct val="90000"/>
            </a:lnSpc>
            <a:spcBef>
              <a:spcPct val="0"/>
            </a:spcBef>
            <a:spcAft>
              <a:spcPct val="15000"/>
            </a:spcAft>
            <a:buChar char="••"/>
          </a:pPr>
          <a:r>
            <a:rPr lang="en-US" sz="1700" b="0" i="0" kern="1200" smtClean="0"/>
            <a:t>80/95% composite recyclability into useful products</a:t>
          </a:r>
          <a:endParaRPr lang="en-US" sz="1700" kern="1200"/>
        </a:p>
      </dsp:txBody>
      <dsp:txXfrm rot="10800000">
        <a:off x="2409224" y="601"/>
        <a:ext cx="5263462" cy="1924554"/>
      </dsp:txXfrm>
    </dsp:sp>
    <dsp:sp modelId="{A3787940-F515-4C02-BC17-ECE5D6EA1DA0}">
      <dsp:nvSpPr>
        <dsp:cNvPr id="0" name=""/>
        <dsp:cNvSpPr/>
      </dsp:nvSpPr>
      <dsp:spPr>
        <a:xfrm>
          <a:off x="965809" y="601"/>
          <a:ext cx="1924554" cy="1924554"/>
        </a:xfrm>
        <a:prstGeom prst="ellipse">
          <a:avLst/>
        </a:prstGeom>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340E760-6E91-423E-9BC7-CAF36A305646}">
      <dsp:nvSpPr>
        <dsp:cNvPr id="0" name=""/>
        <dsp:cNvSpPr/>
      </dsp:nvSpPr>
      <dsp:spPr>
        <a:xfrm rot="10800000">
          <a:off x="1928086" y="2499649"/>
          <a:ext cx="5744600" cy="1924554"/>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8675" tIns="83820" rIns="156464" bIns="83820" numCol="1" spcCol="1270" anchor="t" anchorCtr="0">
          <a:noAutofit/>
        </a:bodyPr>
        <a:lstStyle/>
        <a:p>
          <a:pPr lvl="0" algn="l" defTabSz="977900" rtl="0">
            <a:lnSpc>
              <a:spcPct val="90000"/>
            </a:lnSpc>
            <a:spcBef>
              <a:spcPct val="0"/>
            </a:spcBef>
            <a:spcAft>
              <a:spcPct val="35000"/>
            </a:spcAft>
          </a:pPr>
          <a:r>
            <a:rPr lang="en-US" sz="2200" b="1" i="0" kern="1200" smtClean="0"/>
            <a:t>Impact Goals</a:t>
          </a:r>
          <a:endParaRPr lang="en-US" sz="2200" kern="1200"/>
        </a:p>
        <a:p>
          <a:pPr marL="171450" lvl="1" indent="-171450" algn="l" defTabSz="755650" rtl="0">
            <a:lnSpc>
              <a:spcPct val="90000"/>
            </a:lnSpc>
            <a:spcBef>
              <a:spcPct val="0"/>
            </a:spcBef>
            <a:spcAft>
              <a:spcPct val="15000"/>
            </a:spcAft>
            <a:buChar char="••"/>
          </a:pPr>
          <a:r>
            <a:rPr lang="en-US" sz="1700" b="0" i="0" kern="1200" smtClean="0"/>
            <a:t>Enhanced energy productivity</a:t>
          </a:r>
          <a:endParaRPr lang="en-US" sz="1700" kern="1200"/>
        </a:p>
        <a:p>
          <a:pPr marL="171450" lvl="1" indent="-171450" algn="l" defTabSz="755650" rtl="0">
            <a:lnSpc>
              <a:spcPct val="90000"/>
            </a:lnSpc>
            <a:spcBef>
              <a:spcPct val="0"/>
            </a:spcBef>
            <a:spcAft>
              <a:spcPct val="15000"/>
            </a:spcAft>
            <a:buChar char="••"/>
          </a:pPr>
          <a:r>
            <a:rPr lang="en-US" sz="1700" b="0" i="0" kern="1200" smtClean="0"/>
            <a:t>Reduced life cycle energy consumption</a:t>
          </a:r>
          <a:endParaRPr lang="en-US" sz="1700" kern="1200"/>
        </a:p>
        <a:p>
          <a:pPr marL="171450" lvl="1" indent="-171450" algn="l" defTabSz="755650" rtl="0">
            <a:lnSpc>
              <a:spcPct val="90000"/>
            </a:lnSpc>
            <a:spcBef>
              <a:spcPct val="0"/>
            </a:spcBef>
            <a:spcAft>
              <a:spcPct val="15000"/>
            </a:spcAft>
            <a:buChar char="••"/>
          </a:pPr>
          <a:r>
            <a:rPr lang="en-US" sz="1700" b="0" i="0" kern="1200" smtClean="0"/>
            <a:t>Increased domestic production capacity</a:t>
          </a:r>
          <a:endParaRPr lang="en-US" sz="1700" kern="1200"/>
        </a:p>
        <a:p>
          <a:pPr marL="171450" lvl="1" indent="-171450" algn="l" defTabSz="755650" rtl="0">
            <a:lnSpc>
              <a:spcPct val="90000"/>
            </a:lnSpc>
            <a:spcBef>
              <a:spcPct val="0"/>
            </a:spcBef>
            <a:spcAft>
              <a:spcPct val="15000"/>
            </a:spcAft>
            <a:buChar char="••"/>
          </a:pPr>
          <a:r>
            <a:rPr lang="en-US" sz="1700" b="0" i="0" kern="1200" smtClean="0"/>
            <a:t>Job growth and economic development </a:t>
          </a:r>
          <a:endParaRPr lang="en-US" sz="1700" kern="1200"/>
        </a:p>
      </dsp:txBody>
      <dsp:txXfrm rot="10800000">
        <a:off x="2409224" y="2499649"/>
        <a:ext cx="5263462" cy="1924554"/>
      </dsp:txXfrm>
    </dsp:sp>
    <dsp:sp modelId="{940AD057-B75D-44C8-B918-00E21A2163FD}">
      <dsp:nvSpPr>
        <dsp:cNvPr id="0" name=""/>
        <dsp:cNvSpPr/>
      </dsp:nvSpPr>
      <dsp:spPr>
        <a:xfrm>
          <a:off x="965809" y="2499649"/>
          <a:ext cx="1924554" cy="1924554"/>
        </a:xfrm>
        <a:prstGeom prst="ellipse">
          <a:avLst/>
        </a:prstGeom>
        <a:blipFill>
          <a:blip xmlns:r="http://schemas.openxmlformats.org/officeDocument/2006/relationships" r:embed="rId2" cstate="screen">
            <a:extLst>
              <a:ext uri="{28A0092B-C50C-407E-A947-70E740481C1C}">
                <a14:useLocalDpi xmlns:a14="http://schemas.microsoft.com/office/drawing/2010/main"/>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0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507609"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274DEE16-84C1-4841-9772-2D313614D1EC}" type="slidenum">
              <a:rPr lang="en-US" smtClean="0"/>
              <a:t>‹#›</a:t>
            </a:fld>
            <a:endParaRPr lang="en-US"/>
          </a:p>
        </p:txBody>
      </p:sp>
    </p:spTree>
    <p:extLst>
      <p:ext uri="{BB962C8B-B14F-4D97-AF65-F5344CB8AC3E}">
        <p14:creationId xmlns:p14="http://schemas.microsoft.com/office/powerpoint/2010/main" val="361707991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2087F16D-9019-C343-8089-28CB296A8EA2}" type="datetimeFigureOut">
              <a:rPr lang="en-US" smtClean="0"/>
              <a:t>6/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0EDBF9D1-BF1F-DD42-A9EA-35A2C82F4A52}" type="slidenum">
              <a:rPr lang="en-US" smtClean="0"/>
              <a:t>‹#›</a:t>
            </a:fld>
            <a:endParaRPr lang="en-US"/>
          </a:p>
        </p:txBody>
      </p:sp>
    </p:spTree>
    <p:extLst>
      <p:ext uri="{BB962C8B-B14F-4D97-AF65-F5344CB8AC3E}">
        <p14:creationId xmlns:p14="http://schemas.microsoft.com/office/powerpoint/2010/main" val="2556253303"/>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B7951CB-D45E-4509-AB36-99DF0568A09F}" type="slidenum">
              <a:rPr lang="en-US" smtClean="0"/>
              <a:t>1</a:t>
            </a:fld>
            <a:endParaRPr lang="en-US" dirty="0"/>
          </a:p>
        </p:txBody>
      </p:sp>
      <p:sp>
        <p:nvSpPr>
          <p:cNvPr id="5" name="Date Placeholder 4"/>
          <p:cNvSpPr>
            <a:spLocks noGrp="1"/>
          </p:cNvSpPr>
          <p:nvPr>
            <p:ph type="dt" idx="11"/>
          </p:nvPr>
        </p:nvSpPr>
        <p:spPr/>
        <p:txBody>
          <a:bodyPr/>
          <a:lstStyle/>
          <a:p>
            <a:fld id="{D05F151D-113C-3A4D-9277-55E9E888C4FB}" type="datetime5">
              <a:rPr lang="en-US" smtClean="0"/>
              <a:t>20-Jun-16</a:t>
            </a:fld>
            <a:endParaRPr lang="en-US" dirty="0"/>
          </a:p>
        </p:txBody>
      </p:sp>
    </p:spTree>
    <p:extLst>
      <p:ext uri="{BB962C8B-B14F-4D97-AF65-F5344CB8AC3E}">
        <p14:creationId xmlns:p14="http://schemas.microsoft.com/office/powerpoint/2010/main" val="37425219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latin typeface="Arial" panose="020B0604020202020204" pitchFamily="34" charset="0"/>
            </a:endParaRPr>
          </a:p>
        </p:txBody>
      </p:sp>
      <p:sp>
        <p:nvSpPr>
          <p:cNvPr id="81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0906D61-702D-4E59-94C5-1D0D2F7EC36A}" type="slidenum">
              <a:rPr lang="en-US" altLang="en-US" smtClean="0"/>
              <a:pPr/>
              <a:t>19</a:t>
            </a:fld>
            <a:endParaRPr lang="en-US" altLang="en-US" smtClean="0"/>
          </a:p>
        </p:txBody>
      </p:sp>
    </p:spTree>
    <p:extLst>
      <p:ext uri="{BB962C8B-B14F-4D97-AF65-F5344CB8AC3E}">
        <p14:creationId xmlns:p14="http://schemas.microsoft.com/office/powerpoint/2010/main" val="6975529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t>AMNPO</a:t>
            </a:r>
          </a:p>
          <a:p>
            <a:r>
              <a:rPr lang="en-US" sz="1000" dirty="0"/>
              <a:t>In December 2011,  U.S. Commerce Secretary formed the Advanced Manufacturing National Program Office (AMNPO). Hosted by the National Institute of Standards and Technology (NIST), the office is staffed by representatives from federal agencies with manufacturing-related missions as well as manufacturing companies and universities. The AMNPO is charged with: • Convening and enabling industry-led, private-public partnerships that focus on manufacturing innovation and engaging U.S. universities, and • Designing and implementing an integrated “whole of government” advanced manufacturing initiative to facilitate collaboration and information sharing across federal agencies.</a:t>
            </a:r>
          </a:p>
          <a:p>
            <a:endParaRPr lang="en-US" sz="1000" dirty="0"/>
          </a:p>
          <a:p>
            <a:r>
              <a:rPr lang="en-US" sz="1000" dirty="0"/>
              <a:t>By coordinating federal resources and programs, the AMNPO will enhance technology transfer in U.S. manufacturing industries and help companies overcome technical obstacles to scaling up production of new technologies. It will work to build more effective collaborations in identifying and addressing challenges and opportunities that span technology areas and cut across agency missions. A key AMNPO aim is to link federal efforts to the growing number of private-sector partnerships involving manufacturers, universities, state and local governments, and other organizations.</a:t>
            </a:r>
          </a:p>
          <a:p>
            <a:endParaRPr lang="en-US" sz="1000" dirty="0"/>
          </a:p>
          <a:p>
            <a:r>
              <a:rPr lang="en-US" sz="1000" dirty="0"/>
              <a:t>NSTC</a:t>
            </a:r>
          </a:p>
          <a:p>
            <a:r>
              <a:rPr lang="en-US" sz="1000" dirty="0"/>
              <a:t>The National Science and Technology Council (NSTC) was established by Executive Order on November 23, 1993. This Cabinet-level Council is the principal means within the executive branch to coordinate science and technology policy across the diverse entities that make up the Federal research and development enterprise. Chaired by the President, the membership of the NSTC is made up of the Vice President, the Director of the Office of Science and Technology Policy, Cabinet Secretaries and Agency Heads with significant science and technology responsibilities, and other White House officials.</a:t>
            </a:r>
          </a:p>
          <a:p>
            <a:r>
              <a:rPr lang="en-US" sz="1000" dirty="0"/>
              <a:t>A primary objective of the NSTC is the establishment of clear national goals for Federal science and technology investments in a broad array of areas spanning virtually all the mission areas of the executive branch. </a:t>
            </a:r>
          </a:p>
          <a:p>
            <a:endParaRPr lang="en-US" sz="1000" dirty="0"/>
          </a:p>
        </p:txBody>
      </p:sp>
      <p:sp>
        <p:nvSpPr>
          <p:cNvPr id="4" name="Slide Number Placeholder 3"/>
          <p:cNvSpPr>
            <a:spLocks noGrp="1"/>
          </p:cNvSpPr>
          <p:nvPr>
            <p:ph type="sldNum" sz="quarter" idx="10"/>
          </p:nvPr>
        </p:nvSpPr>
        <p:spPr/>
        <p:txBody>
          <a:bodyPr/>
          <a:lstStyle/>
          <a:p>
            <a:fld id="{9A478A9E-7250-4187-965D-AB3B2EF55846}" type="slidenum">
              <a:rPr lang="en-US" smtClean="0"/>
              <a:t>2</a:t>
            </a:fld>
            <a:endParaRPr lang="en-US"/>
          </a:p>
        </p:txBody>
      </p:sp>
    </p:spTree>
    <p:extLst>
      <p:ext uri="{BB962C8B-B14F-4D97-AF65-F5344CB8AC3E}">
        <p14:creationId xmlns:p14="http://schemas.microsoft.com/office/powerpoint/2010/main" val="41199181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24580"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defRPr>
            </a:lvl1pPr>
            <a:lvl2pPr marL="757066" indent="-291179" eaLnBrk="0" hangingPunct="0">
              <a:defRPr>
                <a:solidFill>
                  <a:schemeClr val="tx1"/>
                </a:solidFill>
                <a:latin typeface="Arial" pitchFamily="34" charset="0"/>
              </a:defRPr>
            </a:lvl2pPr>
            <a:lvl3pPr marL="1164717" indent="-232943" eaLnBrk="0" hangingPunct="0">
              <a:defRPr>
                <a:solidFill>
                  <a:schemeClr val="tx1"/>
                </a:solidFill>
                <a:latin typeface="Arial" pitchFamily="34" charset="0"/>
              </a:defRPr>
            </a:lvl3pPr>
            <a:lvl4pPr marL="1630604" indent="-232943" eaLnBrk="0" hangingPunct="0">
              <a:defRPr>
                <a:solidFill>
                  <a:schemeClr val="tx1"/>
                </a:solidFill>
                <a:latin typeface="Arial" pitchFamily="34" charset="0"/>
              </a:defRPr>
            </a:lvl4pPr>
            <a:lvl5pPr marL="2096491" indent="-232943" eaLnBrk="0" hangingPunct="0">
              <a:defRPr>
                <a:solidFill>
                  <a:schemeClr val="tx1"/>
                </a:solidFill>
                <a:latin typeface="Arial" pitchFamily="34" charset="0"/>
              </a:defRPr>
            </a:lvl5pPr>
            <a:lvl6pPr marL="2562377" indent="-232943" eaLnBrk="0" fontAlgn="base" hangingPunct="0">
              <a:spcBef>
                <a:spcPct val="0"/>
              </a:spcBef>
              <a:spcAft>
                <a:spcPct val="0"/>
              </a:spcAft>
              <a:defRPr>
                <a:solidFill>
                  <a:schemeClr val="tx1"/>
                </a:solidFill>
                <a:latin typeface="Arial" pitchFamily="34" charset="0"/>
              </a:defRPr>
            </a:lvl6pPr>
            <a:lvl7pPr marL="3028264" indent="-232943" eaLnBrk="0" fontAlgn="base" hangingPunct="0">
              <a:spcBef>
                <a:spcPct val="0"/>
              </a:spcBef>
              <a:spcAft>
                <a:spcPct val="0"/>
              </a:spcAft>
              <a:defRPr>
                <a:solidFill>
                  <a:schemeClr val="tx1"/>
                </a:solidFill>
                <a:latin typeface="Arial" pitchFamily="34" charset="0"/>
              </a:defRPr>
            </a:lvl7pPr>
            <a:lvl8pPr marL="3494151" indent="-232943" eaLnBrk="0" fontAlgn="base" hangingPunct="0">
              <a:spcBef>
                <a:spcPct val="0"/>
              </a:spcBef>
              <a:spcAft>
                <a:spcPct val="0"/>
              </a:spcAft>
              <a:defRPr>
                <a:solidFill>
                  <a:schemeClr val="tx1"/>
                </a:solidFill>
                <a:latin typeface="Arial" pitchFamily="34" charset="0"/>
              </a:defRPr>
            </a:lvl8pPr>
            <a:lvl9pPr marL="3960038" indent="-232943" eaLnBrk="0" fontAlgn="base" hangingPunct="0">
              <a:spcBef>
                <a:spcPct val="0"/>
              </a:spcBef>
              <a:spcAft>
                <a:spcPct val="0"/>
              </a:spcAft>
              <a:defRPr>
                <a:solidFill>
                  <a:schemeClr val="tx1"/>
                </a:solidFill>
                <a:latin typeface="Arial" pitchFamily="34" charset="0"/>
              </a:defRPr>
            </a:lvl9pPr>
          </a:lstStyle>
          <a:p>
            <a:pPr eaLnBrk="1" hangingPunct="1">
              <a:defRPr/>
            </a:pPr>
            <a:fld id="{FA155D08-50B3-4F18-AE7F-1AE917FDBC45}" type="slidenum">
              <a:rPr lang="en-US" smtClean="0">
                <a:solidFill>
                  <a:prstClr val="black"/>
                </a:solidFill>
              </a:rPr>
              <a:pPr eaLnBrk="1" hangingPunct="1">
                <a:defRPr/>
              </a:pPr>
              <a:t>8</a:t>
            </a:fld>
            <a:endParaRPr lang="en-US" smtClean="0">
              <a:solidFill>
                <a:prstClr val="black"/>
              </a:solidFill>
            </a:endParaRPr>
          </a:p>
        </p:txBody>
      </p:sp>
    </p:spTree>
    <p:extLst>
      <p:ext uri="{BB962C8B-B14F-4D97-AF65-F5344CB8AC3E}">
        <p14:creationId xmlns:p14="http://schemas.microsoft.com/office/powerpoint/2010/main" val="32469134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147537-20E2-467B-B053-AB86A867F93D}" type="slidenum">
              <a:rPr lang="en-US" smtClean="0"/>
              <a:t>9</a:t>
            </a:fld>
            <a:endParaRPr lang="en-US" dirty="0"/>
          </a:p>
        </p:txBody>
      </p:sp>
    </p:spTree>
    <p:extLst>
      <p:ext uri="{BB962C8B-B14F-4D97-AF65-F5344CB8AC3E}">
        <p14:creationId xmlns:p14="http://schemas.microsoft.com/office/powerpoint/2010/main" val="770829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67331">
              <a:defRPr/>
            </a:pPr>
            <a:r>
              <a:rPr lang="en-US" b="1" dirty="0"/>
              <a:t>Recommendation #5:</a:t>
            </a:r>
            <a:r>
              <a:rPr lang="en-US" dirty="0"/>
              <a:t> Create – through the National Economic Council, the Office of Science and Technology Policy, and the implementing agencies and departments – a shared National Network for Manufacturing Innovation </a:t>
            </a:r>
            <a:r>
              <a:rPr lang="en-US" b="1" dirty="0"/>
              <a:t>(NNMI) governance structure </a:t>
            </a:r>
            <a:r>
              <a:rPr lang="en-US" dirty="0"/>
              <a:t>that can ensure a return on investment for the NNMI’s many stakeholders by including input from various agencies as well as private sector experts, organized labor and academia.   </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7C691D9B-DF79-1C45-A9CF-E08FEA823A5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12130550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271965F-9DF4-4BB4-A7DA-E7D5B682BED6}" type="slidenum">
              <a:rPr lang="en-US" smtClean="0">
                <a:solidFill>
                  <a:prstClr val="black"/>
                </a:solidFill>
                <a:latin typeface="Calibri"/>
              </a:rPr>
              <a:pPr>
                <a:defRPr/>
              </a:pPr>
              <a:t>12</a:t>
            </a:fld>
            <a:endParaRPr lang="en-US" dirty="0">
              <a:solidFill>
                <a:prstClr val="black"/>
              </a:solidFill>
              <a:latin typeface="Calibri"/>
            </a:endParaRPr>
          </a:p>
        </p:txBody>
      </p:sp>
    </p:spTree>
    <p:extLst>
      <p:ext uri="{BB962C8B-B14F-4D97-AF65-F5344CB8AC3E}">
        <p14:creationId xmlns:p14="http://schemas.microsoft.com/office/powerpoint/2010/main" val="447614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endParaRPr lang="en-US" dirty="0" smtClean="0"/>
          </a:p>
        </p:txBody>
      </p:sp>
      <p:sp>
        <p:nvSpPr>
          <p:cNvPr id="4" name="Slide Number Placeholder 3"/>
          <p:cNvSpPr>
            <a:spLocks noGrp="1"/>
          </p:cNvSpPr>
          <p:nvPr>
            <p:ph type="sldNum" sz="quarter" idx="10"/>
          </p:nvPr>
        </p:nvSpPr>
        <p:spPr/>
        <p:txBody>
          <a:bodyPr/>
          <a:lstStyle/>
          <a:p>
            <a:fld id="{13FB526A-9E15-4321-B1DC-6DEA35FE07F3}" type="slidenum">
              <a:rPr lang="en-US" smtClean="0"/>
              <a:t>13</a:t>
            </a:fld>
            <a:endParaRPr lang="en-US"/>
          </a:p>
        </p:txBody>
      </p:sp>
    </p:spTree>
    <p:extLst>
      <p:ext uri="{BB962C8B-B14F-4D97-AF65-F5344CB8AC3E}">
        <p14:creationId xmlns:p14="http://schemas.microsoft.com/office/powerpoint/2010/main" val="3183133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01738" y="712788"/>
            <a:ext cx="4764087" cy="35734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56DD38-3249-4BFA-846C-07CEB4FBC3C1}" type="slidenum">
              <a:rPr lang="en-US" smtClean="0"/>
              <a:pPr/>
              <a:t>15</a:t>
            </a:fld>
            <a:endParaRPr lang="en-US" dirty="0"/>
          </a:p>
        </p:txBody>
      </p:sp>
    </p:spTree>
    <p:extLst>
      <p:ext uri="{BB962C8B-B14F-4D97-AF65-F5344CB8AC3E}">
        <p14:creationId xmlns:p14="http://schemas.microsoft.com/office/powerpoint/2010/main" val="20924861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p:cNvSpPr>
            <a:spLocks noGrp="1" noChangeArrowheads="1"/>
          </p:cNvSpPr>
          <p:nvPr>
            <p:ph type="sldNum" sz="quarter" idx="5"/>
          </p:nvPr>
        </p:nvSpPr>
        <p:spPr>
          <a:noFill/>
        </p:spPr>
        <p:txBody>
          <a:bodyPr/>
          <a:lstStyle>
            <a:lvl1pPr eaLnBrk="0" hangingPunct="0">
              <a:defRPr sz="1600">
                <a:solidFill>
                  <a:schemeClr val="tx1"/>
                </a:solidFill>
                <a:latin typeface="Arial" charset="0"/>
              </a:defRPr>
            </a:lvl1pPr>
            <a:lvl2pPr marL="755504" indent="-290578" eaLnBrk="0" hangingPunct="0">
              <a:defRPr sz="1600">
                <a:solidFill>
                  <a:schemeClr val="tx1"/>
                </a:solidFill>
                <a:latin typeface="Arial" charset="0"/>
              </a:defRPr>
            </a:lvl2pPr>
            <a:lvl3pPr marL="1162313" indent="-232463" eaLnBrk="0" hangingPunct="0">
              <a:defRPr sz="1600">
                <a:solidFill>
                  <a:schemeClr val="tx1"/>
                </a:solidFill>
                <a:latin typeface="Arial" charset="0"/>
              </a:defRPr>
            </a:lvl3pPr>
            <a:lvl4pPr marL="1627239" indent="-232463" eaLnBrk="0" hangingPunct="0">
              <a:defRPr sz="1600">
                <a:solidFill>
                  <a:schemeClr val="tx1"/>
                </a:solidFill>
                <a:latin typeface="Arial" charset="0"/>
              </a:defRPr>
            </a:lvl4pPr>
            <a:lvl5pPr marL="2092165" indent="-232463" eaLnBrk="0" hangingPunct="0">
              <a:defRPr sz="1600">
                <a:solidFill>
                  <a:schemeClr val="tx1"/>
                </a:solidFill>
                <a:latin typeface="Arial" charset="0"/>
              </a:defRPr>
            </a:lvl5pPr>
            <a:lvl6pPr marL="2557090" indent="-232463" eaLnBrk="0" fontAlgn="base" hangingPunct="0">
              <a:spcBef>
                <a:spcPct val="0"/>
              </a:spcBef>
              <a:spcAft>
                <a:spcPct val="0"/>
              </a:spcAft>
              <a:defRPr sz="1600">
                <a:solidFill>
                  <a:schemeClr val="tx1"/>
                </a:solidFill>
                <a:latin typeface="Arial" charset="0"/>
              </a:defRPr>
            </a:lvl6pPr>
            <a:lvl7pPr marL="3022016" indent="-232463" eaLnBrk="0" fontAlgn="base" hangingPunct="0">
              <a:spcBef>
                <a:spcPct val="0"/>
              </a:spcBef>
              <a:spcAft>
                <a:spcPct val="0"/>
              </a:spcAft>
              <a:defRPr sz="1600">
                <a:solidFill>
                  <a:schemeClr val="tx1"/>
                </a:solidFill>
                <a:latin typeface="Arial" charset="0"/>
              </a:defRPr>
            </a:lvl7pPr>
            <a:lvl8pPr marL="3486942" indent="-232463" eaLnBrk="0" fontAlgn="base" hangingPunct="0">
              <a:spcBef>
                <a:spcPct val="0"/>
              </a:spcBef>
              <a:spcAft>
                <a:spcPct val="0"/>
              </a:spcAft>
              <a:defRPr sz="1600">
                <a:solidFill>
                  <a:schemeClr val="tx1"/>
                </a:solidFill>
                <a:latin typeface="Arial" charset="0"/>
              </a:defRPr>
            </a:lvl8pPr>
            <a:lvl9pPr marL="3951867" indent="-232463" eaLnBrk="0" fontAlgn="base" hangingPunct="0">
              <a:spcBef>
                <a:spcPct val="0"/>
              </a:spcBef>
              <a:spcAft>
                <a:spcPct val="0"/>
              </a:spcAft>
              <a:defRPr sz="1600">
                <a:solidFill>
                  <a:schemeClr val="tx1"/>
                </a:solidFill>
                <a:latin typeface="Arial" charset="0"/>
              </a:defRPr>
            </a:lvl9pPr>
          </a:lstStyle>
          <a:p>
            <a:pPr eaLnBrk="1" hangingPunct="1"/>
            <a:fld id="{A32C2DEB-D949-4B45-BBCA-1A46194AA2CB}" type="slidenum">
              <a:rPr lang="en-US" sz="1200">
                <a:solidFill>
                  <a:prstClr val="black"/>
                </a:solidFill>
              </a:rPr>
              <a:pPr eaLnBrk="1" hangingPunct="1"/>
              <a:t>18</a:t>
            </a:fld>
            <a:endParaRPr lang="en-US" sz="1200" dirty="0">
              <a:solidFill>
                <a:prstClr val="black"/>
              </a:solidFill>
            </a:endParaRPr>
          </a:p>
        </p:txBody>
      </p:sp>
      <p:sp>
        <p:nvSpPr>
          <p:cNvPr id="12291" name="Rectangle 2"/>
          <p:cNvSpPr>
            <a:spLocks noGrp="1" noRot="1" noChangeAspect="1" noChangeArrowheads="1" noTextEdit="1"/>
          </p:cNvSpPr>
          <p:nvPr>
            <p:ph type="sldImg"/>
          </p:nvPr>
        </p:nvSpPr>
        <p:spPr>
          <a:ln/>
        </p:spPr>
      </p:sp>
      <p:sp>
        <p:nvSpPr>
          <p:cNvPr id="12292" name="Rectangle 3"/>
          <p:cNvSpPr>
            <a:spLocks noGrp="1" noChangeArrowheads="1"/>
          </p:cNvSpPr>
          <p:nvPr>
            <p:ph type="body" idx="1"/>
          </p:nvPr>
        </p:nvSpPr>
        <p:spPr>
          <a:xfrm>
            <a:off x="580317" y="5118792"/>
            <a:ext cx="6106779" cy="251877"/>
          </a:xfrm>
          <a:noFill/>
        </p:spPr>
        <p:txBody>
          <a:bodyPr>
            <a:normAutofit fontScale="92500" lnSpcReduction="10000"/>
          </a:bodyPr>
          <a:lstStyle/>
          <a:p>
            <a:pPr eaLnBrk="1" hangingPunct="1"/>
            <a:endParaRPr lang="en-US" dirty="0" smtClean="0"/>
          </a:p>
        </p:txBody>
      </p:sp>
    </p:spTree>
    <p:extLst>
      <p:ext uri="{BB962C8B-B14F-4D97-AF65-F5344CB8AC3E}">
        <p14:creationId xmlns:p14="http://schemas.microsoft.com/office/powerpoint/2010/main" val="205760405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gi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gi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1.gi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540A80A-83A3-C646-A289-02EA3D145AAF}" type="datetime1">
              <a:rPr lang="en-US" smtClean="0"/>
              <a:t>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DFC1F-BF11-504D-8AC2-3E7EDE23BBFC}" type="slidenum">
              <a:rPr lang="en-US" smtClean="0"/>
              <a:t>‹#›</a:t>
            </a:fld>
            <a:endParaRPr lang="en-US"/>
          </a:p>
        </p:txBody>
      </p:sp>
      <p:sp>
        <p:nvSpPr>
          <p:cNvPr id="7" name="Rectangle 6"/>
          <p:cNvSpPr/>
          <p:nvPr userDrawn="1"/>
        </p:nvSpPr>
        <p:spPr>
          <a:xfrm>
            <a:off x="0" y="0"/>
            <a:ext cx="9144000" cy="940037"/>
          </a:xfrm>
          <a:prstGeom prst="rect">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0736" y="139701"/>
            <a:ext cx="926266" cy="705937"/>
          </a:xfrm>
          <a:prstGeom prst="rect">
            <a:avLst/>
          </a:prstGeom>
        </p:spPr>
      </p:pic>
    </p:spTree>
    <p:extLst>
      <p:ext uri="{BB962C8B-B14F-4D97-AF65-F5344CB8AC3E}">
        <p14:creationId xmlns:p14="http://schemas.microsoft.com/office/powerpoint/2010/main" val="114151690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522" y="1144829"/>
            <a:ext cx="9144000" cy="1143000"/>
          </a:xfrm>
          <a:prstGeom prst="rect">
            <a:avLst/>
          </a:prstGeo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457200" y="2421331"/>
            <a:ext cx="8229600" cy="3507768"/>
          </a:xfrm>
        </p:spPr>
        <p:txBody>
          <a:bodyPr/>
          <a:lstStyle>
            <a:lvl1pPr>
              <a:defRPr>
                <a:solidFill>
                  <a:schemeClr val="tx1"/>
                </a:solidFill>
                <a:latin typeface="+mj-lt"/>
              </a:defRPr>
            </a:lvl1pPr>
            <a:lvl2pPr>
              <a:defRPr>
                <a:solidFill>
                  <a:schemeClr val="tx1"/>
                </a:solidFill>
                <a:latin typeface="+mj-lt"/>
              </a:defRPr>
            </a:lvl2pPr>
            <a:lvl3pPr>
              <a:defRPr>
                <a:solidFill>
                  <a:schemeClr val="tx1"/>
                </a:solidFill>
                <a:latin typeface="+mj-lt"/>
              </a:defRPr>
            </a:lvl3pPr>
            <a:lvl4pPr>
              <a:defRPr>
                <a:solidFill>
                  <a:schemeClr val="tx1"/>
                </a:solidFill>
                <a:latin typeface="+mj-lt"/>
              </a:defRPr>
            </a:lvl4pPr>
            <a:lvl5pPr>
              <a:defRPr>
                <a:solidFill>
                  <a:schemeClr val="tx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4"/>
          <p:cNvSpPr>
            <a:spLocks noGrp="1"/>
          </p:cNvSpPr>
          <p:nvPr>
            <p:ph type="sldNum" sz="quarter" idx="4"/>
          </p:nvPr>
        </p:nvSpPr>
        <p:spPr>
          <a:xfrm>
            <a:off x="8534400" y="6328896"/>
            <a:ext cx="457200" cy="396875"/>
          </a:xfrm>
          <a:prstGeom prst="rect">
            <a:avLst/>
          </a:prstGeom>
        </p:spPr>
        <p:txBody>
          <a:bodyPr vert="horz" lIns="91440" tIns="45720" rIns="91440" bIns="45720" rtlCol="0" anchor="ctr"/>
          <a:lstStyle>
            <a:lvl1pPr algn="r">
              <a:defRPr sz="1200">
                <a:solidFill>
                  <a:schemeClr val="tx1">
                    <a:tint val="75000"/>
                  </a:schemeClr>
                </a:solidFill>
              </a:defRPr>
            </a:lvl1pPr>
          </a:lstStyle>
          <a:p>
            <a:fld id="{A7466E9E-6269-402B-8A0B-2E8E4E61C2D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985403400"/>
      </p:ext>
    </p:extLst>
  </p:cSld>
  <p:clrMapOvr>
    <a:masterClrMapping/>
  </p:clrMapOvr>
  <p:transition xmlns:p14="http://schemas.microsoft.com/office/powerpoint/2010/main" spd="med"/>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858000" y="6356350"/>
            <a:ext cx="2133600" cy="365125"/>
          </a:xfrm>
          <a:prstGeom prst="rect">
            <a:avLst/>
          </a:prstGeom>
          <a:noFill/>
        </p:spPr>
        <p:txBody>
          <a:bodyPr/>
          <a:lstStyle>
            <a:lvl1pPr>
              <a:defRPr>
                <a:solidFill>
                  <a:srgbClr val="002060"/>
                </a:solidFill>
              </a:defRPr>
            </a:lvl1pPr>
          </a:lstStyle>
          <a:p>
            <a:fld id="{9B5E1708-F8A3-4564-8049-367EAB969392}" type="slidenum">
              <a:rPr lang="en-US" smtClean="0"/>
              <a:pPr/>
              <a:t>‹#›</a:t>
            </a:fld>
            <a:endParaRPr lang="en-US" dirty="0"/>
          </a:p>
        </p:txBody>
      </p:sp>
      <p:sp>
        <p:nvSpPr>
          <p:cNvPr id="3" name="Rectangle 2"/>
          <p:cNvSpPr/>
          <p:nvPr userDrawn="1"/>
        </p:nvSpPr>
        <p:spPr>
          <a:xfrm>
            <a:off x="0" y="0"/>
            <a:ext cx="9144000" cy="940037"/>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Tree>
    <p:extLst>
      <p:ext uri="{BB962C8B-B14F-4D97-AF65-F5344CB8AC3E}">
        <p14:creationId xmlns:p14="http://schemas.microsoft.com/office/powerpoint/2010/main" val="431739886"/>
      </p:ext>
    </p:extLst>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858000" y="6356350"/>
            <a:ext cx="2133600" cy="365125"/>
          </a:xfrm>
          <a:prstGeom prst="rect">
            <a:avLst/>
          </a:prstGeom>
          <a:noFill/>
        </p:spPr>
        <p:txBody>
          <a:bodyPr/>
          <a:lstStyle>
            <a:lvl1pPr>
              <a:defRPr>
                <a:solidFill>
                  <a:srgbClr val="002060"/>
                </a:solidFill>
              </a:defRPr>
            </a:lvl1pPr>
          </a:lstStyle>
          <a:p>
            <a:fld id="{9B5E1708-F8A3-4564-8049-367EAB969392}" type="slidenum">
              <a:rPr lang="en-US" smtClean="0"/>
              <a:pPr/>
              <a:t>‹#›</a:t>
            </a:fld>
            <a:endParaRPr lang="en-US" dirty="0"/>
          </a:p>
        </p:txBody>
      </p:sp>
    </p:spTree>
    <p:extLst>
      <p:ext uri="{BB962C8B-B14F-4D97-AF65-F5344CB8AC3E}">
        <p14:creationId xmlns:p14="http://schemas.microsoft.com/office/powerpoint/2010/main" val="433746759"/>
      </p:ext>
    </p:extLst>
  </p:cSld>
  <p:clrMapOvr>
    <a:masterClrMapping/>
  </p:clrMapOvr>
  <p:timing>
    <p:tnLst>
      <p:par>
        <p:cTn xmlns:p14="http://schemas.microsoft.com/office/powerpoint/2010/mai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858000" y="6356350"/>
            <a:ext cx="2133600" cy="365125"/>
          </a:xfrm>
          <a:prstGeom prst="rect">
            <a:avLst/>
          </a:prstGeom>
          <a:noFill/>
        </p:spPr>
        <p:txBody>
          <a:bodyPr/>
          <a:lstStyle>
            <a:lvl1pPr>
              <a:defRPr>
                <a:solidFill>
                  <a:srgbClr val="002060"/>
                </a:solidFill>
              </a:defRPr>
            </a:lvl1pPr>
          </a:lstStyle>
          <a:p>
            <a:fld id="{9B5E1708-F8A3-4564-8049-367EAB969392}" type="slidenum">
              <a:rPr lang="en-US" smtClean="0"/>
              <a:pPr/>
              <a:t>‹#›</a:t>
            </a:fld>
            <a:endParaRPr lang="en-US" dirty="0"/>
          </a:p>
        </p:txBody>
      </p:sp>
    </p:spTree>
    <p:extLst>
      <p:ext uri="{BB962C8B-B14F-4D97-AF65-F5344CB8AC3E}">
        <p14:creationId xmlns:p14="http://schemas.microsoft.com/office/powerpoint/2010/main" val="2959341488"/>
      </p:ext>
    </p:extLst>
  </p:cSld>
  <p:clrMapOvr>
    <a:masterClrMapping/>
  </p:clrMapOvr>
  <p:timing>
    <p:tnLst>
      <p:par>
        <p:cTn xmlns:p14="http://schemas.microsoft.com/office/powerpoint/2010/mai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3F664D-88E6-204A-97C1-5A8C3B9E2B74}" type="datetime1">
              <a:rPr lang="en-US" smtClean="0"/>
              <a:t>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DFC1F-BF11-504D-8AC2-3E7EDE23BBFC}" type="slidenum">
              <a:rPr lang="en-US" smtClean="0"/>
              <a:t>‹#›</a:t>
            </a:fld>
            <a:endParaRPr lang="en-US"/>
          </a:p>
        </p:txBody>
      </p:sp>
    </p:spTree>
    <p:extLst>
      <p:ext uri="{BB962C8B-B14F-4D97-AF65-F5344CB8AC3E}">
        <p14:creationId xmlns:p14="http://schemas.microsoft.com/office/powerpoint/2010/main" val="21692033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D860699-2EA9-1A45-AAF6-66E4B8FD0ACD}" type="datetime1">
              <a:rPr lang="en-US" smtClean="0"/>
              <a:t>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7DFC1F-BF11-504D-8AC2-3E7EDE23BBFC}" type="slidenum">
              <a:rPr lang="en-US" smtClean="0"/>
              <a:t>‹#›</a:t>
            </a:fld>
            <a:endParaRPr lang="en-US"/>
          </a:p>
        </p:txBody>
      </p:sp>
    </p:spTree>
    <p:extLst>
      <p:ext uri="{BB962C8B-B14F-4D97-AF65-F5344CB8AC3E}">
        <p14:creationId xmlns:p14="http://schemas.microsoft.com/office/powerpoint/2010/main" val="2994336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604B82C-6E46-C345-8AAE-434AB635A660}" type="datetime1">
              <a:rPr lang="en-US" smtClean="0"/>
              <a:t>6/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C7DFC1F-BF11-504D-8AC2-3E7EDE23BBFC}" type="slidenum">
              <a:rPr lang="en-US" smtClean="0"/>
              <a:t>‹#›</a:t>
            </a:fld>
            <a:endParaRPr lang="en-US"/>
          </a:p>
        </p:txBody>
      </p:sp>
    </p:spTree>
    <p:extLst>
      <p:ext uri="{BB962C8B-B14F-4D97-AF65-F5344CB8AC3E}">
        <p14:creationId xmlns:p14="http://schemas.microsoft.com/office/powerpoint/2010/main" val="1725756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A7466E9E-6269-402B-8A0B-2E8E4E61C2DD}"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93397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858000" y="6356350"/>
            <a:ext cx="2133600" cy="365125"/>
          </a:xfrm>
          <a:prstGeom prst="rect">
            <a:avLst/>
          </a:prstGeom>
          <a:noFill/>
        </p:spPr>
        <p:txBody>
          <a:bodyPr/>
          <a:lstStyle>
            <a:lvl1pPr>
              <a:defRPr>
                <a:solidFill>
                  <a:srgbClr val="002060"/>
                </a:solidFill>
              </a:defRPr>
            </a:lvl1pPr>
          </a:lstStyle>
          <a:p>
            <a:fld id="{9B5E1708-F8A3-4564-8049-367EAB969392}" type="slidenum">
              <a:rPr lang="en-US" smtClean="0"/>
              <a:pPr/>
              <a:t>‹#›</a:t>
            </a:fld>
            <a:endParaRPr lang="en-US" dirty="0"/>
          </a:p>
        </p:txBody>
      </p:sp>
    </p:spTree>
    <p:extLst>
      <p:ext uri="{BB962C8B-B14F-4D97-AF65-F5344CB8AC3E}">
        <p14:creationId xmlns:p14="http://schemas.microsoft.com/office/powerpoint/2010/main" val="2129440447"/>
      </p:ext>
    </p:extLst>
  </p:cSld>
  <p:clrMapOvr>
    <a:masterClrMapping/>
  </p:clrMapOvr>
  <mc:AlternateContent xmlns:mc="http://schemas.openxmlformats.org/markup-compatibility/2006" xmlns:p14="http://schemas.microsoft.com/office/powerpoint/2010/main">
    <mc:Choice Requires="p14">
      <p:transition spd="slow" p14:dur="2000">
        <p14:glitter pattern="hexagon"/>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6858000" y="6356350"/>
            <a:ext cx="2133600" cy="365125"/>
          </a:xfrm>
          <a:prstGeom prst="rect">
            <a:avLst/>
          </a:prstGeom>
          <a:noFill/>
        </p:spPr>
        <p:txBody>
          <a:bodyPr/>
          <a:lstStyle>
            <a:lvl1pPr>
              <a:defRPr>
                <a:solidFill>
                  <a:srgbClr val="002060"/>
                </a:solidFill>
              </a:defRPr>
            </a:lvl1pPr>
          </a:lstStyle>
          <a:p>
            <a:fld id="{9B5E1708-F8A3-4564-8049-367EAB969392}" type="slidenum">
              <a:rPr lang="en-US" smtClean="0"/>
              <a:pPr/>
              <a:t>‹#›</a:t>
            </a:fld>
            <a:endParaRPr lang="en-US" dirty="0"/>
          </a:p>
        </p:txBody>
      </p:sp>
    </p:spTree>
    <p:extLst>
      <p:ext uri="{BB962C8B-B14F-4D97-AF65-F5344CB8AC3E}">
        <p14:creationId xmlns:p14="http://schemas.microsoft.com/office/powerpoint/2010/main" val="2327111377"/>
      </p:ext>
    </p:extLst>
  </p:cSld>
  <p:clrMapOvr>
    <a:masterClrMapping/>
  </p:clrMapOvr>
  <mc:AlternateContent xmlns:mc="http://schemas.openxmlformats.org/markup-compatibility/2006" xmlns:p14="http://schemas.microsoft.com/office/powerpoint/2010/main">
    <mc:Choice Requires="p14">
      <p:transition spd="slow" p14:dur="2000">
        <p14:glitter pattern="hexagon"/>
      </p:transition>
    </mc:Choice>
    <mc:Fallback xmlns="">
      <p:transition spd="slow">
        <p:fade/>
      </p:transition>
    </mc:Fallback>
  </mc:AlternateContent>
  <p:timing>
    <p:tnLst>
      <p:par>
        <p:cTn xmlns:p14="http://schemas.microsoft.com/office/powerpoint/2010/mai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C3F664D-88E6-204A-97C1-5A8C3B9E2B74}" type="datetime1">
              <a:rPr lang="en-US" smtClean="0"/>
              <a:t>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DFC1F-BF11-504D-8AC2-3E7EDE23BBFC}" type="slidenum">
              <a:rPr lang="en-US" smtClean="0"/>
              <a:t>‹#›</a:t>
            </a:fld>
            <a:endParaRPr lang="en-US"/>
          </a:p>
        </p:txBody>
      </p:sp>
      <p:sp>
        <p:nvSpPr>
          <p:cNvPr id="7" name="Rectangle 6"/>
          <p:cNvSpPr/>
          <p:nvPr userDrawn="1"/>
        </p:nvSpPr>
        <p:spPr>
          <a:xfrm>
            <a:off x="0" y="0"/>
            <a:ext cx="9144000" cy="940037"/>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0736" y="139701"/>
            <a:ext cx="926266" cy="705937"/>
          </a:xfrm>
          <a:prstGeom prst="rect">
            <a:avLst/>
          </a:prstGeom>
        </p:spPr>
      </p:pic>
    </p:spTree>
    <p:extLst>
      <p:ext uri="{BB962C8B-B14F-4D97-AF65-F5344CB8AC3E}">
        <p14:creationId xmlns:p14="http://schemas.microsoft.com/office/powerpoint/2010/main" val="6665143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0198833-349B-3244-9208-494EB2A007DB}" type="datetime1">
              <a:rPr lang="en-US" smtClean="0"/>
              <a:t>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DFC1F-BF11-504D-8AC2-3E7EDE23BBFC}" type="slidenum">
              <a:rPr lang="en-US" smtClean="0"/>
              <a:t>‹#›</a:t>
            </a:fld>
            <a:endParaRPr lang="en-US"/>
          </a:p>
        </p:txBody>
      </p:sp>
      <p:sp>
        <p:nvSpPr>
          <p:cNvPr id="7" name="Rectangle 6"/>
          <p:cNvSpPr/>
          <p:nvPr userDrawn="1"/>
        </p:nvSpPr>
        <p:spPr>
          <a:xfrm>
            <a:off x="0" y="0"/>
            <a:ext cx="9144000" cy="940037"/>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60736" y="139701"/>
            <a:ext cx="926266" cy="705937"/>
          </a:xfrm>
          <a:prstGeom prst="rect">
            <a:avLst/>
          </a:prstGeom>
        </p:spPr>
      </p:pic>
    </p:spTree>
    <p:extLst>
      <p:ext uri="{BB962C8B-B14F-4D97-AF65-F5344CB8AC3E}">
        <p14:creationId xmlns:p14="http://schemas.microsoft.com/office/powerpoint/2010/main" val="7340809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D2DE46E9-C174-D04B-AAFA-C0C1E809F911}" type="datetime1">
              <a:rPr lang="en-US" smtClean="0"/>
              <a:t>6/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C7DFC1F-BF11-504D-8AC2-3E7EDE23BBFC}" type="slidenum">
              <a:rPr lang="en-US" smtClean="0"/>
              <a:t>‹#›</a:t>
            </a:fld>
            <a:endParaRPr lang="en-US"/>
          </a:p>
        </p:txBody>
      </p:sp>
    </p:spTree>
    <p:extLst>
      <p:ext uri="{BB962C8B-B14F-4D97-AF65-F5344CB8AC3E}">
        <p14:creationId xmlns:p14="http://schemas.microsoft.com/office/powerpoint/2010/main" val="5421132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11A76C-8C24-014A-88CF-4643B15500F7}" type="datetime1">
              <a:rPr lang="en-US" smtClean="0"/>
              <a:t>6/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C7DFC1F-BF11-504D-8AC2-3E7EDE23BBFC}" type="slidenum">
              <a:rPr lang="en-US" smtClean="0"/>
              <a:t>‹#›</a:t>
            </a:fld>
            <a:endParaRPr lang="en-US"/>
          </a:p>
        </p:txBody>
      </p:sp>
      <p:sp>
        <p:nvSpPr>
          <p:cNvPr id="5" name="Rectangle 4"/>
          <p:cNvSpPr/>
          <p:nvPr userDrawn="1"/>
        </p:nvSpPr>
        <p:spPr>
          <a:xfrm>
            <a:off x="0" y="0"/>
            <a:ext cx="9144000" cy="940037"/>
          </a:xfrm>
          <a:prstGeom prst="rect">
            <a:avLst/>
          </a:prstGeom>
          <a:solidFill>
            <a:srgbClr val="00206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Tree>
    <p:extLst>
      <p:ext uri="{BB962C8B-B14F-4D97-AF65-F5344CB8AC3E}">
        <p14:creationId xmlns:p14="http://schemas.microsoft.com/office/powerpoint/2010/main" val="262985090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EBF7966-E6B6-1748-BA92-1AFD469FF628}" type="datetime1">
              <a:rPr lang="en-US" smtClean="0"/>
              <a:t>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7DFC1F-BF11-504D-8AC2-3E7EDE23BBFC}" type="slidenum">
              <a:rPr lang="en-US" smtClean="0"/>
              <a:t>‹#›</a:t>
            </a:fld>
            <a:endParaRPr lang="en-US"/>
          </a:p>
        </p:txBody>
      </p:sp>
    </p:spTree>
    <p:extLst>
      <p:ext uri="{BB962C8B-B14F-4D97-AF65-F5344CB8AC3E}">
        <p14:creationId xmlns:p14="http://schemas.microsoft.com/office/powerpoint/2010/main" val="42660358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1234439"/>
            <a:ext cx="5486400" cy="349313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13EA7E9-CC13-774F-AC49-64F8FFC69E7E}" type="datetime1">
              <a:rPr lang="en-US" smtClean="0"/>
              <a:t>6/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C7DFC1F-BF11-504D-8AC2-3E7EDE23BBFC}" type="slidenum">
              <a:rPr lang="en-US" smtClean="0"/>
              <a:t>‹#›</a:t>
            </a:fld>
            <a:endParaRPr lang="en-US"/>
          </a:p>
        </p:txBody>
      </p:sp>
    </p:spTree>
    <p:extLst>
      <p:ext uri="{BB962C8B-B14F-4D97-AF65-F5344CB8AC3E}">
        <p14:creationId xmlns:p14="http://schemas.microsoft.com/office/powerpoint/2010/main" val="2245096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E39D77F-A58F-514C-8688-68A9D1CE9E11}" type="datetime1">
              <a:rPr lang="en-US" smtClean="0"/>
              <a:t>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DFC1F-BF11-504D-8AC2-3E7EDE23BBFC}" type="slidenum">
              <a:rPr lang="en-US" smtClean="0"/>
              <a:t>‹#›</a:t>
            </a:fld>
            <a:endParaRPr lang="en-US"/>
          </a:p>
        </p:txBody>
      </p:sp>
    </p:spTree>
    <p:extLst>
      <p:ext uri="{BB962C8B-B14F-4D97-AF65-F5344CB8AC3E}">
        <p14:creationId xmlns:p14="http://schemas.microsoft.com/office/powerpoint/2010/main" val="4197828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513767D2-A338-2442-BA8B-DE8F985EB005}" type="datetime1">
              <a:rPr lang="en-US" smtClean="0"/>
              <a:t>6/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C7DFC1F-BF11-504D-8AC2-3E7EDE23BBFC}" type="slidenum">
              <a:rPr lang="en-US" smtClean="0"/>
              <a:t>‹#›</a:t>
            </a:fld>
            <a:endParaRPr lang="en-US"/>
          </a:p>
        </p:txBody>
      </p:sp>
    </p:spTree>
    <p:extLst>
      <p:ext uri="{BB962C8B-B14F-4D97-AF65-F5344CB8AC3E}">
        <p14:creationId xmlns:p14="http://schemas.microsoft.com/office/powerpoint/2010/main" val="743372112"/>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21" Type="http://schemas.openxmlformats.org/officeDocument/2006/relationships/image" Target="../media/image1.gif"/><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403136"/>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DB1050C-93B2-BC4F-A5B3-D6CA64B00097}" type="datetime1">
              <a:rPr lang="en-US" smtClean="0"/>
              <a:t>6/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7DFC1F-BF11-504D-8AC2-3E7EDE23BBFC}" type="slidenum">
              <a:rPr lang="en-US" smtClean="0"/>
              <a:t>‹#›</a:t>
            </a:fld>
            <a:endParaRPr lang="en-US"/>
          </a:p>
        </p:txBody>
      </p:sp>
      <p:sp>
        <p:nvSpPr>
          <p:cNvPr id="9" name="Rectangle 8"/>
          <p:cNvSpPr/>
          <p:nvPr userDrawn="1"/>
        </p:nvSpPr>
        <p:spPr>
          <a:xfrm>
            <a:off x="0" y="0"/>
            <a:ext cx="9144000" cy="940037"/>
          </a:xfrm>
          <a:prstGeom prst="rect">
            <a:avLst/>
          </a:prstGeom>
          <a:solidFill>
            <a:schemeClr val="tx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10" name="Picture 9"/>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60736" y="139701"/>
            <a:ext cx="926266" cy="705937"/>
          </a:xfrm>
          <a:prstGeom prst="rect">
            <a:avLst/>
          </a:prstGeom>
        </p:spPr>
      </p:pic>
    </p:spTree>
    <p:extLst>
      <p:ext uri="{BB962C8B-B14F-4D97-AF65-F5344CB8AC3E}">
        <p14:creationId xmlns:p14="http://schemas.microsoft.com/office/powerpoint/2010/main" val="23531363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9" r:id="rId12"/>
    <p:sldLayoutId id="2147483690" r:id="rId13"/>
    <p:sldLayoutId id="2147483650" r:id="rId14"/>
    <p:sldLayoutId id="2147483652" r:id="rId15"/>
    <p:sldLayoutId id="2147483653" r:id="rId16"/>
    <p:sldLayoutId id="2147483700" r:id="rId17"/>
    <p:sldLayoutId id="2147483701" r:id="rId18"/>
    <p:sldLayoutId id="2147483702" r:id="rId19"/>
  </p:sldLayoutIdLst>
  <p:hf hd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b="0" i="0" kern="1200">
          <a:solidFill>
            <a:schemeClr val="tx2">
              <a:lumMod val="75000"/>
            </a:schemeClr>
          </a:solidFill>
          <a:latin typeface="Helvetica Neue Medium"/>
          <a:ea typeface="+mn-ea"/>
          <a:cs typeface="+mn-cs"/>
        </a:defRPr>
      </a:lvl1pPr>
      <a:lvl2pPr marL="742950" indent="-285750" algn="l" defTabSz="457200" rtl="0" eaLnBrk="1" latinLnBrk="0" hangingPunct="1">
        <a:spcBef>
          <a:spcPct val="20000"/>
        </a:spcBef>
        <a:buFont typeface="Arial"/>
        <a:buChar char="–"/>
        <a:defRPr sz="2800" kern="1200">
          <a:solidFill>
            <a:schemeClr val="bg1">
              <a:lumMod val="50000"/>
            </a:schemeClr>
          </a:solidFill>
          <a:latin typeface="Helvetica Neue"/>
          <a:ea typeface="+mn-ea"/>
          <a:cs typeface="+mn-cs"/>
        </a:defRPr>
      </a:lvl2pPr>
      <a:lvl3pPr marL="1143000" indent="-228600" algn="l" defTabSz="457200" rtl="0" eaLnBrk="1" latinLnBrk="0" hangingPunct="1">
        <a:spcBef>
          <a:spcPct val="20000"/>
        </a:spcBef>
        <a:buFont typeface="Arial"/>
        <a:buChar char="•"/>
        <a:defRPr sz="2400" kern="1200">
          <a:solidFill>
            <a:schemeClr val="bg1">
              <a:lumMod val="50000"/>
            </a:schemeClr>
          </a:solidFill>
          <a:latin typeface="Helvetica Neue"/>
          <a:ea typeface="+mn-ea"/>
          <a:cs typeface="+mn-cs"/>
        </a:defRPr>
      </a:lvl3pPr>
      <a:lvl4pPr marL="1600200" indent="-228600" algn="l" defTabSz="457200" rtl="0" eaLnBrk="1" latinLnBrk="0" hangingPunct="1">
        <a:spcBef>
          <a:spcPct val="20000"/>
        </a:spcBef>
        <a:buFont typeface="Arial"/>
        <a:buChar char="–"/>
        <a:defRPr sz="2000" kern="1200">
          <a:solidFill>
            <a:schemeClr val="bg1">
              <a:lumMod val="50000"/>
            </a:schemeClr>
          </a:solidFill>
          <a:latin typeface="Helvetica Neue"/>
          <a:ea typeface="+mn-ea"/>
          <a:cs typeface="+mn-cs"/>
        </a:defRPr>
      </a:lvl4pPr>
      <a:lvl5pPr marL="2057400" indent="-228600" algn="l" defTabSz="457200" rtl="0" eaLnBrk="1" latinLnBrk="0" hangingPunct="1">
        <a:spcBef>
          <a:spcPct val="20000"/>
        </a:spcBef>
        <a:buFont typeface="Arial"/>
        <a:buChar char="»"/>
        <a:defRPr sz="2000" kern="1200">
          <a:solidFill>
            <a:schemeClr val="bg1">
              <a:lumMod val="50000"/>
            </a:schemeClr>
          </a:solidFill>
          <a:latin typeface="Helvetica Neue"/>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4" Type="http://schemas.openxmlformats.org/officeDocument/2006/relationships/image" Target="../media/image3.png"/><Relationship Id="rId1" Type="http://schemas.openxmlformats.org/officeDocument/2006/relationships/slideLayout" Target="../slideLayouts/slideLayout1.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41.png"/><Relationship Id="rId4" Type="http://schemas.openxmlformats.org/officeDocument/2006/relationships/image" Target="../media/image42.png"/><Relationship Id="rId5" Type="http://schemas.openxmlformats.org/officeDocument/2006/relationships/image" Target="../media/image43.png"/><Relationship Id="rId6" Type="http://schemas.openxmlformats.org/officeDocument/2006/relationships/image" Target="../media/image44.jpg"/><Relationship Id="rId7" Type="http://schemas.openxmlformats.org/officeDocument/2006/relationships/image" Target="../media/image45.jpeg"/><Relationship Id="rId8" Type="http://schemas.openxmlformats.org/officeDocument/2006/relationships/image" Target="../media/image46.jpeg"/><Relationship Id="rId9" Type="http://schemas.openxmlformats.org/officeDocument/2006/relationships/image" Target="../media/image47.jpeg"/><Relationship Id="rId10" Type="http://schemas.openxmlformats.org/officeDocument/2006/relationships/image" Target="../media/image48.jpeg"/><Relationship Id="rId11" Type="http://schemas.openxmlformats.org/officeDocument/2006/relationships/image" Target="../media/image49.jpeg"/><Relationship Id="rId1" Type="http://schemas.openxmlformats.org/officeDocument/2006/relationships/slideLayout" Target="../slideLayouts/slideLayout18.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1" Type="http://schemas.openxmlformats.org/officeDocument/2006/relationships/image" Target="../media/image59.png"/><Relationship Id="rId12" Type="http://schemas.openxmlformats.org/officeDocument/2006/relationships/image" Target="../media/image60.jpeg"/><Relationship Id="rId13" Type="http://schemas.openxmlformats.org/officeDocument/2006/relationships/image" Target="../media/image61.png"/><Relationship Id="rId14" Type="http://schemas.openxmlformats.org/officeDocument/2006/relationships/image" Target="../media/image48.jpeg"/><Relationship Id="rId1" Type="http://schemas.openxmlformats.org/officeDocument/2006/relationships/slideLayout" Target="../slideLayouts/slideLayout10.xml"/><Relationship Id="rId2" Type="http://schemas.openxmlformats.org/officeDocument/2006/relationships/image" Target="../media/image50.jpeg"/><Relationship Id="rId3" Type="http://schemas.openxmlformats.org/officeDocument/2006/relationships/image" Target="../media/image51.png"/><Relationship Id="rId4" Type="http://schemas.openxmlformats.org/officeDocument/2006/relationships/image" Target="../media/image52.png"/><Relationship Id="rId5" Type="http://schemas.openxmlformats.org/officeDocument/2006/relationships/image" Target="../media/image53.png"/><Relationship Id="rId6" Type="http://schemas.openxmlformats.org/officeDocument/2006/relationships/image" Target="../media/image54.png"/><Relationship Id="rId7" Type="http://schemas.openxmlformats.org/officeDocument/2006/relationships/image" Target="../media/image55.jpeg"/><Relationship Id="rId8" Type="http://schemas.openxmlformats.org/officeDocument/2006/relationships/image" Target="../media/image56.png"/><Relationship Id="rId9" Type="http://schemas.openxmlformats.org/officeDocument/2006/relationships/image" Target="../media/image57.png"/><Relationship Id="rId10" Type="http://schemas.openxmlformats.org/officeDocument/2006/relationships/image" Target="../media/image58.png"/></Relationships>
</file>

<file path=ppt/slides/_rels/slide12.xml.rels><?xml version="1.0" encoding="UTF-8" standalone="yes"?>
<Relationships xmlns="http://schemas.openxmlformats.org/package/2006/relationships"><Relationship Id="rId3" Type="http://schemas.openxmlformats.org/officeDocument/2006/relationships/hyperlink" Target="https://www.whitehouse.gov/the-press-office/2015/06/12/fact-sheet-new-commitments-support-president%E2%80%99s-nation-makers-initiative" TargetMode="External"/><Relationship Id="rId4" Type="http://schemas.openxmlformats.org/officeDocument/2006/relationships/image" Target="../media/image62.png"/><Relationship Id="rId1" Type="http://schemas.openxmlformats.org/officeDocument/2006/relationships/slideLayout" Target="../slideLayouts/slideLayout10.xml"/><Relationship Id="rId2" Type="http://schemas.openxmlformats.org/officeDocument/2006/relationships/notesSlide" Target="../notesSlides/notesSlide6.xml"/></Relationships>
</file>

<file path=ppt/slides/_rels/slide13.xml.rels><?xml version="1.0" encoding="UTF-8" standalone="yes"?>
<Relationships xmlns="http://schemas.openxmlformats.org/package/2006/relationships"><Relationship Id="rId3" Type="http://schemas.openxmlformats.org/officeDocument/2006/relationships/image" Target="../media/image63.jpeg"/><Relationship Id="rId4" Type="http://schemas.openxmlformats.org/officeDocument/2006/relationships/image" Target="../media/image64.jpeg"/><Relationship Id="rId5" Type="http://schemas.openxmlformats.org/officeDocument/2006/relationships/image" Target="../media/image65.jpg"/><Relationship Id="rId6" Type="http://schemas.openxmlformats.org/officeDocument/2006/relationships/image" Target="../media/image66.jpeg"/><Relationship Id="rId1" Type="http://schemas.openxmlformats.org/officeDocument/2006/relationships/slideLayout" Target="../slideLayouts/slideLayout7.xml"/><Relationship Id="rId2"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11" Type="http://schemas.openxmlformats.org/officeDocument/2006/relationships/image" Target="../media/image76.png"/><Relationship Id="rId12" Type="http://schemas.openxmlformats.org/officeDocument/2006/relationships/image" Target="../media/image77.png"/><Relationship Id="rId1" Type="http://schemas.openxmlformats.org/officeDocument/2006/relationships/slideLayout" Target="../slideLayouts/slideLayout5.xml"/><Relationship Id="rId2" Type="http://schemas.openxmlformats.org/officeDocument/2006/relationships/image" Target="../media/image67.jpeg"/><Relationship Id="rId3" Type="http://schemas.openxmlformats.org/officeDocument/2006/relationships/image" Target="../media/image68.jpeg"/><Relationship Id="rId4" Type="http://schemas.openxmlformats.org/officeDocument/2006/relationships/image" Target="../media/image69.png"/><Relationship Id="rId5" Type="http://schemas.openxmlformats.org/officeDocument/2006/relationships/image" Target="../media/image70.jpeg"/><Relationship Id="rId6" Type="http://schemas.openxmlformats.org/officeDocument/2006/relationships/image" Target="../media/image71.jpeg"/><Relationship Id="rId7" Type="http://schemas.openxmlformats.org/officeDocument/2006/relationships/image" Target="../media/image72.jpeg"/><Relationship Id="rId8" Type="http://schemas.openxmlformats.org/officeDocument/2006/relationships/image" Target="../media/image73.jpeg"/><Relationship Id="rId9" Type="http://schemas.openxmlformats.org/officeDocument/2006/relationships/image" Target="../media/image74.png"/><Relationship Id="rId10" Type="http://schemas.openxmlformats.org/officeDocument/2006/relationships/image" Target="../media/image75.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 Id="rId2"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image" Target="../media/image79.png"/><Relationship Id="rId4" Type="http://schemas.openxmlformats.org/officeDocument/2006/relationships/image" Target="../media/image80.png"/><Relationship Id="rId1" Type="http://schemas.openxmlformats.org/officeDocument/2006/relationships/slideLayout" Target="../slideLayouts/slideLayout10.xml"/><Relationship Id="rId2" Type="http://schemas.openxmlformats.org/officeDocument/2006/relationships/image" Target="../media/image78.png"/></Relationships>
</file>

<file path=ppt/slides/_rels/slide17.xml.rels><?xml version="1.0" encoding="UTF-8" standalone="yes"?>
<Relationships xmlns="http://schemas.openxmlformats.org/package/2006/relationships"><Relationship Id="rId9" Type="http://schemas.openxmlformats.org/officeDocument/2006/relationships/image" Target="../media/image88.png"/><Relationship Id="rId20" Type="http://schemas.openxmlformats.org/officeDocument/2006/relationships/image" Target="../media/image99.jpeg"/><Relationship Id="rId21" Type="http://schemas.openxmlformats.org/officeDocument/2006/relationships/image" Target="../media/image100.png"/><Relationship Id="rId22" Type="http://schemas.openxmlformats.org/officeDocument/2006/relationships/image" Target="../media/image101.png"/><Relationship Id="rId23" Type="http://schemas.openxmlformats.org/officeDocument/2006/relationships/image" Target="../media/image102.png"/><Relationship Id="rId24" Type="http://schemas.openxmlformats.org/officeDocument/2006/relationships/image" Target="../media/image103.png"/><Relationship Id="rId25" Type="http://schemas.openxmlformats.org/officeDocument/2006/relationships/image" Target="../media/image104.png"/><Relationship Id="rId26" Type="http://schemas.openxmlformats.org/officeDocument/2006/relationships/image" Target="../media/image105.png"/><Relationship Id="rId27" Type="http://schemas.openxmlformats.org/officeDocument/2006/relationships/image" Target="../media/image106.png"/><Relationship Id="rId28" Type="http://schemas.openxmlformats.org/officeDocument/2006/relationships/image" Target="../media/image107.jpeg"/><Relationship Id="rId29" Type="http://schemas.openxmlformats.org/officeDocument/2006/relationships/image" Target="../media/image108.gif"/><Relationship Id="rId10" Type="http://schemas.openxmlformats.org/officeDocument/2006/relationships/image" Target="../media/image89.png"/><Relationship Id="rId11" Type="http://schemas.openxmlformats.org/officeDocument/2006/relationships/image" Target="../media/image90.png"/><Relationship Id="rId12" Type="http://schemas.openxmlformats.org/officeDocument/2006/relationships/image" Target="../media/image91.png"/><Relationship Id="rId13" Type="http://schemas.openxmlformats.org/officeDocument/2006/relationships/image" Target="../media/image92.png"/><Relationship Id="rId14" Type="http://schemas.openxmlformats.org/officeDocument/2006/relationships/image" Target="../media/image93.png"/><Relationship Id="rId15" Type="http://schemas.openxmlformats.org/officeDocument/2006/relationships/image" Target="../media/image94.png"/><Relationship Id="rId16" Type="http://schemas.openxmlformats.org/officeDocument/2006/relationships/image" Target="../media/image95.png"/><Relationship Id="rId17" Type="http://schemas.openxmlformats.org/officeDocument/2006/relationships/image" Target="../media/image96.png"/><Relationship Id="rId18" Type="http://schemas.openxmlformats.org/officeDocument/2006/relationships/image" Target="../media/image97.png"/><Relationship Id="rId19" Type="http://schemas.openxmlformats.org/officeDocument/2006/relationships/image" Target="../media/image98.png"/><Relationship Id="rId1" Type="http://schemas.openxmlformats.org/officeDocument/2006/relationships/slideLayout" Target="../slideLayouts/slideLayout10.xml"/><Relationship Id="rId2" Type="http://schemas.openxmlformats.org/officeDocument/2006/relationships/image" Target="../media/image81.png"/><Relationship Id="rId3" Type="http://schemas.openxmlformats.org/officeDocument/2006/relationships/image" Target="../media/image82.png"/><Relationship Id="rId4" Type="http://schemas.openxmlformats.org/officeDocument/2006/relationships/image" Target="../media/image83.png"/><Relationship Id="rId5" Type="http://schemas.openxmlformats.org/officeDocument/2006/relationships/image" Target="../media/image84.png"/><Relationship Id="rId6" Type="http://schemas.openxmlformats.org/officeDocument/2006/relationships/image" Target="../media/image85.png"/><Relationship Id="rId7" Type="http://schemas.openxmlformats.org/officeDocument/2006/relationships/image" Target="../media/image86.png"/><Relationship Id="rId8" Type="http://schemas.openxmlformats.org/officeDocument/2006/relationships/image" Target="../media/image87.jpeg"/></Relationships>
</file>

<file path=ppt/slides/_rels/slide18.xml.rels><?xml version="1.0" encoding="UTF-8" standalone="yes"?>
<Relationships xmlns="http://schemas.openxmlformats.org/package/2006/relationships"><Relationship Id="rId11" Type="http://schemas.openxmlformats.org/officeDocument/2006/relationships/diagramColors" Target="../diagrams/colors2.xml"/><Relationship Id="rId12" Type="http://schemas.microsoft.com/office/2007/relationships/diagramDrawing" Target="../diagrams/drawing2.xml"/><Relationship Id="rId1" Type="http://schemas.openxmlformats.org/officeDocument/2006/relationships/vmlDrawing" Target="../drawings/vmlDrawing1.vml"/><Relationship Id="rId2" Type="http://schemas.openxmlformats.org/officeDocument/2006/relationships/tags" Target="../tags/tag1.xml"/><Relationship Id="rId3" Type="http://schemas.openxmlformats.org/officeDocument/2006/relationships/tags" Target="../tags/tag2.xml"/><Relationship Id="rId4" Type="http://schemas.openxmlformats.org/officeDocument/2006/relationships/slideLayout" Target="../slideLayouts/slideLayout10.xml"/><Relationship Id="rId5" Type="http://schemas.openxmlformats.org/officeDocument/2006/relationships/notesSlide" Target="../notesSlides/notesSlide9.xml"/><Relationship Id="rId6" Type="http://schemas.openxmlformats.org/officeDocument/2006/relationships/oleObject" Target="../embeddings/oleObject1.bin"/><Relationship Id="rId7" Type="http://schemas.openxmlformats.org/officeDocument/2006/relationships/image" Target="../media/image109.emf"/><Relationship Id="rId8" Type="http://schemas.openxmlformats.org/officeDocument/2006/relationships/diagramData" Target="../diagrams/data2.xml"/><Relationship Id="rId9" Type="http://schemas.openxmlformats.org/officeDocument/2006/relationships/diagramLayout" Target="../diagrams/layout2.xml"/><Relationship Id="rId10"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7.xml"/><Relationship Id="rId4" Type="http://schemas.openxmlformats.org/officeDocument/2006/relationships/notesSlide" Target="../notesSlides/notesSlide10.xml"/><Relationship Id="rId5" Type="http://schemas.openxmlformats.org/officeDocument/2006/relationships/oleObject" Target="../embeddings/oleObject2.bin"/><Relationship Id="rId6" Type="http://schemas.openxmlformats.org/officeDocument/2006/relationships/image" Target="../media/image112.emf"/><Relationship Id="rId1" Type="http://schemas.openxmlformats.org/officeDocument/2006/relationships/vmlDrawing" Target="../drawings/vmlDrawing2.vml"/><Relationship Id="rId2" Type="http://schemas.openxmlformats.org/officeDocument/2006/relationships/tags" Target="../tags/tag3.xml"/></Relationships>
</file>

<file path=ppt/slides/_rels/slide2.xml.rels><?xml version="1.0" encoding="UTF-8" standalone="yes"?>
<Relationships xmlns="http://schemas.openxmlformats.org/package/2006/relationships"><Relationship Id="rId11" Type="http://schemas.openxmlformats.org/officeDocument/2006/relationships/image" Target="../media/image11.png"/><Relationship Id="rId12" Type="http://schemas.openxmlformats.org/officeDocument/2006/relationships/image" Target="../media/image12.jpeg"/><Relationship Id="rId13" Type="http://schemas.openxmlformats.org/officeDocument/2006/relationships/image" Target="../media/image13.png"/><Relationship Id="rId14" Type="http://schemas.openxmlformats.org/officeDocument/2006/relationships/image" Target="../media/image14.png"/><Relationship Id="rId15" Type="http://schemas.openxmlformats.org/officeDocument/2006/relationships/image" Target="../media/image15.gif"/><Relationship Id="rId16" Type="http://schemas.openxmlformats.org/officeDocument/2006/relationships/image" Target="../media/image16.jpeg"/><Relationship Id="rId1" Type="http://schemas.openxmlformats.org/officeDocument/2006/relationships/slideLayout" Target="../slideLayouts/slideLayout5.xml"/><Relationship Id="rId2" Type="http://schemas.openxmlformats.org/officeDocument/2006/relationships/notesSlide" Target="../notesSlides/notesSlide2.xml"/><Relationship Id="rId3" Type="http://schemas.openxmlformats.org/officeDocument/2006/relationships/image" Target="../media/image4.png"/><Relationship Id="rId4" Type="http://schemas.openxmlformats.org/officeDocument/2006/relationships/image" Target="../media/image5.jpeg"/><Relationship Id="rId5" Type="http://schemas.openxmlformats.org/officeDocument/2006/relationships/image" Target="../media/image6.png"/><Relationship Id="rId6" Type="http://schemas.openxmlformats.org/officeDocument/2006/relationships/image" Target="../media/image7.png"/><Relationship Id="rId7" Type="http://schemas.openxmlformats.org/officeDocument/2006/relationships/image" Target="../media/image8.png"/><Relationship Id="rId8" Type="http://schemas.openxmlformats.org/officeDocument/2006/relationships/image" Target="../media/image1.gif"/><Relationship Id="rId9" Type="http://schemas.openxmlformats.org/officeDocument/2006/relationships/image" Target="../media/image9.jpeg"/><Relationship Id="rId10" Type="http://schemas.openxmlformats.org/officeDocument/2006/relationships/image" Target="../media/image10.jpeg"/></Relationships>
</file>

<file path=ppt/slides/_rels/slide3.xml.rels><?xml version="1.0" encoding="UTF-8" standalone="yes"?>
<Relationships xmlns="http://schemas.openxmlformats.org/package/2006/relationships"><Relationship Id="rId3" Type="http://schemas.openxmlformats.org/officeDocument/2006/relationships/image" Target="../media/image18.jpeg"/><Relationship Id="rId4" Type="http://schemas.openxmlformats.org/officeDocument/2006/relationships/image" Target="../media/image19.jpeg"/><Relationship Id="rId1" Type="http://schemas.openxmlformats.org/officeDocument/2006/relationships/slideLayout" Target="../slideLayouts/slideLayout11.xml"/><Relationship Id="rId2" Type="http://schemas.openxmlformats.org/officeDocument/2006/relationships/image" Target="../media/image17.jpeg"/></Relationships>
</file>

<file path=ppt/slides/_rels/slide4.xml.rels><?xml version="1.0" encoding="UTF-8" standalone="yes"?>
<Relationships xmlns="http://schemas.openxmlformats.org/package/2006/relationships"><Relationship Id="rId3" Type="http://schemas.openxmlformats.org/officeDocument/2006/relationships/image" Target="../media/image21.jpeg"/><Relationship Id="rId4" Type="http://schemas.openxmlformats.org/officeDocument/2006/relationships/image" Target="../media/image22.png"/><Relationship Id="rId1" Type="http://schemas.openxmlformats.org/officeDocument/2006/relationships/slideLayout" Target="../slideLayouts/slideLayout11.xml"/><Relationship Id="rId2" Type="http://schemas.openxmlformats.org/officeDocument/2006/relationships/image" Target="../media/image20.jpeg"/></Relationships>
</file>

<file path=ppt/slides/_rels/slide5.xml.rels><?xml version="1.0" encoding="UTF-8" standalone="yes"?>
<Relationships xmlns="http://schemas.openxmlformats.org/package/2006/relationships"><Relationship Id="rId3" Type="http://schemas.microsoft.com/office/2007/relationships/hdphoto" Target="../media/hdphoto1.wdp"/><Relationship Id="rId4" Type="http://schemas.openxmlformats.org/officeDocument/2006/relationships/image" Target="../media/image24.png"/><Relationship Id="rId5" Type="http://schemas.openxmlformats.org/officeDocument/2006/relationships/image" Target="../media/image25.png"/><Relationship Id="rId6" Type="http://schemas.openxmlformats.org/officeDocument/2006/relationships/image" Target="../media/image26.png"/><Relationship Id="rId7" Type="http://schemas.openxmlformats.org/officeDocument/2006/relationships/image" Target="../media/image27.png"/><Relationship Id="rId8" Type="http://schemas.openxmlformats.org/officeDocument/2006/relationships/image" Target="../media/image28.png"/><Relationship Id="rId9" Type="http://schemas.openxmlformats.org/officeDocument/2006/relationships/chart" Target="../charts/chart1.xml"/><Relationship Id="rId10" Type="http://schemas.openxmlformats.org/officeDocument/2006/relationships/image" Target="../media/image29.png"/><Relationship Id="rId1" Type="http://schemas.openxmlformats.org/officeDocument/2006/relationships/slideLayout" Target="../slideLayouts/slideLayout12.xml"/><Relationship Id="rId2" Type="http://schemas.openxmlformats.org/officeDocument/2006/relationships/image" Target="../media/image23.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 Id="rId2" Type="http://schemas.openxmlformats.org/officeDocument/2006/relationships/image" Target="../media/image30.jpeg"/><Relationship Id="rId3"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4" Type="http://schemas.openxmlformats.org/officeDocument/2006/relationships/diagramQuickStyle" Target="../diagrams/quickStyle1.xml"/><Relationship Id="rId5" Type="http://schemas.openxmlformats.org/officeDocument/2006/relationships/diagramColors" Target="../diagrams/colors1.xml"/><Relationship Id="rId6" Type="http://schemas.microsoft.com/office/2007/relationships/diagramDrawing" Target="../diagrams/drawing1.xml"/><Relationship Id="rId1" Type="http://schemas.openxmlformats.org/officeDocument/2006/relationships/slideLayout" Target="../slideLayouts/slideLayout19.xml"/><Relationship Id="rId2" Type="http://schemas.openxmlformats.org/officeDocument/2006/relationships/diagramData" Target="../diagrams/data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3.xml"/><Relationship Id="rId3" Type="http://schemas.openxmlformats.org/officeDocument/2006/relationships/image" Target="../media/image4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 Id="rId2"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8"/>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0"/>
            <a:ext cx="9144000" cy="6851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5" name="Picture 8" descr="NASA insignia.png"/>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48638" y="182563"/>
            <a:ext cx="803275" cy="661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Connector 10"/>
          <p:cNvCxnSpPr/>
          <p:nvPr/>
        </p:nvCxnSpPr>
        <p:spPr>
          <a:xfrm rot="16200000" flipH="1">
            <a:off x="7739063" y="538163"/>
            <a:ext cx="560387" cy="1587"/>
          </a:xfrm>
          <a:prstGeom prst="line">
            <a:avLst/>
          </a:prstGeom>
          <a:ln w="12700" cap="flat" cmpd="sng" algn="ctr">
            <a:solidFill>
              <a:schemeClr val="bg1"/>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3317" name="TextBox 11"/>
          <p:cNvSpPr txBox="1">
            <a:spLocks noChangeArrowheads="1"/>
          </p:cNvSpPr>
          <p:nvPr/>
        </p:nvSpPr>
        <p:spPr bwMode="auto">
          <a:xfrm>
            <a:off x="6469063" y="338138"/>
            <a:ext cx="14732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itchFamily="34" charset="0"/>
                <a:ea typeface="ＭＳ Ｐゴシック" pitchFamily="34" charset="-128"/>
              </a:defRPr>
            </a:lvl1pPr>
            <a:lvl2pPr marL="37931725" indent="-37474525" eaLnBrk="0" hangingPunct="0">
              <a:defRPr sz="2400">
                <a:solidFill>
                  <a:schemeClr val="tx1"/>
                </a:solidFill>
                <a:latin typeface="Arial" pitchFamily="34" charset="0"/>
                <a:ea typeface="ＭＳ Ｐゴシック" pitchFamily="34" charset="-128"/>
              </a:defRPr>
            </a:lvl2pPr>
            <a:lvl3pPr eaLnBrk="0" hangingPunct="0">
              <a:defRPr sz="2400">
                <a:solidFill>
                  <a:schemeClr val="tx1"/>
                </a:solidFill>
                <a:latin typeface="Arial" pitchFamily="34" charset="0"/>
                <a:ea typeface="ＭＳ Ｐゴシック" pitchFamily="34" charset="-128"/>
              </a:defRPr>
            </a:lvl3pPr>
            <a:lvl4pPr eaLnBrk="0" hangingPunct="0">
              <a:defRPr sz="2400">
                <a:solidFill>
                  <a:schemeClr val="tx1"/>
                </a:solidFill>
                <a:latin typeface="Arial" pitchFamily="34" charset="0"/>
                <a:ea typeface="ＭＳ Ｐゴシック" pitchFamily="34" charset="-128"/>
              </a:defRPr>
            </a:lvl4pPr>
            <a:lvl5pPr eaLnBrk="0" hangingPunct="0">
              <a:defRPr sz="2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r" defTabSz="457200" eaLnBrk="1" fontAlgn="base" hangingPunct="1">
              <a:spcBef>
                <a:spcPct val="0"/>
              </a:spcBef>
              <a:spcAft>
                <a:spcPct val="0"/>
              </a:spcAft>
            </a:pPr>
            <a:r>
              <a:rPr lang="en-US" sz="900" dirty="0" smtClean="0">
                <a:solidFill>
                  <a:prstClr val="white"/>
                </a:solidFill>
                <a:cs typeface="Arial" pitchFamily="34" charset="0"/>
              </a:rPr>
              <a:t>National Aeronautics and</a:t>
            </a:r>
          </a:p>
          <a:p>
            <a:pPr algn="r" defTabSz="457200" eaLnBrk="1" fontAlgn="base" hangingPunct="1">
              <a:spcBef>
                <a:spcPct val="0"/>
              </a:spcBef>
              <a:spcAft>
                <a:spcPct val="0"/>
              </a:spcAft>
            </a:pPr>
            <a:r>
              <a:rPr lang="en-US" sz="900" dirty="0" smtClean="0">
                <a:solidFill>
                  <a:prstClr val="white"/>
                </a:solidFill>
                <a:cs typeface="Arial" pitchFamily="34" charset="0"/>
              </a:rPr>
              <a:t>Space Administration</a:t>
            </a:r>
          </a:p>
        </p:txBody>
      </p:sp>
      <p:sp>
        <p:nvSpPr>
          <p:cNvPr id="13318" name="TextBox 12"/>
          <p:cNvSpPr txBox="1">
            <a:spLocks noChangeArrowheads="1"/>
          </p:cNvSpPr>
          <p:nvPr/>
        </p:nvSpPr>
        <p:spPr bwMode="auto">
          <a:xfrm>
            <a:off x="4724400" y="1981200"/>
            <a:ext cx="4377377"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itchFamily="34" charset="0"/>
                <a:ea typeface="ＭＳ Ｐゴシック" pitchFamily="34" charset="-128"/>
              </a:defRPr>
            </a:lvl1pPr>
            <a:lvl2pPr marL="37931725" indent="-37474525" eaLnBrk="0" hangingPunct="0">
              <a:defRPr sz="2400">
                <a:solidFill>
                  <a:schemeClr val="tx1"/>
                </a:solidFill>
                <a:latin typeface="Arial" pitchFamily="34" charset="0"/>
                <a:ea typeface="ＭＳ Ｐゴシック" pitchFamily="34" charset="-128"/>
              </a:defRPr>
            </a:lvl2pPr>
            <a:lvl3pPr eaLnBrk="0" hangingPunct="0">
              <a:defRPr sz="2400">
                <a:solidFill>
                  <a:schemeClr val="tx1"/>
                </a:solidFill>
                <a:latin typeface="Arial" pitchFamily="34" charset="0"/>
                <a:ea typeface="ＭＳ Ｐゴシック" pitchFamily="34" charset="-128"/>
              </a:defRPr>
            </a:lvl3pPr>
            <a:lvl4pPr eaLnBrk="0" hangingPunct="0">
              <a:defRPr sz="2400">
                <a:solidFill>
                  <a:schemeClr val="tx1"/>
                </a:solidFill>
                <a:latin typeface="Arial" pitchFamily="34" charset="0"/>
                <a:ea typeface="ＭＳ Ｐゴシック" pitchFamily="34" charset="-128"/>
              </a:defRPr>
            </a:lvl4pPr>
            <a:lvl5pPr eaLnBrk="0" hangingPunct="0">
              <a:defRPr sz="2400">
                <a:solidFill>
                  <a:schemeClr val="tx1"/>
                </a:solidFill>
                <a:latin typeface="Arial" pitchFamily="34" charset="0"/>
                <a:ea typeface="ＭＳ Ｐゴシック" pitchFamily="34" charset="-128"/>
              </a:defRPr>
            </a:lvl5pPr>
            <a:lvl6pPr marL="4572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9144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1371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18288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fontAlgn="base" hangingPunct="1">
              <a:spcBef>
                <a:spcPct val="0"/>
              </a:spcBef>
              <a:spcAft>
                <a:spcPct val="0"/>
              </a:spcAft>
            </a:pPr>
            <a:r>
              <a:rPr lang="en-US" altLang="en-US" sz="2000" b="1" i="1" dirty="0">
                <a:solidFill>
                  <a:schemeClr val="bg1"/>
                </a:solidFill>
              </a:rPr>
              <a:t>Building a </a:t>
            </a:r>
            <a:r>
              <a:rPr lang="en-US" altLang="en-US" sz="2000" b="1" i="1" dirty="0" smtClean="0">
                <a:solidFill>
                  <a:schemeClr val="bg1"/>
                </a:solidFill>
              </a:rPr>
              <a:t>New Partnership</a:t>
            </a:r>
            <a:r>
              <a:rPr lang="en-US" altLang="en-US" sz="2000" b="1" i="1" dirty="0">
                <a:solidFill>
                  <a:schemeClr val="bg1"/>
                </a:solidFill>
              </a:rPr>
              <a:t/>
            </a:r>
            <a:br>
              <a:rPr lang="en-US" altLang="en-US" sz="2000" b="1" i="1" dirty="0">
                <a:solidFill>
                  <a:schemeClr val="bg1"/>
                </a:solidFill>
              </a:rPr>
            </a:br>
            <a:endParaRPr lang="en-US" altLang="en-US" sz="2000" b="1" i="1" dirty="0" smtClean="0">
              <a:solidFill>
                <a:schemeClr val="bg1"/>
              </a:solidFill>
            </a:endParaRPr>
          </a:p>
          <a:p>
            <a:pPr algn="ctr" eaLnBrk="1" fontAlgn="base" hangingPunct="1">
              <a:spcBef>
                <a:spcPct val="0"/>
              </a:spcBef>
              <a:spcAft>
                <a:spcPct val="0"/>
              </a:spcAft>
            </a:pPr>
            <a:r>
              <a:rPr lang="en-US" altLang="en-US" sz="1800" b="1" dirty="0" smtClean="0">
                <a:solidFill>
                  <a:schemeClr val="bg1"/>
                </a:solidFill>
              </a:rPr>
              <a:t>Progress </a:t>
            </a:r>
            <a:r>
              <a:rPr lang="en-US" altLang="en-US" sz="1800" b="1" dirty="0">
                <a:solidFill>
                  <a:schemeClr val="bg1"/>
                </a:solidFill>
              </a:rPr>
              <a:t>and Opportunities with the National Network for Manufacturing </a:t>
            </a:r>
            <a:r>
              <a:rPr lang="en-US" altLang="en-US" sz="1800" b="1" dirty="0" smtClean="0">
                <a:solidFill>
                  <a:schemeClr val="bg1"/>
                </a:solidFill>
              </a:rPr>
              <a:t>Innovation</a:t>
            </a:r>
          </a:p>
          <a:p>
            <a:pPr algn="ctr" eaLnBrk="1" fontAlgn="base" hangingPunct="1">
              <a:spcBef>
                <a:spcPct val="0"/>
              </a:spcBef>
              <a:spcAft>
                <a:spcPct val="0"/>
              </a:spcAft>
            </a:pPr>
            <a:endParaRPr lang="en-US" sz="1800" b="1" dirty="0">
              <a:solidFill>
                <a:prstClr val="white"/>
              </a:solidFill>
              <a:cs typeface="Arial" pitchFamily="34" charset="0"/>
            </a:endParaRPr>
          </a:p>
          <a:p>
            <a:pPr algn="ctr" defTabSz="457200" eaLnBrk="1" fontAlgn="base" hangingPunct="1">
              <a:spcBef>
                <a:spcPct val="0"/>
              </a:spcBef>
              <a:spcAft>
                <a:spcPct val="0"/>
              </a:spcAft>
            </a:pPr>
            <a:r>
              <a:rPr lang="en-US" sz="1600" b="1" dirty="0" smtClean="0">
                <a:solidFill>
                  <a:prstClr val="white"/>
                </a:solidFill>
                <a:cs typeface="Arial" pitchFamily="34" charset="0"/>
              </a:rPr>
              <a:t>Presented by</a:t>
            </a:r>
          </a:p>
          <a:p>
            <a:pPr algn="ctr" defTabSz="457200" eaLnBrk="1" fontAlgn="base" hangingPunct="1">
              <a:spcBef>
                <a:spcPct val="0"/>
              </a:spcBef>
              <a:spcAft>
                <a:spcPct val="0"/>
              </a:spcAft>
            </a:pPr>
            <a:r>
              <a:rPr lang="en-US" sz="1600" b="1" dirty="0" smtClean="0">
                <a:solidFill>
                  <a:prstClr val="white"/>
                </a:solidFill>
                <a:cs typeface="Arial" pitchFamily="34" charset="0"/>
              </a:rPr>
              <a:t>John </a:t>
            </a:r>
            <a:r>
              <a:rPr lang="en-US" sz="1600" b="1" dirty="0" err="1" smtClean="0">
                <a:solidFill>
                  <a:prstClr val="white"/>
                </a:solidFill>
                <a:cs typeface="Arial" pitchFamily="34" charset="0"/>
              </a:rPr>
              <a:t>Fikes</a:t>
            </a:r>
            <a:r>
              <a:rPr lang="en-US" sz="1600" b="1" dirty="0" smtClean="0">
                <a:solidFill>
                  <a:prstClr val="white"/>
                </a:solidFill>
                <a:cs typeface="Arial" pitchFamily="34" charset="0"/>
              </a:rPr>
              <a:t> and John Vickers </a:t>
            </a:r>
          </a:p>
          <a:p>
            <a:pPr algn="ctr" defTabSz="457200" eaLnBrk="1" fontAlgn="base" hangingPunct="1">
              <a:spcBef>
                <a:spcPct val="0"/>
              </a:spcBef>
              <a:spcAft>
                <a:spcPct val="0"/>
              </a:spcAft>
            </a:pPr>
            <a:endParaRPr lang="en-US" sz="1600" dirty="0">
              <a:solidFill>
                <a:prstClr val="white"/>
              </a:solidFill>
              <a:cs typeface="Arial" pitchFamily="34" charset="0"/>
            </a:endParaRPr>
          </a:p>
          <a:p>
            <a:pPr algn="ctr" defTabSz="457200" eaLnBrk="1" fontAlgn="base" hangingPunct="1">
              <a:spcBef>
                <a:spcPct val="0"/>
              </a:spcBef>
              <a:spcAft>
                <a:spcPct val="0"/>
              </a:spcAft>
            </a:pPr>
            <a:r>
              <a:rPr lang="en-US" sz="1600" dirty="0" smtClean="0">
                <a:solidFill>
                  <a:prstClr val="white"/>
                </a:solidFill>
                <a:cs typeface="Arial" pitchFamily="34" charset="0"/>
              </a:rPr>
              <a:t>Date</a:t>
            </a:r>
          </a:p>
          <a:p>
            <a:pPr algn="ctr" defTabSz="457200" eaLnBrk="1" fontAlgn="base" hangingPunct="1">
              <a:spcBef>
                <a:spcPct val="0"/>
              </a:spcBef>
              <a:spcAft>
                <a:spcPct val="0"/>
              </a:spcAft>
            </a:pPr>
            <a:r>
              <a:rPr lang="en-US" sz="1600" dirty="0" smtClean="0">
                <a:solidFill>
                  <a:prstClr val="white"/>
                </a:solidFill>
                <a:cs typeface="Arial" pitchFamily="34" charset="0"/>
              </a:rPr>
              <a:t>June 21, 2016</a:t>
            </a:r>
          </a:p>
        </p:txBody>
      </p:sp>
    </p:spTree>
    <p:extLst>
      <p:ext uri="{BB962C8B-B14F-4D97-AF65-F5344CB8AC3E}">
        <p14:creationId xmlns:p14="http://schemas.microsoft.com/office/powerpoint/2010/main" val="997367017"/>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016201" y="6583272"/>
            <a:ext cx="2133600" cy="365125"/>
          </a:xfrm>
        </p:spPr>
        <p:txBody>
          <a:bodyPr/>
          <a:lstStyle/>
          <a:p>
            <a:fld id="{D68E8E89-0290-9F44-A94A-35B4B848B920}" type="slidenum">
              <a:rPr lang="en-US" smtClean="0"/>
              <a:pPr/>
              <a:t>10</a:t>
            </a:fld>
            <a:endParaRPr lang="en-US" dirty="0"/>
          </a:p>
        </p:txBody>
      </p:sp>
      <p:sp>
        <p:nvSpPr>
          <p:cNvPr id="6" name="Title 1"/>
          <p:cNvSpPr>
            <a:spLocks noGrp="1"/>
          </p:cNvSpPr>
          <p:nvPr>
            <p:ph type="title" idx="4294967295"/>
          </p:nvPr>
        </p:nvSpPr>
        <p:spPr>
          <a:xfrm>
            <a:off x="379413" y="0"/>
            <a:ext cx="8764587" cy="923925"/>
          </a:xfrm>
          <a:prstGeom prst="rect">
            <a:avLst/>
          </a:prstGeom>
        </p:spPr>
        <p:txBody>
          <a:bodyPr>
            <a:normAutofit/>
          </a:bodyPr>
          <a:lstStyle/>
          <a:p>
            <a:r>
              <a:rPr lang="en-US" sz="3600" b="1" dirty="0" smtClean="0">
                <a:solidFill>
                  <a:schemeClr val="bg1"/>
                </a:solidFill>
              </a:rPr>
              <a:t>Building the Network</a:t>
            </a:r>
            <a:endParaRPr lang="en-US" sz="3600" b="1" dirty="0">
              <a:solidFill>
                <a:schemeClr val="bg1"/>
              </a:solidFill>
            </a:endParaRPr>
          </a:p>
        </p:txBody>
      </p:sp>
      <p:grpSp>
        <p:nvGrpSpPr>
          <p:cNvPr id="33" name="Group 32"/>
          <p:cNvGrpSpPr/>
          <p:nvPr/>
        </p:nvGrpSpPr>
        <p:grpSpPr>
          <a:xfrm>
            <a:off x="151934" y="1413851"/>
            <a:ext cx="1763485" cy="2443922"/>
            <a:chOff x="-400900" y="1185615"/>
            <a:chExt cx="3322792" cy="4654371"/>
          </a:xfrm>
        </p:grpSpPr>
        <p:sp>
          <p:nvSpPr>
            <p:cNvPr id="55" name="Oval 54"/>
            <p:cNvSpPr/>
            <p:nvPr/>
          </p:nvSpPr>
          <p:spPr>
            <a:xfrm>
              <a:off x="107315" y="1185615"/>
              <a:ext cx="2403389" cy="2705525"/>
            </a:xfrm>
            <a:prstGeom prst="ellipse">
              <a:avLst/>
            </a:prstGeom>
            <a:blipFill>
              <a:blip r:embed="rId3" cstate="screen">
                <a:extLst>
                  <a:ext uri="{28A0092B-C50C-407E-A947-70E740481C1C}">
                    <a14:useLocalDpi xmlns:a14="http://schemas.microsoft.com/office/drawing/2010/main"/>
                  </a:ext>
                </a:extLst>
              </a:blip>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00"/>
                </a:solidFill>
              </a:endParaRPr>
            </a:p>
          </p:txBody>
        </p:sp>
        <p:sp>
          <p:nvSpPr>
            <p:cNvPr id="56" name="TextBox 18"/>
            <p:cNvSpPr txBox="1">
              <a:spLocks noChangeArrowheads="1"/>
            </p:cNvSpPr>
            <p:nvPr/>
          </p:nvSpPr>
          <p:spPr bwMode="auto">
            <a:xfrm>
              <a:off x="-400900" y="4022920"/>
              <a:ext cx="3322792" cy="1817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prstClr val="black">
                      <a:lumMod val="85000"/>
                      <a:lumOff val="15000"/>
                    </a:prstClr>
                  </a:solidFill>
                </a:rPr>
                <a:t>America Makes</a:t>
              </a:r>
            </a:p>
            <a:p>
              <a:pPr algn="ctr"/>
              <a:r>
                <a:rPr lang="en-US" sz="1400" dirty="0" smtClean="0">
                  <a:solidFill>
                    <a:prstClr val="black">
                      <a:lumMod val="85000"/>
                      <a:lumOff val="15000"/>
                    </a:prstClr>
                  </a:solidFill>
                </a:rPr>
                <a:t>Additive Manufacturing</a:t>
              </a:r>
            </a:p>
            <a:p>
              <a:pPr algn="ctr"/>
              <a:r>
                <a:rPr lang="en-US" sz="1400" dirty="0" smtClean="0">
                  <a:solidFill>
                    <a:prstClr val="black">
                      <a:lumMod val="85000"/>
                      <a:lumOff val="15000"/>
                    </a:prstClr>
                  </a:solidFill>
                </a:rPr>
                <a:t>DOD–Youngstown OH</a:t>
              </a:r>
            </a:p>
          </p:txBody>
        </p:sp>
      </p:grpSp>
      <p:grpSp>
        <p:nvGrpSpPr>
          <p:cNvPr id="34" name="Group 33"/>
          <p:cNvGrpSpPr/>
          <p:nvPr/>
        </p:nvGrpSpPr>
        <p:grpSpPr>
          <a:xfrm>
            <a:off x="4039040" y="1399813"/>
            <a:ext cx="1360714" cy="2465401"/>
            <a:chOff x="4502007" y="1297009"/>
            <a:chExt cx="2563882" cy="4695277"/>
          </a:xfrm>
        </p:grpSpPr>
        <p:sp>
          <p:nvSpPr>
            <p:cNvPr id="53" name="TextBox 18"/>
            <p:cNvSpPr txBox="1">
              <a:spLocks noChangeArrowheads="1"/>
            </p:cNvSpPr>
            <p:nvPr/>
          </p:nvSpPr>
          <p:spPr bwMode="auto">
            <a:xfrm>
              <a:off x="4502007" y="4175220"/>
              <a:ext cx="2563882" cy="1817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prstClr val="black">
                      <a:lumMod val="85000"/>
                      <a:lumOff val="15000"/>
                    </a:prstClr>
                  </a:solidFill>
                </a:rPr>
                <a:t>LIFT</a:t>
              </a:r>
            </a:p>
            <a:p>
              <a:pPr algn="ctr"/>
              <a:r>
                <a:rPr lang="en-US" sz="1400" dirty="0" smtClean="0">
                  <a:solidFill>
                    <a:prstClr val="black">
                      <a:lumMod val="85000"/>
                      <a:lumOff val="15000"/>
                    </a:prstClr>
                  </a:solidFill>
                </a:rPr>
                <a:t>Lightweight &amp;</a:t>
              </a:r>
            </a:p>
            <a:p>
              <a:pPr algn="ctr"/>
              <a:r>
                <a:rPr lang="en-US" sz="1400" dirty="0" smtClean="0">
                  <a:solidFill>
                    <a:prstClr val="black">
                      <a:lumMod val="85000"/>
                      <a:lumOff val="15000"/>
                    </a:prstClr>
                  </a:solidFill>
                </a:rPr>
                <a:t>Modern Metals</a:t>
              </a:r>
            </a:p>
            <a:p>
              <a:pPr algn="ctr"/>
              <a:r>
                <a:rPr lang="en-US" sz="1400" dirty="0" smtClean="0">
                  <a:solidFill>
                    <a:prstClr val="black">
                      <a:lumMod val="85000"/>
                      <a:lumOff val="15000"/>
                    </a:prstClr>
                  </a:solidFill>
                </a:rPr>
                <a:t>DOD – Detroit MI </a:t>
              </a:r>
            </a:p>
          </p:txBody>
        </p:sp>
        <p:sp>
          <p:nvSpPr>
            <p:cNvPr id="54" name="Oval 53"/>
            <p:cNvSpPr/>
            <p:nvPr/>
          </p:nvSpPr>
          <p:spPr>
            <a:xfrm>
              <a:off x="4576468" y="1297009"/>
              <a:ext cx="2340229" cy="2815373"/>
            </a:xfrm>
            <a:prstGeom prst="ellipse">
              <a:avLst/>
            </a:prstGeom>
            <a:blipFill>
              <a:blip r:embed="rId4" cstate="screen">
                <a:extLst>
                  <a:ext uri="{28A0092B-C50C-407E-A947-70E740481C1C}">
                    <a14:useLocalDpi xmlns:a14="http://schemas.microsoft.com/office/drawing/2010/main"/>
                  </a:ext>
                </a:extLst>
              </a:blip>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00"/>
                </a:solidFill>
              </a:endParaRPr>
            </a:p>
          </p:txBody>
        </p:sp>
      </p:grpSp>
      <p:grpSp>
        <p:nvGrpSpPr>
          <p:cNvPr id="35" name="Group 34"/>
          <p:cNvGrpSpPr/>
          <p:nvPr/>
        </p:nvGrpSpPr>
        <p:grpSpPr>
          <a:xfrm>
            <a:off x="2111691" y="1399814"/>
            <a:ext cx="1730316" cy="2455992"/>
            <a:chOff x="2012672" y="1284089"/>
            <a:chExt cx="3260292" cy="4677358"/>
          </a:xfrm>
        </p:grpSpPr>
        <p:sp>
          <p:nvSpPr>
            <p:cNvPr id="51" name="TextBox 18"/>
            <p:cNvSpPr txBox="1">
              <a:spLocks noChangeArrowheads="1"/>
            </p:cNvSpPr>
            <p:nvPr/>
          </p:nvSpPr>
          <p:spPr bwMode="auto">
            <a:xfrm>
              <a:off x="2012672" y="4144381"/>
              <a:ext cx="3260292" cy="1817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prstClr val="black">
                      <a:lumMod val="85000"/>
                      <a:lumOff val="15000"/>
                    </a:prstClr>
                  </a:solidFill>
                </a:rPr>
                <a:t>DMDII</a:t>
              </a:r>
            </a:p>
            <a:p>
              <a:pPr algn="ctr"/>
              <a:r>
                <a:rPr lang="en-US" sz="1400" dirty="0" smtClean="0">
                  <a:solidFill>
                    <a:prstClr val="black">
                      <a:lumMod val="85000"/>
                      <a:lumOff val="15000"/>
                    </a:prstClr>
                  </a:solidFill>
                </a:rPr>
                <a:t>Digital </a:t>
              </a:r>
              <a:r>
                <a:rPr lang="en-US" sz="1400" dirty="0" err="1" smtClean="0">
                  <a:solidFill>
                    <a:prstClr val="black">
                      <a:lumMod val="85000"/>
                      <a:lumOff val="15000"/>
                    </a:prstClr>
                  </a:solidFill>
                </a:rPr>
                <a:t>Mfg</a:t>
              </a:r>
              <a:r>
                <a:rPr lang="en-US" sz="1400" dirty="0" smtClean="0">
                  <a:solidFill>
                    <a:prstClr val="black">
                      <a:lumMod val="85000"/>
                      <a:lumOff val="15000"/>
                    </a:prstClr>
                  </a:solidFill>
                </a:rPr>
                <a:t> &amp; Design Innovation</a:t>
              </a:r>
            </a:p>
            <a:p>
              <a:pPr algn="ctr"/>
              <a:r>
                <a:rPr lang="en-US" sz="1400" dirty="0" smtClean="0">
                  <a:solidFill>
                    <a:prstClr val="black">
                      <a:lumMod val="85000"/>
                      <a:lumOff val="15000"/>
                    </a:prstClr>
                  </a:solidFill>
                </a:rPr>
                <a:t>DOD – Chicago IL</a:t>
              </a:r>
            </a:p>
          </p:txBody>
        </p:sp>
        <p:sp>
          <p:nvSpPr>
            <p:cNvPr id="52" name="Oval 51"/>
            <p:cNvSpPr/>
            <p:nvPr/>
          </p:nvSpPr>
          <p:spPr>
            <a:xfrm>
              <a:off x="2454596" y="1284089"/>
              <a:ext cx="2428674" cy="2815371"/>
            </a:xfrm>
            <a:prstGeom prst="ellipse">
              <a:avLst/>
            </a:prstGeom>
            <a:blipFill>
              <a:blip r:embed="rId5" cstate="screen">
                <a:extLst>
                  <a:ext uri="{28A0092B-C50C-407E-A947-70E740481C1C}">
                    <a14:useLocalDpi xmlns:a14="http://schemas.microsoft.com/office/drawing/2010/main"/>
                  </a:ext>
                </a:extLst>
              </a:blip>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00"/>
                </a:solidFill>
              </a:endParaRPr>
            </a:p>
          </p:txBody>
        </p:sp>
      </p:grpSp>
      <p:grpSp>
        <p:nvGrpSpPr>
          <p:cNvPr id="36" name="Group 35"/>
          <p:cNvGrpSpPr/>
          <p:nvPr/>
        </p:nvGrpSpPr>
        <p:grpSpPr>
          <a:xfrm>
            <a:off x="5785719" y="1399813"/>
            <a:ext cx="1361525" cy="2432406"/>
            <a:chOff x="6300041" y="1277859"/>
            <a:chExt cx="2565411" cy="4632444"/>
          </a:xfrm>
        </p:grpSpPr>
        <p:sp>
          <p:nvSpPr>
            <p:cNvPr id="49" name="TextBox 18"/>
            <p:cNvSpPr txBox="1">
              <a:spLocks noChangeArrowheads="1"/>
            </p:cNvSpPr>
            <p:nvPr/>
          </p:nvSpPr>
          <p:spPr bwMode="auto">
            <a:xfrm>
              <a:off x="6407711" y="4093235"/>
              <a:ext cx="2457741" cy="1817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r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err="1" smtClean="0">
                  <a:solidFill>
                    <a:prstClr val="black">
                      <a:lumMod val="85000"/>
                      <a:lumOff val="15000"/>
                    </a:prstClr>
                  </a:solidFill>
                </a:rPr>
                <a:t>PowerAmerica</a:t>
              </a:r>
              <a:endParaRPr lang="en-US" sz="1400" b="1" dirty="0" smtClean="0">
                <a:solidFill>
                  <a:prstClr val="black">
                    <a:lumMod val="85000"/>
                    <a:lumOff val="15000"/>
                  </a:prstClr>
                </a:solidFill>
              </a:endParaRPr>
            </a:p>
            <a:p>
              <a:pPr algn="ctr"/>
              <a:r>
                <a:rPr lang="en-US" sz="1400" dirty="0" smtClean="0">
                  <a:solidFill>
                    <a:prstClr val="black">
                      <a:lumMod val="85000"/>
                      <a:lumOff val="15000"/>
                    </a:prstClr>
                  </a:solidFill>
                </a:rPr>
                <a:t>Power Electronics Manufacturing</a:t>
              </a:r>
            </a:p>
            <a:p>
              <a:pPr algn="ctr"/>
              <a:r>
                <a:rPr lang="en-US" sz="1400" dirty="0" smtClean="0">
                  <a:solidFill>
                    <a:prstClr val="black">
                      <a:lumMod val="85000"/>
                      <a:lumOff val="15000"/>
                    </a:prstClr>
                  </a:solidFill>
                </a:rPr>
                <a:t>DOE – Raleigh NC</a:t>
              </a:r>
            </a:p>
          </p:txBody>
        </p:sp>
        <p:sp>
          <p:nvSpPr>
            <p:cNvPr id="50" name="Oval 49"/>
            <p:cNvSpPr/>
            <p:nvPr/>
          </p:nvSpPr>
          <p:spPr>
            <a:xfrm>
              <a:off x="6300041" y="1277859"/>
              <a:ext cx="2332778" cy="2815376"/>
            </a:xfrm>
            <a:prstGeom prst="ellipse">
              <a:avLst/>
            </a:prstGeom>
            <a:blipFill dpi="0" rotWithShape="1">
              <a:blip r:embed="rId6">
                <a:extLst>
                  <a:ext uri="{28A0092B-C50C-407E-A947-70E740481C1C}">
                    <a14:useLocalDpi xmlns:a14="http://schemas.microsoft.com/office/drawing/2010/main"/>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solidFill>
                  <a:srgbClr val="FFFF00"/>
                </a:solidFill>
              </a:endParaRPr>
            </a:p>
          </p:txBody>
        </p:sp>
      </p:grpSp>
      <p:grpSp>
        <p:nvGrpSpPr>
          <p:cNvPr id="37" name="Group 36"/>
          <p:cNvGrpSpPr/>
          <p:nvPr/>
        </p:nvGrpSpPr>
        <p:grpSpPr>
          <a:xfrm>
            <a:off x="7461064" y="1374194"/>
            <a:ext cx="1513114" cy="2458025"/>
            <a:chOff x="-384691" y="4146683"/>
            <a:chExt cx="2851039" cy="4681230"/>
          </a:xfrm>
        </p:grpSpPr>
        <p:pic>
          <p:nvPicPr>
            <p:cNvPr id="47" name="Picture 46"/>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1515" y="4146683"/>
              <a:ext cx="2124687" cy="2683816"/>
            </a:xfrm>
            <a:prstGeom prst="ellipse">
              <a:avLst/>
            </a:prstGeom>
            <a:ln w="25400">
              <a:solidFill>
                <a:schemeClr val="tx1"/>
              </a:solidFill>
            </a:ln>
          </p:spPr>
        </p:pic>
        <p:sp>
          <p:nvSpPr>
            <p:cNvPr id="48" name="TextBox 18"/>
            <p:cNvSpPr txBox="1">
              <a:spLocks noChangeArrowheads="1"/>
            </p:cNvSpPr>
            <p:nvPr/>
          </p:nvSpPr>
          <p:spPr bwMode="auto">
            <a:xfrm>
              <a:off x="-384691" y="7010847"/>
              <a:ext cx="2851039" cy="18170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prstClr val="black">
                      <a:lumMod val="85000"/>
                      <a:lumOff val="15000"/>
                    </a:prstClr>
                  </a:solidFill>
                </a:rPr>
                <a:t>IACMI</a:t>
              </a:r>
            </a:p>
            <a:p>
              <a:pPr algn="ctr"/>
              <a:r>
                <a:rPr lang="en-US" sz="1400" dirty="0" smtClean="0">
                  <a:solidFill>
                    <a:prstClr val="black">
                      <a:lumMod val="85000"/>
                      <a:lumOff val="15000"/>
                    </a:prstClr>
                  </a:solidFill>
                </a:rPr>
                <a:t>Adv. Composites</a:t>
              </a:r>
            </a:p>
            <a:p>
              <a:pPr algn="ctr"/>
              <a:r>
                <a:rPr lang="en-US" sz="1400" dirty="0" smtClean="0">
                  <a:solidFill>
                    <a:prstClr val="black">
                      <a:lumMod val="85000"/>
                      <a:lumOff val="15000"/>
                    </a:prstClr>
                  </a:solidFill>
                </a:rPr>
                <a:t>Manufacturing</a:t>
              </a:r>
            </a:p>
            <a:p>
              <a:pPr algn="ctr"/>
              <a:r>
                <a:rPr lang="en-US" sz="1400" dirty="0" smtClean="0">
                  <a:solidFill>
                    <a:prstClr val="black">
                      <a:lumMod val="85000"/>
                      <a:lumOff val="15000"/>
                    </a:prstClr>
                  </a:solidFill>
                </a:rPr>
                <a:t>DOE – Knoxville TN</a:t>
              </a:r>
            </a:p>
          </p:txBody>
        </p:sp>
      </p:grpSp>
      <p:grpSp>
        <p:nvGrpSpPr>
          <p:cNvPr id="38" name="Group 37"/>
          <p:cNvGrpSpPr/>
          <p:nvPr/>
        </p:nvGrpSpPr>
        <p:grpSpPr>
          <a:xfrm>
            <a:off x="1353865" y="4261714"/>
            <a:ext cx="1182051" cy="2397223"/>
            <a:chOff x="5811576" y="5062709"/>
            <a:chExt cx="1182051" cy="2397223"/>
          </a:xfrm>
        </p:grpSpPr>
        <p:sp>
          <p:nvSpPr>
            <p:cNvPr id="45" name="Oval 44"/>
            <p:cNvSpPr>
              <a:spLocks noChangeAspect="1"/>
            </p:cNvSpPr>
            <p:nvPr/>
          </p:nvSpPr>
          <p:spPr>
            <a:xfrm flipH="1">
              <a:off x="5811576" y="5062709"/>
              <a:ext cx="1175262" cy="1468755"/>
            </a:xfrm>
            <a:prstGeom prst="ellipse">
              <a:avLst/>
            </a:prstGeom>
            <a:blipFill dpi="0" rotWithShape="1">
              <a:blip r:embed="rId8" cstate="email">
                <a:extLst>
                  <a:ext uri="{28A0092B-C50C-407E-A947-70E740481C1C}">
                    <a14:useLocalDpi xmlns:a14="http://schemas.microsoft.com/office/drawing/2010/main"/>
                  </a:ext>
                </a:extLst>
              </a:blip>
              <a:srcRect/>
              <a:tile tx="0" ty="0" sx="80000" sy="80000" flip="none" algn="ctr"/>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2000" dirty="0">
                <a:solidFill>
                  <a:prstClr val="black"/>
                </a:solidFill>
              </a:endParaRPr>
            </a:p>
          </p:txBody>
        </p:sp>
        <p:sp>
          <p:nvSpPr>
            <p:cNvPr id="46" name="TextBox 18"/>
            <p:cNvSpPr txBox="1">
              <a:spLocks noChangeArrowheads="1"/>
            </p:cNvSpPr>
            <p:nvPr/>
          </p:nvSpPr>
          <p:spPr bwMode="auto">
            <a:xfrm>
              <a:off x="5839086" y="6505825"/>
              <a:ext cx="1154541"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4572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prstClr val="black">
                      <a:lumMod val="85000"/>
                      <a:lumOff val="15000"/>
                    </a:prstClr>
                  </a:solidFill>
                </a:rPr>
                <a:t>Integrated Photonics</a:t>
              </a:r>
            </a:p>
            <a:p>
              <a:pPr algn="ctr"/>
              <a:r>
                <a:rPr lang="en-US" sz="1400" dirty="0" smtClean="0">
                  <a:solidFill>
                    <a:prstClr val="black">
                      <a:lumMod val="85000"/>
                      <a:lumOff val="15000"/>
                    </a:prstClr>
                  </a:solidFill>
                </a:rPr>
                <a:t>DOD- Rochester NY</a:t>
              </a:r>
            </a:p>
          </p:txBody>
        </p:sp>
      </p:grpSp>
      <p:sp>
        <p:nvSpPr>
          <p:cNvPr id="43" name="TextBox 23"/>
          <p:cNvSpPr txBox="1"/>
          <p:nvPr/>
        </p:nvSpPr>
        <p:spPr>
          <a:xfrm>
            <a:off x="4774290" y="5721601"/>
            <a:ext cx="1306655"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prstClr val="black"/>
                </a:solidFill>
              </a:rPr>
              <a:t>Smart Manufacturing</a:t>
            </a:r>
          </a:p>
          <a:p>
            <a:pPr algn="ctr"/>
            <a:r>
              <a:rPr lang="en-US" sz="1400" dirty="0" smtClean="0">
                <a:solidFill>
                  <a:prstClr val="black"/>
                </a:solidFill>
              </a:rPr>
              <a:t>DOE</a:t>
            </a:r>
          </a:p>
          <a:p>
            <a:pPr algn="ctr"/>
            <a:r>
              <a:rPr lang="en-US" sz="1400" dirty="0" smtClean="0">
                <a:solidFill>
                  <a:prstClr val="black"/>
                </a:solidFill>
              </a:rPr>
              <a:t>Los Angeles CA</a:t>
            </a:r>
            <a:endParaRPr lang="en-US" sz="1400" dirty="0" smtClean="0">
              <a:solidFill>
                <a:prstClr val="black"/>
              </a:solidFill>
            </a:endParaRPr>
          </a:p>
        </p:txBody>
      </p:sp>
      <p:grpSp>
        <p:nvGrpSpPr>
          <p:cNvPr id="40" name="Group 39"/>
          <p:cNvGrpSpPr/>
          <p:nvPr/>
        </p:nvGrpSpPr>
        <p:grpSpPr>
          <a:xfrm>
            <a:off x="2865948" y="4267461"/>
            <a:ext cx="1482016" cy="2422755"/>
            <a:chOff x="7554066" y="5012154"/>
            <a:chExt cx="1482016" cy="2422755"/>
          </a:xfrm>
        </p:grpSpPr>
        <p:sp>
          <p:nvSpPr>
            <p:cNvPr id="41" name="TextBox 21"/>
            <p:cNvSpPr txBox="1"/>
            <p:nvPr/>
          </p:nvSpPr>
          <p:spPr>
            <a:xfrm>
              <a:off x="7554066" y="6480802"/>
              <a:ext cx="1482016" cy="95410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400" b="1" dirty="0" smtClean="0">
                  <a:solidFill>
                    <a:prstClr val="black"/>
                  </a:solidFill>
                </a:rPr>
                <a:t>Flexible Hybrid Electronics</a:t>
              </a:r>
            </a:p>
            <a:p>
              <a:pPr algn="ctr"/>
              <a:r>
                <a:rPr lang="en-US" sz="1400" dirty="0" smtClean="0">
                  <a:solidFill>
                    <a:prstClr val="black"/>
                  </a:solidFill>
                </a:rPr>
                <a:t>DOD</a:t>
              </a:r>
            </a:p>
            <a:p>
              <a:pPr algn="ctr"/>
              <a:r>
                <a:rPr lang="en-US" sz="1400" dirty="0" smtClean="0">
                  <a:solidFill>
                    <a:prstClr val="black"/>
                  </a:solidFill>
                </a:rPr>
                <a:t>San Jose CA</a:t>
              </a:r>
            </a:p>
          </p:txBody>
        </p:sp>
        <p:pic>
          <p:nvPicPr>
            <p:cNvPr id="42" name="Picture 41"/>
            <p:cNvPicPr>
              <a:picLocks/>
            </p:cNvPicPr>
            <p:nvPr/>
          </p:nvPicPr>
          <p:blipFill>
            <a:blip r:embed="rId9" cstate="email">
              <a:extLst>
                <a:ext uri="{28A0092B-C50C-407E-A947-70E740481C1C}">
                  <a14:useLocalDpi xmlns:a14="http://schemas.microsoft.com/office/drawing/2010/main"/>
                </a:ext>
              </a:extLst>
            </a:blip>
            <a:stretch>
              <a:fillRect/>
            </a:stretch>
          </p:blipFill>
          <p:spPr>
            <a:xfrm>
              <a:off x="7718368" y="5012154"/>
              <a:ext cx="1206523" cy="1463008"/>
            </a:xfrm>
            <a:prstGeom prst="ellipse">
              <a:avLst/>
            </a:prstGeom>
            <a:ln w="28575">
              <a:solidFill>
                <a:schemeClr val="tx1"/>
              </a:solidFill>
            </a:ln>
          </p:spPr>
        </p:pic>
      </p:grpSp>
      <p:sp>
        <p:nvSpPr>
          <p:cNvPr id="31" name="Oval 30"/>
          <p:cNvSpPr>
            <a:spLocks noChangeAspect="1"/>
          </p:cNvSpPr>
          <p:nvPr/>
        </p:nvSpPr>
        <p:spPr>
          <a:xfrm rot="10800000" flipH="1" flipV="1">
            <a:off x="4801004" y="4261714"/>
            <a:ext cx="1223018" cy="1514213"/>
          </a:xfrm>
          <a:prstGeom prst="ellipse">
            <a:avLst/>
          </a:prstGeom>
          <a:blipFill dpi="0" rotWithShape="1">
            <a:blip r:embed="rId10" cstate="email">
              <a:extLst>
                <a:ext uri="{28A0092B-C50C-407E-A947-70E740481C1C}">
                  <a14:useLocalDpi xmlns:a14="http://schemas.microsoft.com/office/drawing/2010/main"/>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00" dirty="0">
              <a:solidFill>
                <a:prstClr val="black"/>
              </a:solidFill>
            </a:endParaRPr>
          </a:p>
        </p:txBody>
      </p:sp>
      <p:pic>
        <p:nvPicPr>
          <p:cNvPr id="39" name="Picture 38"/>
          <p:cNvPicPr>
            <a:picLocks/>
          </p:cNvPicPr>
          <p:nvPr/>
        </p:nvPicPr>
        <p:blipFill>
          <a:blip r:embed="rId11" cstate="email">
            <a:extLst>
              <a:ext uri="{28A0092B-C50C-407E-A947-70E740481C1C}">
                <a14:useLocalDpi xmlns:a14="http://schemas.microsoft.com/office/drawing/2010/main"/>
              </a:ext>
            </a:extLst>
          </a:blip>
          <a:stretch>
            <a:fillRect/>
          </a:stretch>
        </p:blipFill>
        <p:spPr>
          <a:xfrm>
            <a:off x="6611225" y="4267461"/>
            <a:ext cx="1233776" cy="1508466"/>
          </a:xfrm>
          <a:prstGeom prst="ellipse">
            <a:avLst/>
          </a:prstGeom>
          <a:ln w="28575">
            <a:solidFill>
              <a:schemeClr val="tx1"/>
            </a:solidFill>
          </a:ln>
        </p:spPr>
      </p:pic>
      <p:sp>
        <p:nvSpPr>
          <p:cNvPr id="44" name="TextBox 18"/>
          <p:cNvSpPr txBox="1">
            <a:spLocks noChangeArrowheads="1"/>
          </p:cNvSpPr>
          <p:nvPr/>
        </p:nvSpPr>
        <p:spPr bwMode="auto">
          <a:xfrm>
            <a:off x="6487761" y="5778924"/>
            <a:ext cx="1761366" cy="738664"/>
          </a:xfrm>
          <a:prstGeom prst="rect">
            <a:avLst/>
          </a:prstGeom>
          <a:noFill/>
          <a:ln>
            <a:noFill/>
          </a:ln>
          <a:extLst/>
        </p:spPr>
        <p:txBody>
          <a:bodyPr wrap="square" lIns="4572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hangingPunct="1"/>
            <a:r>
              <a:rPr lang="en-US" sz="1400" b="1" dirty="0" smtClean="0">
                <a:solidFill>
                  <a:prstClr val="black">
                    <a:lumMod val="85000"/>
                    <a:lumOff val="15000"/>
                  </a:prstClr>
                </a:solidFill>
                <a:latin typeface="Calibri"/>
              </a:rPr>
              <a:t>Revolutionary Fibers </a:t>
            </a:r>
            <a:r>
              <a:rPr lang="en-US" sz="1400" b="1" dirty="0">
                <a:solidFill>
                  <a:prstClr val="black">
                    <a:lumMod val="85000"/>
                    <a:lumOff val="15000"/>
                  </a:prstClr>
                </a:solidFill>
                <a:latin typeface="Calibri"/>
              </a:rPr>
              <a:t>&amp;</a:t>
            </a:r>
            <a:r>
              <a:rPr lang="en-US" sz="1400" b="1" dirty="0" smtClean="0">
                <a:solidFill>
                  <a:prstClr val="black">
                    <a:lumMod val="85000"/>
                    <a:lumOff val="15000"/>
                  </a:prstClr>
                </a:solidFill>
                <a:latin typeface="Calibri"/>
              </a:rPr>
              <a:t> Textiles</a:t>
            </a:r>
          </a:p>
          <a:p>
            <a:r>
              <a:rPr lang="en-US" sz="1400" dirty="0" smtClean="0"/>
              <a:t>DOD – Cambridge MA</a:t>
            </a:r>
            <a:endParaRPr lang="en-US" sz="1400" dirty="0"/>
          </a:p>
        </p:txBody>
      </p:sp>
    </p:spTree>
    <p:extLst>
      <p:ext uri="{BB962C8B-B14F-4D97-AF65-F5344CB8AC3E}">
        <p14:creationId xmlns:p14="http://schemas.microsoft.com/office/powerpoint/2010/main" val="1708557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a:spLocks noChangeArrowheads="1"/>
          </p:cNvSpPr>
          <p:nvPr/>
        </p:nvSpPr>
        <p:spPr bwMode="auto">
          <a:xfrm rot="21163818">
            <a:off x="4768537" y="2999243"/>
            <a:ext cx="909722" cy="594217"/>
          </a:xfrm>
          <a:custGeom>
            <a:avLst/>
            <a:gdLst>
              <a:gd name="T0" fmla="*/ 2147483647 w 9500"/>
              <a:gd name="T1" fmla="*/ 2147483647 h 6521"/>
              <a:gd name="T2" fmla="*/ 2147483647 w 9500"/>
              <a:gd name="T3" fmla="*/ 2147483647 h 6521"/>
              <a:gd name="T4" fmla="*/ 2147483647 w 9500"/>
              <a:gd name="T5" fmla="*/ 2147483647 h 6521"/>
              <a:gd name="T6" fmla="*/ 2147483647 w 9500"/>
              <a:gd name="T7" fmla="*/ 2147483647 h 6521"/>
              <a:gd name="T8" fmla="*/ 2147483647 w 9500"/>
              <a:gd name="T9" fmla="*/ 2147483647 h 6521"/>
              <a:gd name="T10" fmla="*/ 2147483647 w 9500"/>
              <a:gd name="T11" fmla="*/ 2147483647 h 6521"/>
              <a:gd name="T12" fmla="*/ 2147483647 w 9500"/>
              <a:gd name="T13" fmla="*/ 2147483647 h 6521"/>
              <a:gd name="T14" fmla="*/ 2147483647 w 9500"/>
              <a:gd name="T15" fmla="*/ 2147483647 h 6521"/>
              <a:gd name="T16" fmla="*/ 2147483647 w 9500"/>
              <a:gd name="T17" fmla="*/ 2147483647 h 6521"/>
              <a:gd name="T18" fmla="*/ 2147483647 w 9500"/>
              <a:gd name="T19" fmla="*/ 2147483647 h 6521"/>
              <a:gd name="T20" fmla="*/ 2147483647 w 9500"/>
              <a:gd name="T21" fmla="*/ 2147483647 h 6521"/>
              <a:gd name="T22" fmla="*/ 2147483647 w 9500"/>
              <a:gd name="T23" fmla="*/ 2147483647 h 6521"/>
              <a:gd name="T24" fmla="*/ 2147483647 w 9500"/>
              <a:gd name="T25" fmla="*/ 2147483647 h 6521"/>
              <a:gd name="T26" fmla="*/ 2147483647 w 9500"/>
              <a:gd name="T27" fmla="*/ 2147483647 h 6521"/>
              <a:gd name="T28" fmla="*/ 2147483647 w 9500"/>
              <a:gd name="T29" fmla="*/ 2147483647 h 6521"/>
              <a:gd name="T30" fmla="*/ 2147483647 w 9500"/>
              <a:gd name="T31" fmla="*/ 2147483647 h 6521"/>
              <a:gd name="T32" fmla="*/ 2147483647 w 9500"/>
              <a:gd name="T33" fmla="*/ 2147483647 h 6521"/>
              <a:gd name="T34" fmla="*/ 2147483647 w 9500"/>
              <a:gd name="T35" fmla="*/ 2147483647 h 6521"/>
              <a:gd name="T36" fmla="*/ 2147483647 w 9500"/>
              <a:gd name="T37" fmla="*/ 2147483647 h 6521"/>
              <a:gd name="T38" fmla="*/ 2147483647 w 9500"/>
              <a:gd name="T39" fmla="*/ 2147483647 h 6521"/>
              <a:gd name="T40" fmla="*/ 2147483647 w 9500"/>
              <a:gd name="T41" fmla="*/ 2147483647 h 6521"/>
              <a:gd name="T42" fmla="*/ 2147483647 w 9500"/>
              <a:gd name="T43" fmla="*/ 2147483647 h 6521"/>
              <a:gd name="T44" fmla="*/ 2147483647 w 9500"/>
              <a:gd name="T45" fmla="*/ 2147483647 h 6521"/>
              <a:gd name="T46" fmla="*/ 2147483647 w 9500"/>
              <a:gd name="T47" fmla="*/ 2147483647 h 6521"/>
              <a:gd name="T48" fmla="*/ 2147483647 w 9500"/>
              <a:gd name="T49" fmla="*/ 2147483647 h 6521"/>
              <a:gd name="T50" fmla="*/ 2147483647 w 9500"/>
              <a:gd name="T51" fmla="*/ 2147483647 h 6521"/>
              <a:gd name="T52" fmla="*/ 2147483647 w 9500"/>
              <a:gd name="T53" fmla="*/ 2147483647 h 6521"/>
              <a:gd name="T54" fmla="*/ 2147483647 w 9500"/>
              <a:gd name="T55" fmla="*/ 2147483647 h 6521"/>
              <a:gd name="T56" fmla="*/ 2147483647 w 9500"/>
              <a:gd name="T57" fmla="*/ 2147483647 h 6521"/>
              <a:gd name="T58" fmla="*/ 2147483647 w 9500"/>
              <a:gd name="T59" fmla="*/ 2147483647 h 6521"/>
              <a:gd name="T60" fmla="*/ 0 w 9500"/>
              <a:gd name="T61" fmla="*/ 2147483647 h 6521"/>
              <a:gd name="T62" fmla="*/ 2147483647 w 9500"/>
              <a:gd name="T63" fmla="*/ 2147483647 h 6521"/>
              <a:gd name="T64" fmla="*/ 2147483647 w 9500"/>
              <a:gd name="T65" fmla="*/ 2147483647 h 6521"/>
              <a:gd name="T66" fmla="*/ 2147483647 w 9500"/>
              <a:gd name="T67" fmla="*/ 2147483647 h 652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connsiteX0" fmla="*/ 257 w 9999"/>
              <a:gd name="connsiteY0" fmla="*/ 0 h 9998"/>
              <a:gd name="connsiteX1" fmla="*/ 8447 w 9999"/>
              <a:gd name="connsiteY1" fmla="*/ 90 h 9998"/>
              <a:gd name="connsiteX2" fmla="*/ 8352 w 9999"/>
              <a:gd name="connsiteY2" fmla="*/ 561 h 9998"/>
              <a:gd name="connsiteX3" fmla="*/ 8681 w 9999"/>
              <a:gd name="connsiteY3" fmla="*/ 969 h 9998"/>
              <a:gd name="connsiteX4" fmla="*/ 8425 w 9999"/>
              <a:gd name="connsiteY4" fmla="*/ 1225 h 9998"/>
              <a:gd name="connsiteX5" fmla="*/ 8425 w 9999"/>
              <a:gd name="connsiteY5" fmla="*/ 1938 h 9998"/>
              <a:gd name="connsiteX6" fmla="*/ 8536 w 9999"/>
              <a:gd name="connsiteY6" fmla="*/ 2194 h 9998"/>
              <a:gd name="connsiteX7" fmla="*/ 8571 w 9999"/>
              <a:gd name="connsiteY7" fmla="*/ 2501 h 9998"/>
              <a:gd name="connsiteX8" fmla="*/ 8975 w 9999"/>
              <a:gd name="connsiteY8" fmla="*/ 3010 h 9998"/>
              <a:gd name="connsiteX9" fmla="*/ 9232 w 9999"/>
              <a:gd name="connsiteY9" fmla="*/ 3519 h 9998"/>
              <a:gd name="connsiteX10" fmla="*/ 9560 w 9999"/>
              <a:gd name="connsiteY10" fmla="*/ 3929 h 9998"/>
              <a:gd name="connsiteX11" fmla="*/ 9742 w 9999"/>
              <a:gd name="connsiteY11" fmla="*/ 4285 h 9998"/>
              <a:gd name="connsiteX12" fmla="*/ 9889 w 9999"/>
              <a:gd name="connsiteY12" fmla="*/ 4541 h 9998"/>
              <a:gd name="connsiteX13" fmla="*/ 9999 w 9999"/>
              <a:gd name="connsiteY13" fmla="*/ 5306 h 9998"/>
              <a:gd name="connsiteX14" fmla="*/ 9780 w 9999"/>
              <a:gd name="connsiteY14" fmla="*/ 5764 h 9998"/>
              <a:gd name="connsiteX15" fmla="*/ 9669 w 9999"/>
              <a:gd name="connsiteY15" fmla="*/ 6021 h 9998"/>
              <a:gd name="connsiteX16" fmla="*/ 9669 w 9999"/>
              <a:gd name="connsiteY16" fmla="*/ 6479 h 9998"/>
              <a:gd name="connsiteX17" fmla="*/ 9232 w 9999"/>
              <a:gd name="connsiteY17" fmla="*/ 6427 h 9998"/>
              <a:gd name="connsiteX18" fmla="*/ 8901 w 9999"/>
              <a:gd name="connsiteY18" fmla="*/ 6683 h 9998"/>
              <a:gd name="connsiteX19" fmla="*/ 8755 w 9999"/>
              <a:gd name="connsiteY19" fmla="*/ 6887 h 9998"/>
              <a:gd name="connsiteX20" fmla="*/ 8571 w 9999"/>
              <a:gd name="connsiteY20" fmla="*/ 7295 h 9998"/>
              <a:gd name="connsiteX21" fmla="*/ 8608 w 9999"/>
              <a:gd name="connsiteY21" fmla="*/ 7654 h 9998"/>
              <a:gd name="connsiteX22" fmla="*/ 8792 w 9999"/>
              <a:gd name="connsiteY22" fmla="*/ 8264 h 9998"/>
              <a:gd name="connsiteX23" fmla="*/ 8536 w 9999"/>
              <a:gd name="connsiteY23" fmla="*/ 8623 h 9998"/>
              <a:gd name="connsiteX24" fmla="*/ 8536 w 9999"/>
              <a:gd name="connsiteY24" fmla="*/ 9031 h 9998"/>
              <a:gd name="connsiteX25" fmla="*/ 8536 w 9999"/>
              <a:gd name="connsiteY25" fmla="*/ 9285 h 9998"/>
              <a:gd name="connsiteX26" fmla="*/ 8169 w 9999"/>
              <a:gd name="connsiteY26" fmla="*/ 9437 h 9998"/>
              <a:gd name="connsiteX27" fmla="*/ 8096 w 9999"/>
              <a:gd name="connsiteY27" fmla="*/ 9692 h 9998"/>
              <a:gd name="connsiteX28" fmla="*/ 8133 w 9999"/>
              <a:gd name="connsiteY28" fmla="*/ 9948 h 9998"/>
              <a:gd name="connsiteX29" fmla="*/ 8022 w 9999"/>
              <a:gd name="connsiteY29" fmla="*/ 9998 h 9998"/>
              <a:gd name="connsiteX30" fmla="*/ 7765 w 9999"/>
              <a:gd name="connsiteY30" fmla="*/ 9641 h 9998"/>
              <a:gd name="connsiteX31" fmla="*/ 7545 w 9999"/>
              <a:gd name="connsiteY31" fmla="*/ 9540 h 9998"/>
              <a:gd name="connsiteX32" fmla="*/ 7399 w 9999"/>
              <a:gd name="connsiteY32" fmla="*/ 9437 h 9998"/>
              <a:gd name="connsiteX33" fmla="*/ 1502 w 9999"/>
              <a:gd name="connsiteY33" fmla="*/ 9641 h 9998"/>
              <a:gd name="connsiteX34" fmla="*/ 1428 w 9999"/>
              <a:gd name="connsiteY34" fmla="*/ 9183 h 9998"/>
              <a:gd name="connsiteX35" fmla="*/ 1428 w 9999"/>
              <a:gd name="connsiteY35" fmla="*/ 9083 h 9998"/>
              <a:gd name="connsiteX36" fmla="*/ 1428 w 9999"/>
              <a:gd name="connsiteY36" fmla="*/ 8724 h 9998"/>
              <a:gd name="connsiteX37" fmla="*/ 1466 w 9999"/>
              <a:gd name="connsiteY37" fmla="*/ 8419 h 9998"/>
              <a:gd name="connsiteX38" fmla="*/ 1392 w 9999"/>
              <a:gd name="connsiteY38" fmla="*/ 7959 h 9998"/>
              <a:gd name="connsiteX39" fmla="*/ 1246 w 9999"/>
              <a:gd name="connsiteY39" fmla="*/ 7396 h 9998"/>
              <a:gd name="connsiteX40" fmla="*/ 1173 w 9999"/>
              <a:gd name="connsiteY40" fmla="*/ 6990 h 9998"/>
              <a:gd name="connsiteX41" fmla="*/ 1356 w 9999"/>
              <a:gd name="connsiteY41" fmla="*/ 6683 h 9998"/>
              <a:gd name="connsiteX42" fmla="*/ 1062 w 9999"/>
              <a:gd name="connsiteY42" fmla="*/ 6225 h 9998"/>
              <a:gd name="connsiteX43" fmla="*/ 1062 w 9999"/>
              <a:gd name="connsiteY43" fmla="*/ 6123 h 9998"/>
              <a:gd name="connsiteX44" fmla="*/ 1100 w 9999"/>
              <a:gd name="connsiteY44" fmla="*/ 5613 h 9998"/>
              <a:gd name="connsiteX45" fmla="*/ 953 w 9999"/>
              <a:gd name="connsiteY45" fmla="*/ 5203 h 9998"/>
              <a:gd name="connsiteX46" fmla="*/ 696 w 9999"/>
              <a:gd name="connsiteY46" fmla="*/ 4387 h 9998"/>
              <a:gd name="connsiteX47" fmla="*/ 623 w 9999"/>
              <a:gd name="connsiteY47" fmla="*/ 3775 h 9998"/>
              <a:gd name="connsiteX48" fmla="*/ 623 w 9999"/>
              <a:gd name="connsiteY48" fmla="*/ 3366 h 9998"/>
              <a:gd name="connsiteX49" fmla="*/ 0 w 9999"/>
              <a:gd name="connsiteY49" fmla="*/ 2552 h 9998"/>
              <a:gd name="connsiteX50" fmla="*/ 477 w 9999"/>
              <a:gd name="connsiteY50" fmla="*/ 1990 h 9998"/>
              <a:gd name="connsiteX51" fmla="*/ 477 w 9999"/>
              <a:gd name="connsiteY51" fmla="*/ 1736 h 9998"/>
              <a:gd name="connsiteX52" fmla="*/ 477 w 9999"/>
              <a:gd name="connsiteY52" fmla="*/ 969 h 9998"/>
              <a:gd name="connsiteX53" fmla="*/ 147 w 9999"/>
              <a:gd name="connsiteY53" fmla="*/ 459 h 9998"/>
              <a:gd name="connsiteX54" fmla="*/ 257 w 9999"/>
              <a:gd name="connsiteY54" fmla="*/ 0 h 9998"/>
              <a:gd name="connsiteX0" fmla="*/ 257 w 10000"/>
              <a:gd name="connsiteY0" fmla="*/ 0 h 10000"/>
              <a:gd name="connsiteX1" fmla="*/ 8448 w 10000"/>
              <a:gd name="connsiteY1" fmla="*/ 90 h 10000"/>
              <a:gd name="connsiteX2" fmla="*/ 8353 w 10000"/>
              <a:gd name="connsiteY2" fmla="*/ 561 h 10000"/>
              <a:gd name="connsiteX3" fmla="*/ 8682 w 10000"/>
              <a:gd name="connsiteY3" fmla="*/ 969 h 10000"/>
              <a:gd name="connsiteX4" fmla="*/ 8631 w 10000"/>
              <a:gd name="connsiteY4" fmla="*/ 1264 h 10000"/>
              <a:gd name="connsiteX5" fmla="*/ 8426 w 10000"/>
              <a:gd name="connsiteY5" fmla="*/ 1938 h 10000"/>
              <a:gd name="connsiteX6" fmla="*/ 8537 w 10000"/>
              <a:gd name="connsiteY6" fmla="*/ 2194 h 10000"/>
              <a:gd name="connsiteX7" fmla="*/ 8572 w 10000"/>
              <a:gd name="connsiteY7" fmla="*/ 2502 h 10000"/>
              <a:gd name="connsiteX8" fmla="*/ 8976 w 10000"/>
              <a:gd name="connsiteY8" fmla="*/ 3011 h 10000"/>
              <a:gd name="connsiteX9" fmla="*/ 9233 w 10000"/>
              <a:gd name="connsiteY9" fmla="*/ 3520 h 10000"/>
              <a:gd name="connsiteX10" fmla="*/ 9561 w 10000"/>
              <a:gd name="connsiteY10" fmla="*/ 3930 h 10000"/>
              <a:gd name="connsiteX11" fmla="*/ 9743 w 10000"/>
              <a:gd name="connsiteY11" fmla="*/ 4286 h 10000"/>
              <a:gd name="connsiteX12" fmla="*/ 9890 w 10000"/>
              <a:gd name="connsiteY12" fmla="*/ 4542 h 10000"/>
              <a:gd name="connsiteX13" fmla="*/ 10000 w 10000"/>
              <a:gd name="connsiteY13" fmla="*/ 5307 h 10000"/>
              <a:gd name="connsiteX14" fmla="*/ 9781 w 10000"/>
              <a:gd name="connsiteY14" fmla="*/ 5765 h 10000"/>
              <a:gd name="connsiteX15" fmla="*/ 9670 w 10000"/>
              <a:gd name="connsiteY15" fmla="*/ 6022 h 10000"/>
              <a:gd name="connsiteX16" fmla="*/ 9670 w 10000"/>
              <a:gd name="connsiteY16" fmla="*/ 6480 h 10000"/>
              <a:gd name="connsiteX17" fmla="*/ 9233 w 10000"/>
              <a:gd name="connsiteY17" fmla="*/ 6428 h 10000"/>
              <a:gd name="connsiteX18" fmla="*/ 8902 w 10000"/>
              <a:gd name="connsiteY18" fmla="*/ 6684 h 10000"/>
              <a:gd name="connsiteX19" fmla="*/ 8756 w 10000"/>
              <a:gd name="connsiteY19" fmla="*/ 6888 h 10000"/>
              <a:gd name="connsiteX20" fmla="*/ 8572 w 10000"/>
              <a:gd name="connsiteY20" fmla="*/ 7296 h 10000"/>
              <a:gd name="connsiteX21" fmla="*/ 8609 w 10000"/>
              <a:gd name="connsiteY21" fmla="*/ 7656 h 10000"/>
              <a:gd name="connsiteX22" fmla="*/ 8793 w 10000"/>
              <a:gd name="connsiteY22" fmla="*/ 8266 h 10000"/>
              <a:gd name="connsiteX23" fmla="*/ 8537 w 10000"/>
              <a:gd name="connsiteY23" fmla="*/ 8625 h 10000"/>
              <a:gd name="connsiteX24" fmla="*/ 8537 w 10000"/>
              <a:gd name="connsiteY24" fmla="*/ 9033 h 10000"/>
              <a:gd name="connsiteX25" fmla="*/ 8537 w 10000"/>
              <a:gd name="connsiteY25" fmla="*/ 9287 h 10000"/>
              <a:gd name="connsiteX26" fmla="*/ 8170 w 10000"/>
              <a:gd name="connsiteY26" fmla="*/ 9439 h 10000"/>
              <a:gd name="connsiteX27" fmla="*/ 8097 w 10000"/>
              <a:gd name="connsiteY27" fmla="*/ 9694 h 10000"/>
              <a:gd name="connsiteX28" fmla="*/ 8134 w 10000"/>
              <a:gd name="connsiteY28" fmla="*/ 9950 h 10000"/>
              <a:gd name="connsiteX29" fmla="*/ 8023 w 10000"/>
              <a:gd name="connsiteY29" fmla="*/ 10000 h 10000"/>
              <a:gd name="connsiteX30" fmla="*/ 7766 w 10000"/>
              <a:gd name="connsiteY30" fmla="*/ 9643 h 10000"/>
              <a:gd name="connsiteX31" fmla="*/ 7546 w 10000"/>
              <a:gd name="connsiteY31" fmla="*/ 9542 h 10000"/>
              <a:gd name="connsiteX32" fmla="*/ 7400 w 10000"/>
              <a:gd name="connsiteY32" fmla="*/ 9439 h 10000"/>
              <a:gd name="connsiteX33" fmla="*/ 1502 w 10000"/>
              <a:gd name="connsiteY33" fmla="*/ 9643 h 10000"/>
              <a:gd name="connsiteX34" fmla="*/ 1428 w 10000"/>
              <a:gd name="connsiteY34" fmla="*/ 9185 h 10000"/>
              <a:gd name="connsiteX35" fmla="*/ 1428 w 10000"/>
              <a:gd name="connsiteY35" fmla="*/ 9085 h 10000"/>
              <a:gd name="connsiteX36" fmla="*/ 1428 w 10000"/>
              <a:gd name="connsiteY36" fmla="*/ 8726 h 10000"/>
              <a:gd name="connsiteX37" fmla="*/ 1466 w 10000"/>
              <a:gd name="connsiteY37" fmla="*/ 8421 h 10000"/>
              <a:gd name="connsiteX38" fmla="*/ 1392 w 10000"/>
              <a:gd name="connsiteY38" fmla="*/ 7961 h 10000"/>
              <a:gd name="connsiteX39" fmla="*/ 1246 w 10000"/>
              <a:gd name="connsiteY39" fmla="*/ 7397 h 10000"/>
              <a:gd name="connsiteX40" fmla="*/ 1173 w 10000"/>
              <a:gd name="connsiteY40" fmla="*/ 6991 h 10000"/>
              <a:gd name="connsiteX41" fmla="*/ 1356 w 10000"/>
              <a:gd name="connsiteY41" fmla="*/ 6684 h 10000"/>
              <a:gd name="connsiteX42" fmla="*/ 1062 w 10000"/>
              <a:gd name="connsiteY42" fmla="*/ 6226 h 10000"/>
              <a:gd name="connsiteX43" fmla="*/ 1062 w 10000"/>
              <a:gd name="connsiteY43" fmla="*/ 6124 h 10000"/>
              <a:gd name="connsiteX44" fmla="*/ 1100 w 10000"/>
              <a:gd name="connsiteY44" fmla="*/ 5614 h 10000"/>
              <a:gd name="connsiteX45" fmla="*/ 953 w 10000"/>
              <a:gd name="connsiteY45" fmla="*/ 5204 h 10000"/>
              <a:gd name="connsiteX46" fmla="*/ 696 w 10000"/>
              <a:gd name="connsiteY46" fmla="*/ 4388 h 10000"/>
              <a:gd name="connsiteX47" fmla="*/ 623 w 10000"/>
              <a:gd name="connsiteY47" fmla="*/ 3776 h 10000"/>
              <a:gd name="connsiteX48" fmla="*/ 623 w 10000"/>
              <a:gd name="connsiteY48" fmla="*/ 3367 h 10000"/>
              <a:gd name="connsiteX49" fmla="*/ 0 w 10000"/>
              <a:gd name="connsiteY49" fmla="*/ 2553 h 10000"/>
              <a:gd name="connsiteX50" fmla="*/ 477 w 10000"/>
              <a:gd name="connsiteY50" fmla="*/ 1990 h 10000"/>
              <a:gd name="connsiteX51" fmla="*/ 477 w 10000"/>
              <a:gd name="connsiteY51" fmla="*/ 1736 h 10000"/>
              <a:gd name="connsiteX52" fmla="*/ 477 w 10000"/>
              <a:gd name="connsiteY52" fmla="*/ 969 h 10000"/>
              <a:gd name="connsiteX53" fmla="*/ 147 w 10000"/>
              <a:gd name="connsiteY53" fmla="*/ 459 h 10000"/>
              <a:gd name="connsiteX54" fmla="*/ 257 w 10000"/>
              <a:gd name="connsiteY54" fmla="*/ 0 h 10000"/>
              <a:gd name="connsiteX0" fmla="*/ 257 w 10000"/>
              <a:gd name="connsiteY0" fmla="*/ 0 h 10000"/>
              <a:gd name="connsiteX1" fmla="*/ 8448 w 10000"/>
              <a:gd name="connsiteY1" fmla="*/ 90 h 10000"/>
              <a:gd name="connsiteX2" fmla="*/ 8353 w 10000"/>
              <a:gd name="connsiteY2" fmla="*/ 561 h 10000"/>
              <a:gd name="connsiteX3" fmla="*/ 8682 w 10000"/>
              <a:gd name="connsiteY3" fmla="*/ 969 h 10000"/>
              <a:gd name="connsiteX4" fmla="*/ 8631 w 10000"/>
              <a:gd name="connsiteY4" fmla="*/ 1264 h 10000"/>
              <a:gd name="connsiteX5" fmla="*/ 8426 w 10000"/>
              <a:gd name="connsiteY5" fmla="*/ 1938 h 10000"/>
              <a:gd name="connsiteX6" fmla="*/ 8537 w 10000"/>
              <a:gd name="connsiteY6" fmla="*/ 2194 h 10000"/>
              <a:gd name="connsiteX7" fmla="*/ 8572 w 10000"/>
              <a:gd name="connsiteY7" fmla="*/ 2502 h 10000"/>
              <a:gd name="connsiteX8" fmla="*/ 8976 w 10000"/>
              <a:gd name="connsiteY8" fmla="*/ 3011 h 10000"/>
              <a:gd name="connsiteX9" fmla="*/ 9458 w 10000"/>
              <a:gd name="connsiteY9" fmla="*/ 3329 h 10000"/>
              <a:gd name="connsiteX10" fmla="*/ 9561 w 10000"/>
              <a:gd name="connsiteY10" fmla="*/ 3930 h 10000"/>
              <a:gd name="connsiteX11" fmla="*/ 9743 w 10000"/>
              <a:gd name="connsiteY11" fmla="*/ 4286 h 10000"/>
              <a:gd name="connsiteX12" fmla="*/ 9890 w 10000"/>
              <a:gd name="connsiteY12" fmla="*/ 4542 h 10000"/>
              <a:gd name="connsiteX13" fmla="*/ 10000 w 10000"/>
              <a:gd name="connsiteY13" fmla="*/ 5307 h 10000"/>
              <a:gd name="connsiteX14" fmla="*/ 9781 w 10000"/>
              <a:gd name="connsiteY14" fmla="*/ 5765 h 10000"/>
              <a:gd name="connsiteX15" fmla="*/ 9670 w 10000"/>
              <a:gd name="connsiteY15" fmla="*/ 6022 h 10000"/>
              <a:gd name="connsiteX16" fmla="*/ 9670 w 10000"/>
              <a:gd name="connsiteY16" fmla="*/ 6480 h 10000"/>
              <a:gd name="connsiteX17" fmla="*/ 9233 w 10000"/>
              <a:gd name="connsiteY17" fmla="*/ 6428 h 10000"/>
              <a:gd name="connsiteX18" fmla="*/ 8902 w 10000"/>
              <a:gd name="connsiteY18" fmla="*/ 6684 h 10000"/>
              <a:gd name="connsiteX19" fmla="*/ 8756 w 10000"/>
              <a:gd name="connsiteY19" fmla="*/ 6888 h 10000"/>
              <a:gd name="connsiteX20" fmla="*/ 8572 w 10000"/>
              <a:gd name="connsiteY20" fmla="*/ 7296 h 10000"/>
              <a:gd name="connsiteX21" fmla="*/ 8609 w 10000"/>
              <a:gd name="connsiteY21" fmla="*/ 7656 h 10000"/>
              <a:gd name="connsiteX22" fmla="*/ 8793 w 10000"/>
              <a:gd name="connsiteY22" fmla="*/ 8266 h 10000"/>
              <a:gd name="connsiteX23" fmla="*/ 8537 w 10000"/>
              <a:gd name="connsiteY23" fmla="*/ 8625 h 10000"/>
              <a:gd name="connsiteX24" fmla="*/ 8537 w 10000"/>
              <a:gd name="connsiteY24" fmla="*/ 9033 h 10000"/>
              <a:gd name="connsiteX25" fmla="*/ 8537 w 10000"/>
              <a:gd name="connsiteY25" fmla="*/ 9287 h 10000"/>
              <a:gd name="connsiteX26" fmla="*/ 8170 w 10000"/>
              <a:gd name="connsiteY26" fmla="*/ 9439 h 10000"/>
              <a:gd name="connsiteX27" fmla="*/ 8097 w 10000"/>
              <a:gd name="connsiteY27" fmla="*/ 9694 h 10000"/>
              <a:gd name="connsiteX28" fmla="*/ 8134 w 10000"/>
              <a:gd name="connsiteY28" fmla="*/ 9950 h 10000"/>
              <a:gd name="connsiteX29" fmla="*/ 8023 w 10000"/>
              <a:gd name="connsiteY29" fmla="*/ 10000 h 10000"/>
              <a:gd name="connsiteX30" fmla="*/ 7766 w 10000"/>
              <a:gd name="connsiteY30" fmla="*/ 9643 h 10000"/>
              <a:gd name="connsiteX31" fmla="*/ 7546 w 10000"/>
              <a:gd name="connsiteY31" fmla="*/ 9542 h 10000"/>
              <a:gd name="connsiteX32" fmla="*/ 7400 w 10000"/>
              <a:gd name="connsiteY32" fmla="*/ 9439 h 10000"/>
              <a:gd name="connsiteX33" fmla="*/ 1502 w 10000"/>
              <a:gd name="connsiteY33" fmla="*/ 9643 h 10000"/>
              <a:gd name="connsiteX34" fmla="*/ 1428 w 10000"/>
              <a:gd name="connsiteY34" fmla="*/ 9185 h 10000"/>
              <a:gd name="connsiteX35" fmla="*/ 1428 w 10000"/>
              <a:gd name="connsiteY35" fmla="*/ 9085 h 10000"/>
              <a:gd name="connsiteX36" fmla="*/ 1428 w 10000"/>
              <a:gd name="connsiteY36" fmla="*/ 8726 h 10000"/>
              <a:gd name="connsiteX37" fmla="*/ 1466 w 10000"/>
              <a:gd name="connsiteY37" fmla="*/ 8421 h 10000"/>
              <a:gd name="connsiteX38" fmla="*/ 1392 w 10000"/>
              <a:gd name="connsiteY38" fmla="*/ 7961 h 10000"/>
              <a:gd name="connsiteX39" fmla="*/ 1246 w 10000"/>
              <a:gd name="connsiteY39" fmla="*/ 7397 h 10000"/>
              <a:gd name="connsiteX40" fmla="*/ 1173 w 10000"/>
              <a:gd name="connsiteY40" fmla="*/ 6991 h 10000"/>
              <a:gd name="connsiteX41" fmla="*/ 1356 w 10000"/>
              <a:gd name="connsiteY41" fmla="*/ 6684 h 10000"/>
              <a:gd name="connsiteX42" fmla="*/ 1062 w 10000"/>
              <a:gd name="connsiteY42" fmla="*/ 6226 h 10000"/>
              <a:gd name="connsiteX43" fmla="*/ 1062 w 10000"/>
              <a:gd name="connsiteY43" fmla="*/ 6124 h 10000"/>
              <a:gd name="connsiteX44" fmla="*/ 1100 w 10000"/>
              <a:gd name="connsiteY44" fmla="*/ 5614 h 10000"/>
              <a:gd name="connsiteX45" fmla="*/ 953 w 10000"/>
              <a:gd name="connsiteY45" fmla="*/ 5204 h 10000"/>
              <a:gd name="connsiteX46" fmla="*/ 696 w 10000"/>
              <a:gd name="connsiteY46" fmla="*/ 4388 h 10000"/>
              <a:gd name="connsiteX47" fmla="*/ 623 w 10000"/>
              <a:gd name="connsiteY47" fmla="*/ 3776 h 10000"/>
              <a:gd name="connsiteX48" fmla="*/ 623 w 10000"/>
              <a:gd name="connsiteY48" fmla="*/ 3367 h 10000"/>
              <a:gd name="connsiteX49" fmla="*/ 0 w 10000"/>
              <a:gd name="connsiteY49" fmla="*/ 2553 h 10000"/>
              <a:gd name="connsiteX50" fmla="*/ 477 w 10000"/>
              <a:gd name="connsiteY50" fmla="*/ 1990 h 10000"/>
              <a:gd name="connsiteX51" fmla="*/ 477 w 10000"/>
              <a:gd name="connsiteY51" fmla="*/ 1736 h 10000"/>
              <a:gd name="connsiteX52" fmla="*/ 477 w 10000"/>
              <a:gd name="connsiteY52" fmla="*/ 969 h 10000"/>
              <a:gd name="connsiteX53" fmla="*/ 147 w 10000"/>
              <a:gd name="connsiteY53" fmla="*/ 459 h 10000"/>
              <a:gd name="connsiteX54" fmla="*/ 257 w 10000"/>
              <a:gd name="connsiteY54" fmla="*/ 0 h 10000"/>
              <a:gd name="connsiteX0" fmla="*/ 257 w 10000"/>
              <a:gd name="connsiteY0" fmla="*/ 0 h 10000"/>
              <a:gd name="connsiteX1" fmla="*/ 8448 w 10000"/>
              <a:gd name="connsiteY1" fmla="*/ 90 h 10000"/>
              <a:gd name="connsiteX2" fmla="*/ 8353 w 10000"/>
              <a:gd name="connsiteY2" fmla="*/ 561 h 10000"/>
              <a:gd name="connsiteX3" fmla="*/ 8682 w 10000"/>
              <a:gd name="connsiteY3" fmla="*/ 969 h 10000"/>
              <a:gd name="connsiteX4" fmla="*/ 8631 w 10000"/>
              <a:gd name="connsiteY4" fmla="*/ 1264 h 10000"/>
              <a:gd name="connsiteX5" fmla="*/ 8426 w 10000"/>
              <a:gd name="connsiteY5" fmla="*/ 1938 h 10000"/>
              <a:gd name="connsiteX6" fmla="*/ 8537 w 10000"/>
              <a:gd name="connsiteY6" fmla="*/ 2194 h 10000"/>
              <a:gd name="connsiteX7" fmla="*/ 8572 w 10000"/>
              <a:gd name="connsiteY7" fmla="*/ 2502 h 10000"/>
              <a:gd name="connsiteX8" fmla="*/ 8976 w 10000"/>
              <a:gd name="connsiteY8" fmla="*/ 3011 h 10000"/>
              <a:gd name="connsiteX9" fmla="*/ 9458 w 10000"/>
              <a:gd name="connsiteY9" fmla="*/ 3329 h 10000"/>
              <a:gd name="connsiteX10" fmla="*/ 9561 w 10000"/>
              <a:gd name="connsiteY10" fmla="*/ 3930 h 10000"/>
              <a:gd name="connsiteX11" fmla="*/ 9743 w 10000"/>
              <a:gd name="connsiteY11" fmla="*/ 4286 h 10000"/>
              <a:gd name="connsiteX12" fmla="*/ 9890 w 10000"/>
              <a:gd name="connsiteY12" fmla="*/ 4542 h 10000"/>
              <a:gd name="connsiteX13" fmla="*/ 10000 w 10000"/>
              <a:gd name="connsiteY13" fmla="*/ 5307 h 10000"/>
              <a:gd name="connsiteX14" fmla="*/ 9781 w 10000"/>
              <a:gd name="connsiteY14" fmla="*/ 5765 h 10000"/>
              <a:gd name="connsiteX15" fmla="*/ 9670 w 10000"/>
              <a:gd name="connsiteY15" fmla="*/ 6022 h 10000"/>
              <a:gd name="connsiteX16" fmla="*/ 9670 w 10000"/>
              <a:gd name="connsiteY16" fmla="*/ 6480 h 10000"/>
              <a:gd name="connsiteX17" fmla="*/ 9233 w 10000"/>
              <a:gd name="connsiteY17" fmla="*/ 6428 h 10000"/>
              <a:gd name="connsiteX18" fmla="*/ 8902 w 10000"/>
              <a:gd name="connsiteY18" fmla="*/ 6684 h 10000"/>
              <a:gd name="connsiteX19" fmla="*/ 8756 w 10000"/>
              <a:gd name="connsiteY19" fmla="*/ 6888 h 10000"/>
              <a:gd name="connsiteX20" fmla="*/ 8572 w 10000"/>
              <a:gd name="connsiteY20" fmla="*/ 7296 h 10000"/>
              <a:gd name="connsiteX21" fmla="*/ 8609 w 10000"/>
              <a:gd name="connsiteY21" fmla="*/ 7656 h 10000"/>
              <a:gd name="connsiteX22" fmla="*/ 8793 w 10000"/>
              <a:gd name="connsiteY22" fmla="*/ 8266 h 10000"/>
              <a:gd name="connsiteX23" fmla="*/ 8537 w 10000"/>
              <a:gd name="connsiteY23" fmla="*/ 8625 h 10000"/>
              <a:gd name="connsiteX24" fmla="*/ 8537 w 10000"/>
              <a:gd name="connsiteY24" fmla="*/ 9033 h 10000"/>
              <a:gd name="connsiteX25" fmla="*/ 8170 w 10000"/>
              <a:gd name="connsiteY25" fmla="*/ 9439 h 10000"/>
              <a:gd name="connsiteX26" fmla="*/ 8097 w 10000"/>
              <a:gd name="connsiteY26" fmla="*/ 9694 h 10000"/>
              <a:gd name="connsiteX27" fmla="*/ 8134 w 10000"/>
              <a:gd name="connsiteY27" fmla="*/ 9950 h 10000"/>
              <a:gd name="connsiteX28" fmla="*/ 8023 w 10000"/>
              <a:gd name="connsiteY28" fmla="*/ 10000 h 10000"/>
              <a:gd name="connsiteX29" fmla="*/ 7766 w 10000"/>
              <a:gd name="connsiteY29" fmla="*/ 9643 h 10000"/>
              <a:gd name="connsiteX30" fmla="*/ 7546 w 10000"/>
              <a:gd name="connsiteY30" fmla="*/ 9542 h 10000"/>
              <a:gd name="connsiteX31" fmla="*/ 7400 w 10000"/>
              <a:gd name="connsiteY31" fmla="*/ 9439 h 10000"/>
              <a:gd name="connsiteX32" fmla="*/ 1502 w 10000"/>
              <a:gd name="connsiteY32" fmla="*/ 9643 h 10000"/>
              <a:gd name="connsiteX33" fmla="*/ 1428 w 10000"/>
              <a:gd name="connsiteY33" fmla="*/ 9185 h 10000"/>
              <a:gd name="connsiteX34" fmla="*/ 1428 w 10000"/>
              <a:gd name="connsiteY34" fmla="*/ 9085 h 10000"/>
              <a:gd name="connsiteX35" fmla="*/ 1428 w 10000"/>
              <a:gd name="connsiteY35" fmla="*/ 8726 h 10000"/>
              <a:gd name="connsiteX36" fmla="*/ 1466 w 10000"/>
              <a:gd name="connsiteY36" fmla="*/ 8421 h 10000"/>
              <a:gd name="connsiteX37" fmla="*/ 1392 w 10000"/>
              <a:gd name="connsiteY37" fmla="*/ 7961 h 10000"/>
              <a:gd name="connsiteX38" fmla="*/ 1246 w 10000"/>
              <a:gd name="connsiteY38" fmla="*/ 7397 h 10000"/>
              <a:gd name="connsiteX39" fmla="*/ 1173 w 10000"/>
              <a:gd name="connsiteY39" fmla="*/ 6991 h 10000"/>
              <a:gd name="connsiteX40" fmla="*/ 1356 w 10000"/>
              <a:gd name="connsiteY40" fmla="*/ 6684 h 10000"/>
              <a:gd name="connsiteX41" fmla="*/ 1062 w 10000"/>
              <a:gd name="connsiteY41" fmla="*/ 6226 h 10000"/>
              <a:gd name="connsiteX42" fmla="*/ 1062 w 10000"/>
              <a:gd name="connsiteY42" fmla="*/ 6124 h 10000"/>
              <a:gd name="connsiteX43" fmla="*/ 1100 w 10000"/>
              <a:gd name="connsiteY43" fmla="*/ 5614 h 10000"/>
              <a:gd name="connsiteX44" fmla="*/ 953 w 10000"/>
              <a:gd name="connsiteY44" fmla="*/ 5204 h 10000"/>
              <a:gd name="connsiteX45" fmla="*/ 696 w 10000"/>
              <a:gd name="connsiteY45" fmla="*/ 4388 h 10000"/>
              <a:gd name="connsiteX46" fmla="*/ 623 w 10000"/>
              <a:gd name="connsiteY46" fmla="*/ 3776 h 10000"/>
              <a:gd name="connsiteX47" fmla="*/ 623 w 10000"/>
              <a:gd name="connsiteY47" fmla="*/ 3367 h 10000"/>
              <a:gd name="connsiteX48" fmla="*/ 0 w 10000"/>
              <a:gd name="connsiteY48" fmla="*/ 2553 h 10000"/>
              <a:gd name="connsiteX49" fmla="*/ 477 w 10000"/>
              <a:gd name="connsiteY49" fmla="*/ 1990 h 10000"/>
              <a:gd name="connsiteX50" fmla="*/ 477 w 10000"/>
              <a:gd name="connsiteY50" fmla="*/ 1736 h 10000"/>
              <a:gd name="connsiteX51" fmla="*/ 477 w 10000"/>
              <a:gd name="connsiteY51" fmla="*/ 969 h 10000"/>
              <a:gd name="connsiteX52" fmla="*/ 147 w 10000"/>
              <a:gd name="connsiteY52" fmla="*/ 459 h 10000"/>
              <a:gd name="connsiteX53" fmla="*/ 257 w 10000"/>
              <a:gd name="connsiteY53" fmla="*/ 0 h 10000"/>
              <a:gd name="connsiteX0" fmla="*/ 257 w 10000"/>
              <a:gd name="connsiteY0" fmla="*/ 0 h 10000"/>
              <a:gd name="connsiteX1" fmla="*/ 8448 w 10000"/>
              <a:gd name="connsiteY1" fmla="*/ 90 h 10000"/>
              <a:gd name="connsiteX2" fmla="*/ 8353 w 10000"/>
              <a:gd name="connsiteY2" fmla="*/ 561 h 10000"/>
              <a:gd name="connsiteX3" fmla="*/ 8682 w 10000"/>
              <a:gd name="connsiteY3" fmla="*/ 969 h 10000"/>
              <a:gd name="connsiteX4" fmla="*/ 8631 w 10000"/>
              <a:gd name="connsiteY4" fmla="*/ 1264 h 10000"/>
              <a:gd name="connsiteX5" fmla="*/ 8426 w 10000"/>
              <a:gd name="connsiteY5" fmla="*/ 1938 h 10000"/>
              <a:gd name="connsiteX6" fmla="*/ 8537 w 10000"/>
              <a:gd name="connsiteY6" fmla="*/ 2194 h 10000"/>
              <a:gd name="connsiteX7" fmla="*/ 8572 w 10000"/>
              <a:gd name="connsiteY7" fmla="*/ 2502 h 10000"/>
              <a:gd name="connsiteX8" fmla="*/ 8976 w 10000"/>
              <a:gd name="connsiteY8" fmla="*/ 3011 h 10000"/>
              <a:gd name="connsiteX9" fmla="*/ 9458 w 10000"/>
              <a:gd name="connsiteY9" fmla="*/ 3329 h 10000"/>
              <a:gd name="connsiteX10" fmla="*/ 9561 w 10000"/>
              <a:gd name="connsiteY10" fmla="*/ 3930 h 10000"/>
              <a:gd name="connsiteX11" fmla="*/ 9743 w 10000"/>
              <a:gd name="connsiteY11" fmla="*/ 4286 h 10000"/>
              <a:gd name="connsiteX12" fmla="*/ 9890 w 10000"/>
              <a:gd name="connsiteY12" fmla="*/ 4542 h 10000"/>
              <a:gd name="connsiteX13" fmla="*/ 10000 w 10000"/>
              <a:gd name="connsiteY13" fmla="*/ 5307 h 10000"/>
              <a:gd name="connsiteX14" fmla="*/ 9781 w 10000"/>
              <a:gd name="connsiteY14" fmla="*/ 5765 h 10000"/>
              <a:gd name="connsiteX15" fmla="*/ 9670 w 10000"/>
              <a:gd name="connsiteY15" fmla="*/ 6022 h 10000"/>
              <a:gd name="connsiteX16" fmla="*/ 9670 w 10000"/>
              <a:gd name="connsiteY16" fmla="*/ 6480 h 10000"/>
              <a:gd name="connsiteX17" fmla="*/ 9233 w 10000"/>
              <a:gd name="connsiteY17" fmla="*/ 6428 h 10000"/>
              <a:gd name="connsiteX18" fmla="*/ 8902 w 10000"/>
              <a:gd name="connsiteY18" fmla="*/ 6684 h 10000"/>
              <a:gd name="connsiteX19" fmla="*/ 8756 w 10000"/>
              <a:gd name="connsiteY19" fmla="*/ 6888 h 10000"/>
              <a:gd name="connsiteX20" fmla="*/ 8572 w 10000"/>
              <a:gd name="connsiteY20" fmla="*/ 7296 h 10000"/>
              <a:gd name="connsiteX21" fmla="*/ 8609 w 10000"/>
              <a:gd name="connsiteY21" fmla="*/ 7656 h 10000"/>
              <a:gd name="connsiteX22" fmla="*/ 8793 w 10000"/>
              <a:gd name="connsiteY22" fmla="*/ 8266 h 10000"/>
              <a:gd name="connsiteX23" fmla="*/ 8537 w 10000"/>
              <a:gd name="connsiteY23" fmla="*/ 8625 h 10000"/>
              <a:gd name="connsiteX24" fmla="*/ 8170 w 10000"/>
              <a:gd name="connsiteY24" fmla="*/ 9439 h 10000"/>
              <a:gd name="connsiteX25" fmla="*/ 8097 w 10000"/>
              <a:gd name="connsiteY25" fmla="*/ 9694 h 10000"/>
              <a:gd name="connsiteX26" fmla="*/ 8134 w 10000"/>
              <a:gd name="connsiteY26" fmla="*/ 9950 h 10000"/>
              <a:gd name="connsiteX27" fmla="*/ 8023 w 10000"/>
              <a:gd name="connsiteY27" fmla="*/ 10000 h 10000"/>
              <a:gd name="connsiteX28" fmla="*/ 7766 w 10000"/>
              <a:gd name="connsiteY28" fmla="*/ 9643 h 10000"/>
              <a:gd name="connsiteX29" fmla="*/ 7546 w 10000"/>
              <a:gd name="connsiteY29" fmla="*/ 9542 h 10000"/>
              <a:gd name="connsiteX30" fmla="*/ 7400 w 10000"/>
              <a:gd name="connsiteY30" fmla="*/ 9439 h 10000"/>
              <a:gd name="connsiteX31" fmla="*/ 1502 w 10000"/>
              <a:gd name="connsiteY31" fmla="*/ 9643 h 10000"/>
              <a:gd name="connsiteX32" fmla="*/ 1428 w 10000"/>
              <a:gd name="connsiteY32" fmla="*/ 9185 h 10000"/>
              <a:gd name="connsiteX33" fmla="*/ 1428 w 10000"/>
              <a:gd name="connsiteY33" fmla="*/ 9085 h 10000"/>
              <a:gd name="connsiteX34" fmla="*/ 1428 w 10000"/>
              <a:gd name="connsiteY34" fmla="*/ 8726 h 10000"/>
              <a:gd name="connsiteX35" fmla="*/ 1466 w 10000"/>
              <a:gd name="connsiteY35" fmla="*/ 8421 h 10000"/>
              <a:gd name="connsiteX36" fmla="*/ 1392 w 10000"/>
              <a:gd name="connsiteY36" fmla="*/ 7961 h 10000"/>
              <a:gd name="connsiteX37" fmla="*/ 1246 w 10000"/>
              <a:gd name="connsiteY37" fmla="*/ 7397 h 10000"/>
              <a:gd name="connsiteX38" fmla="*/ 1173 w 10000"/>
              <a:gd name="connsiteY38" fmla="*/ 6991 h 10000"/>
              <a:gd name="connsiteX39" fmla="*/ 1356 w 10000"/>
              <a:gd name="connsiteY39" fmla="*/ 6684 h 10000"/>
              <a:gd name="connsiteX40" fmla="*/ 1062 w 10000"/>
              <a:gd name="connsiteY40" fmla="*/ 6226 h 10000"/>
              <a:gd name="connsiteX41" fmla="*/ 1062 w 10000"/>
              <a:gd name="connsiteY41" fmla="*/ 6124 h 10000"/>
              <a:gd name="connsiteX42" fmla="*/ 1100 w 10000"/>
              <a:gd name="connsiteY42" fmla="*/ 5614 h 10000"/>
              <a:gd name="connsiteX43" fmla="*/ 953 w 10000"/>
              <a:gd name="connsiteY43" fmla="*/ 5204 h 10000"/>
              <a:gd name="connsiteX44" fmla="*/ 696 w 10000"/>
              <a:gd name="connsiteY44" fmla="*/ 4388 h 10000"/>
              <a:gd name="connsiteX45" fmla="*/ 623 w 10000"/>
              <a:gd name="connsiteY45" fmla="*/ 3776 h 10000"/>
              <a:gd name="connsiteX46" fmla="*/ 623 w 10000"/>
              <a:gd name="connsiteY46" fmla="*/ 3367 h 10000"/>
              <a:gd name="connsiteX47" fmla="*/ 0 w 10000"/>
              <a:gd name="connsiteY47" fmla="*/ 2553 h 10000"/>
              <a:gd name="connsiteX48" fmla="*/ 477 w 10000"/>
              <a:gd name="connsiteY48" fmla="*/ 1990 h 10000"/>
              <a:gd name="connsiteX49" fmla="*/ 477 w 10000"/>
              <a:gd name="connsiteY49" fmla="*/ 1736 h 10000"/>
              <a:gd name="connsiteX50" fmla="*/ 477 w 10000"/>
              <a:gd name="connsiteY50" fmla="*/ 969 h 10000"/>
              <a:gd name="connsiteX51" fmla="*/ 147 w 10000"/>
              <a:gd name="connsiteY51" fmla="*/ 459 h 10000"/>
              <a:gd name="connsiteX52" fmla="*/ 257 w 10000"/>
              <a:gd name="connsiteY52" fmla="*/ 0 h 10000"/>
              <a:gd name="connsiteX0" fmla="*/ 257 w 10000"/>
              <a:gd name="connsiteY0" fmla="*/ 0 h 9950"/>
              <a:gd name="connsiteX1" fmla="*/ 8448 w 10000"/>
              <a:gd name="connsiteY1" fmla="*/ 90 h 9950"/>
              <a:gd name="connsiteX2" fmla="*/ 8353 w 10000"/>
              <a:gd name="connsiteY2" fmla="*/ 561 h 9950"/>
              <a:gd name="connsiteX3" fmla="*/ 8682 w 10000"/>
              <a:gd name="connsiteY3" fmla="*/ 969 h 9950"/>
              <a:gd name="connsiteX4" fmla="*/ 8631 w 10000"/>
              <a:gd name="connsiteY4" fmla="*/ 1264 h 9950"/>
              <a:gd name="connsiteX5" fmla="*/ 8426 w 10000"/>
              <a:gd name="connsiteY5" fmla="*/ 1938 h 9950"/>
              <a:gd name="connsiteX6" fmla="*/ 8537 w 10000"/>
              <a:gd name="connsiteY6" fmla="*/ 2194 h 9950"/>
              <a:gd name="connsiteX7" fmla="*/ 8572 w 10000"/>
              <a:gd name="connsiteY7" fmla="*/ 2502 h 9950"/>
              <a:gd name="connsiteX8" fmla="*/ 8976 w 10000"/>
              <a:gd name="connsiteY8" fmla="*/ 3011 h 9950"/>
              <a:gd name="connsiteX9" fmla="*/ 9458 w 10000"/>
              <a:gd name="connsiteY9" fmla="*/ 3329 h 9950"/>
              <a:gd name="connsiteX10" fmla="*/ 9561 w 10000"/>
              <a:gd name="connsiteY10" fmla="*/ 3930 h 9950"/>
              <a:gd name="connsiteX11" fmla="*/ 9743 w 10000"/>
              <a:gd name="connsiteY11" fmla="*/ 4286 h 9950"/>
              <a:gd name="connsiteX12" fmla="*/ 9890 w 10000"/>
              <a:gd name="connsiteY12" fmla="*/ 4542 h 9950"/>
              <a:gd name="connsiteX13" fmla="*/ 10000 w 10000"/>
              <a:gd name="connsiteY13" fmla="*/ 5307 h 9950"/>
              <a:gd name="connsiteX14" fmla="*/ 9781 w 10000"/>
              <a:gd name="connsiteY14" fmla="*/ 5765 h 9950"/>
              <a:gd name="connsiteX15" fmla="*/ 9670 w 10000"/>
              <a:gd name="connsiteY15" fmla="*/ 6022 h 9950"/>
              <a:gd name="connsiteX16" fmla="*/ 9670 w 10000"/>
              <a:gd name="connsiteY16" fmla="*/ 6480 h 9950"/>
              <a:gd name="connsiteX17" fmla="*/ 9233 w 10000"/>
              <a:gd name="connsiteY17" fmla="*/ 6428 h 9950"/>
              <a:gd name="connsiteX18" fmla="*/ 8902 w 10000"/>
              <a:gd name="connsiteY18" fmla="*/ 6684 h 9950"/>
              <a:gd name="connsiteX19" fmla="*/ 8756 w 10000"/>
              <a:gd name="connsiteY19" fmla="*/ 6888 h 9950"/>
              <a:gd name="connsiteX20" fmla="*/ 8572 w 10000"/>
              <a:gd name="connsiteY20" fmla="*/ 7296 h 9950"/>
              <a:gd name="connsiteX21" fmla="*/ 8609 w 10000"/>
              <a:gd name="connsiteY21" fmla="*/ 7656 h 9950"/>
              <a:gd name="connsiteX22" fmla="*/ 8793 w 10000"/>
              <a:gd name="connsiteY22" fmla="*/ 8266 h 9950"/>
              <a:gd name="connsiteX23" fmla="*/ 8537 w 10000"/>
              <a:gd name="connsiteY23" fmla="*/ 8625 h 9950"/>
              <a:gd name="connsiteX24" fmla="*/ 8170 w 10000"/>
              <a:gd name="connsiteY24" fmla="*/ 9439 h 9950"/>
              <a:gd name="connsiteX25" fmla="*/ 8097 w 10000"/>
              <a:gd name="connsiteY25" fmla="*/ 9694 h 9950"/>
              <a:gd name="connsiteX26" fmla="*/ 8134 w 10000"/>
              <a:gd name="connsiteY26" fmla="*/ 9950 h 9950"/>
              <a:gd name="connsiteX27" fmla="*/ 7766 w 10000"/>
              <a:gd name="connsiteY27" fmla="*/ 9643 h 9950"/>
              <a:gd name="connsiteX28" fmla="*/ 7546 w 10000"/>
              <a:gd name="connsiteY28" fmla="*/ 9542 h 9950"/>
              <a:gd name="connsiteX29" fmla="*/ 7400 w 10000"/>
              <a:gd name="connsiteY29" fmla="*/ 9439 h 9950"/>
              <a:gd name="connsiteX30" fmla="*/ 1502 w 10000"/>
              <a:gd name="connsiteY30" fmla="*/ 9643 h 9950"/>
              <a:gd name="connsiteX31" fmla="*/ 1428 w 10000"/>
              <a:gd name="connsiteY31" fmla="*/ 9185 h 9950"/>
              <a:gd name="connsiteX32" fmla="*/ 1428 w 10000"/>
              <a:gd name="connsiteY32" fmla="*/ 9085 h 9950"/>
              <a:gd name="connsiteX33" fmla="*/ 1428 w 10000"/>
              <a:gd name="connsiteY33" fmla="*/ 8726 h 9950"/>
              <a:gd name="connsiteX34" fmla="*/ 1466 w 10000"/>
              <a:gd name="connsiteY34" fmla="*/ 8421 h 9950"/>
              <a:gd name="connsiteX35" fmla="*/ 1392 w 10000"/>
              <a:gd name="connsiteY35" fmla="*/ 7961 h 9950"/>
              <a:gd name="connsiteX36" fmla="*/ 1246 w 10000"/>
              <a:gd name="connsiteY36" fmla="*/ 7397 h 9950"/>
              <a:gd name="connsiteX37" fmla="*/ 1173 w 10000"/>
              <a:gd name="connsiteY37" fmla="*/ 6991 h 9950"/>
              <a:gd name="connsiteX38" fmla="*/ 1356 w 10000"/>
              <a:gd name="connsiteY38" fmla="*/ 6684 h 9950"/>
              <a:gd name="connsiteX39" fmla="*/ 1062 w 10000"/>
              <a:gd name="connsiteY39" fmla="*/ 6226 h 9950"/>
              <a:gd name="connsiteX40" fmla="*/ 1062 w 10000"/>
              <a:gd name="connsiteY40" fmla="*/ 6124 h 9950"/>
              <a:gd name="connsiteX41" fmla="*/ 1100 w 10000"/>
              <a:gd name="connsiteY41" fmla="*/ 5614 h 9950"/>
              <a:gd name="connsiteX42" fmla="*/ 953 w 10000"/>
              <a:gd name="connsiteY42" fmla="*/ 5204 h 9950"/>
              <a:gd name="connsiteX43" fmla="*/ 696 w 10000"/>
              <a:gd name="connsiteY43" fmla="*/ 4388 h 9950"/>
              <a:gd name="connsiteX44" fmla="*/ 623 w 10000"/>
              <a:gd name="connsiteY44" fmla="*/ 3776 h 9950"/>
              <a:gd name="connsiteX45" fmla="*/ 623 w 10000"/>
              <a:gd name="connsiteY45" fmla="*/ 3367 h 9950"/>
              <a:gd name="connsiteX46" fmla="*/ 0 w 10000"/>
              <a:gd name="connsiteY46" fmla="*/ 2553 h 9950"/>
              <a:gd name="connsiteX47" fmla="*/ 477 w 10000"/>
              <a:gd name="connsiteY47" fmla="*/ 1990 h 9950"/>
              <a:gd name="connsiteX48" fmla="*/ 477 w 10000"/>
              <a:gd name="connsiteY48" fmla="*/ 1736 h 9950"/>
              <a:gd name="connsiteX49" fmla="*/ 477 w 10000"/>
              <a:gd name="connsiteY49" fmla="*/ 969 h 9950"/>
              <a:gd name="connsiteX50" fmla="*/ 147 w 10000"/>
              <a:gd name="connsiteY50" fmla="*/ 459 h 9950"/>
              <a:gd name="connsiteX51" fmla="*/ 257 w 10000"/>
              <a:gd name="connsiteY51" fmla="*/ 0 h 9950"/>
              <a:gd name="connsiteX0" fmla="*/ 257 w 10000"/>
              <a:gd name="connsiteY0" fmla="*/ 0 h 9753"/>
              <a:gd name="connsiteX1" fmla="*/ 8448 w 10000"/>
              <a:gd name="connsiteY1" fmla="*/ 90 h 9753"/>
              <a:gd name="connsiteX2" fmla="*/ 8353 w 10000"/>
              <a:gd name="connsiteY2" fmla="*/ 564 h 9753"/>
              <a:gd name="connsiteX3" fmla="*/ 8682 w 10000"/>
              <a:gd name="connsiteY3" fmla="*/ 974 h 9753"/>
              <a:gd name="connsiteX4" fmla="*/ 8631 w 10000"/>
              <a:gd name="connsiteY4" fmla="*/ 1270 h 9753"/>
              <a:gd name="connsiteX5" fmla="*/ 8426 w 10000"/>
              <a:gd name="connsiteY5" fmla="*/ 1948 h 9753"/>
              <a:gd name="connsiteX6" fmla="*/ 8537 w 10000"/>
              <a:gd name="connsiteY6" fmla="*/ 2205 h 9753"/>
              <a:gd name="connsiteX7" fmla="*/ 8572 w 10000"/>
              <a:gd name="connsiteY7" fmla="*/ 2515 h 9753"/>
              <a:gd name="connsiteX8" fmla="*/ 8976 w 10000"/>
              <a:gd name="connsiteY8" fmla="*/ 3026 h 9753"/>
              <a:gd name="connsiteX9" fmla="*/ 9458 w 10000"/>
              <a:gd name="connsiteY9" fmla="*/ 3346 h 9753"/>
              <a:gd name="connsiteX10" fmla="*/ 9561 w 10000"/>
              <a:gd name="connsiteY10" fmla="*/ 3950 h 9753"/>
              <a:gd name="connsiteX11" fmla="*/ 9743 w 10000"/>
              <a:gd name="connsiteY11" fmla="*/ 4308 h 9753"/>
              <a:gd name="connsiteX12" fmla="*/ 9890 w 10000"/>
              <a:gd name="connsiteY12" fmla="*/ 4565 h 9753"/>
              <a:gd name="connsiteX13" fmla="*/ 10000 w 10000"/>
              <a:gd name="connsiteY13" fmla="*/ 5334 h 9753"/>
              <a:gd name="connsiteX14" fmla="*/ 9781 w 10000"/>
              <a:gd name="connsiteY14" fmla="*/ 5794 h 9753"/>
              <a:gd name="connsiteX15" fmla="*/ 9670 w 10000"/>
              <a:gd name="connsiteY15" fmla="*/ 6052 h 9753"/>
              <a:gd name="connsiteX16" fmla="*/ 9670 w 10000"/>
              <a:gd name="connsiteY16" fmla="*/ 6513 h 9753"/>
              <a:gd name="connsiteX17" fmla="*/ 9233 w 10000"/>
              <a:gd name="connsiteY17" fmla="*/ 6460 h 9753"/>
              <a:gd name="connsiteX18" fmla="*/ 8902 w 10000"/>
              <a:gd name="connsiteY18" fmla="*/ 6718 h 9753"/>
              <a:gd name="connsiteX19" fmla="*/ 8756 w 10000"/>
              <a:gd name="connsiteY19" fmla="*/ 6923 h 9753"/>
              <a:gd name="connsiteX20" fmla="*/ 8572 w 10000"/>
              <a:gd name="connsiteY20" fmla="*/ 7333 h 9753"/>
              <a:gd name="connsiteX21" fmla="*/ 8609 w 10000"/>
              <a:gd name="connsiteY21" fmla="*/ 7694 h 9753"/>
              <a:gd name="connsiteX22" fmla="*/ 8793 w 10000"/>
              <a:gd name="connsiteY22" fmla="*/ 8308 h 9753"/>
              <a:gd name="connsiteX23" fmla="*/ 8537 w 10000"/>
              <a:gd name="connsiteY23" fmla="*/ 8668 h 9753"/>
              <a:gd name="connsiteX24" fmla="*/ 8170 w 10000"/>
              <a:gd name="connsiteY24" fmla="*/ 9486 h 9753"/>
              <a:gd name="connsiteX25" fmla="*/ 8097 w 10000"/>
              <a:gd name="connsiteY25" fmla="*/ 9743 h 9753"/>
              <a:gd name="connsiteX26" fmla="*/ 7766 w 10000"/>
              <a:gd name="connsiteY26" fmla="*/ 9691 h 9753"/>
              <a:gd name="connsiteX27" fmla="*/ 7546 w 10000"/>
              <a:gd name="connsiteY27" fmla="*/ 9590 h 9753"/>
              <a:gd name="connsiteX28" fmla="*/ 7400 w 10000"/>
              <a:gd name="connsiteY28" fmla="*/ 9486 h 9753"/>
              <a:gd name="connsiteX29" fmla="*/ 1502 w 10000"/>
              <a:gd name="connsiteY29" fmla="*/ 9691 h 9753"/>
              <a:gd name="connsiteX30" fmla="*/ 1428 w 10000"/>
              <a:gd name="connsiteY30" fmla="*/ 9231 h 9753"/>
              <a:gd name="connsiteX31" fmla="*/ 1428 w 10000"/>
              <a:gd name="connsiteY31" fmla="*/ 9131 h 9753"/>
              <a:gd name="connsiteX32" fmla="*/ 1428 w 10000"/>
              <a:gd name="connsiteY32" fmla="*/ 8770 h 9753"/>
              <a:gd name="connsiteX33" fmla="*/ 1466 w 10000"/>
              <a:gd name="connsiteY33" fmla="*/ 8463 h 9753"/>
              <a:gd name="connsiteX34" fmla="*/ 1392 w 10000"/>
              <a:gd name="connsiteY34" fmla="*/ 8001 h 9753"/>
              <a:gd name="connsiteX35" fmla="*/ 1246 w 10000"/>
              <a:gd name="connsiteY35" fmla="*/ 7434 h 9753"/>
              <a:gd name="connsiteX36" fmla="*/ 1173 w 10000"/>
              <a:gd name="connsiteY36" fmla="*/ 7026 h 9753"/>
              <a:gd name="connsiteX37" fmla="*/ 1356 w 10000"/>
              <a:gd name="connsiteY37" fmla="*/ 6718 h 9753"/>
              <a:gd name="connsiteX38" fmla="*/ 1062 w 10000"/>
              <a:gd name="connsiteY38" fmla="*/ 6257 h 9753"/>
              <a:gd name="connsiteX39" fmla="*/ 1062 w 10000"/>
              <a:gd name="connsiteY39" fmla="*/ 6155 h 9753"/>
              <a:gd name="connsiteX40" fmla="*/ 1100 w 10000"/>
              <a:gd name="connsiteY40" fmla="*/ 5642 h 9753"/>
              <a:gd name="connsiteX41" fmla="*/ 953 w 10000"/>
              <a:gd name="connsiteY41" fmla="*/ 5230 h 9753"/>
              <a:gd name="connsiteX42" fmla="*/ 696 w 10000"/>
              <a:gd name="connsiteY42" fmla="*/ 4410 h 9753"/>
              <a:gd name="connsiteX43" fmla="*/ 623 w 10000"/>
              <a:gd name="connsiteY43" fmla="*/ 3795 h 9753"/>
              <a:gd name="connsiteX44" fmla="*/ 623 w 10000"/>
              <a:gd name="connsiteY44" fmla="*/ 3384 h 9753"/>
              <a:gd name="connsiteX45" fmla="*/ 0 w 10000"/>
              <a:gd name="connsiteY45" fmla="*/ 2566 h 9753"/>
              <a:gd name="connsiteX46" fmla="*/ 477 w 10000"/>
              <a:gd name="connsiteY46" fmla="*/ 2000 h 9753"/>
              <a:gd name="connsiteX47" fmla="*/ 477 w 10000"/>
              <a:gd name="connsiteY47" fmla="*/ 1745 h 9753"/>
              <a:gd name="connsiteX48" fmla="*/ 477 w 10000"/>
              <a:gd name="connsiteY48" fmla="*/ 974 h 9753"/>
              <a:gd name="connsiteX49" fmla="*/ 147 w 10000"/>
              <a:gd name="connsiteY49" fmla="*/ 461 h 9753"/>
              <a:gd name="connsiteX50" fmla="*/ 257 w 10000"/>
              <a:gd name="connsiteY50" fmla="*/ 0 h 9753"/>
              <a:gd name="connsiteX0" fmla="*/ 257 w 10000"/>
              <a:gd name="connsiteY0" fmla="*/ 0 h 10000"/>
              <a:gd name="connsiteX1" fmla="*/ 8448 w 10000"/>
              <a:gd name="connsiteY1" fmla="*/ 92 h 10000"/>
              <a:gd name="connsiteX2" fmla="*/ 8353 w 10000"/>
              <a:gd name="connsiteY2" fmla="*/ 578 h 10000"/>
              <a:gd name="connsiteX3" fmla="*/ 8682 w 10000"/>
              <a:gd name="connsiteY3" fmla="*/ 999 h 10000"/>
              <a:gd name="connsiteX4" fmla="*/ 8631 w 10000"/>
              <a:gd name="connsiteY4" fmla="*/ 1302 h 10000"/>
              <a:gd name="connsiteX5" fmla="*/ 8426 w 10000"/>
              <a:gd name="connsiteY5" fmla="*/ 1997 h 10000"/>
              <a:gd name="connsiteX6" fmla="*/ 8537 w 10000"/>
              <a:gd name="connsiteY6" fmla="*/ 2261 h 10000"/>
              <a:gd name="connsiteX7" fmla="*/ 8572 w 10000"/>
              <a:gd name="connsiteY7" fmla="*/ 2579 h 10000"/>
              <a:gd name="connsiteX8" fmla="*/ 8976 w 10000"/>
              <a:gd name="connsiteY8" fmla="*/ 3103 h 10000"/>
              <a:gd name="connsiteX9" fmla="*/ 9458 w 10000"/>
              <a:gd name="connsiteY9" fmla="*/ 3431 h 10000"/>
              <a:gd name="connsiteX10" fmla="*/ 9561 w 10000"/>
              <a:gd name="connsiteY10" fmla="*/ 4050 h 10000"/>
              <a:gd name="connsiteX11" fmla="*/ 9743 w 10000"/>
              <a:gd name="connsiteY11" fmla="*/ 4417 h 10000"/>
              <a:gd name="connsiteX12" fmla="*/ 9890 w 10000"/>
              <a:gd name="connsiteY12" fmla="*/ 4681 h 10000"/>
              <a:gd name="connsiteX13" fmla="*/ 10000 w 10000"/>
              <a:gd name="connsiteY13" fmla="*/ 5469 h 10000"/>
              <a:gd name="connsiteX14" fmla="*/ 9781 w 10000"/>
              <a:gd name="connsiteY14" fmla="*/ 5941 h 10000"/>
              <a:gd name="connsiteX15" fmla="*/ 9670 w 10000"/>
              <a:gd name="connsiteY15" fmla="*/ 6205 h 10000"/>
              <a:gd name="connsiteX16" fmla="*/ 9670 w 10000"/>
              <a:gd name="connsiteY16" fmla="*/ 6678 h 10000"/>
              <a:gd name="connsiteX17" fmla="*/ 9233 w 10000"/>
              <a:gd name="connsiteY17" fmla="*/ 6624 h 10000"/>
              <a:gd name="connsiteX18" fmla="*/ 8902 w 10000"/>
              <a:gd name="connsiteY18" fmla="*/ 6888 h 10000"/>
              <a:gd name="connsiteX19" fmla="*/ 8756 w 10000"/>
              <a:gd name="connsiteY19" fmla="*/ 7098 h 10000"/>
              <a:gd name="connsiteX20" fmla="*/ 8572 w 10000"/>
              <a:gd name="connsiteY20" fmla="*/ 7519 h 10000"/>
              <a:gd name="connsiteX21" fmla="*/ 8609 w 10000"/>
              <a:gd name="connsiteY21" fmla="*/ 7889 h 10000"/>
              <a:gd name="connsiteX22" fmla="*/ 8793 w 10000"/>
              <a:gd name="connsiteY22" fmla="*/ 8518 h 10000"/>
              <a:gd name="connsiteX23" fmla="*/ 8537 w 10000"/>
              <a:gd name="connsiteY23" fmla="*/ 8888 h 10000"/>
              <a:gd name="connsiteX24" fmla="*/ 8170 w 10000"/>
              <a:gd name="connsiteY24" fmla="*/ 9726 h 10000"/>
              <a:gd name="connsiteX25" fmla="*/ 8097 w 10000"/>
              <a:gd name="connsiteY25" fmla="*/ 9990 h 10000"/>
              <a:gd name="connsiteX26" fmla="*/ 7766 w 10000"/>
              <a:gd name="connsiteY26" fmla="*/ 9936 h 10000"/>
              <a:gd name="connsiteX27" fmla="*/ 7400 w 10000"/>
              <a:gd name="connsiteY27" fmla="*/ 9726 h 10000"/>
              <a:gd name="connsiteX28" fmla="*/ 1502 w 10000"/>
              <a:gd name="connsiteY28" fmla="*/ 9936 h 10000"/>
              <a:gd name="connsiteX29" fmla="*/ 1428 w 10000"/>
              <a:gd name="connsiteY29" fmla="*/ 9465 h 10000"/>
              <a:gd name="connsiteX30" fmla="*/ 1428 w 10000"/>
              <a:gd name="connsiteY30" fmla="*/ 9362 h 10000"/>
              <a:gd name="connsiteX31" fmla="*/ 1428 w 10000"/>
              <a:gd name="connsiteY31" fmla="*/ 8992 h 10000"/>
              <a:gd name="connsiteX32" fmla="*/ 1466 w 10000"/>
              <a:gd name="connsiteY32" fmla="*/ 8677 h 10000"/>
              <a:gd name="connsiteX33" fmla="*/ 1392 w 10000"/>
              <a:gd name="connsiteY33" fmla="*/ 8204 h 10000"/>
              <a:gd name="connsiteX34" fmla="*/ 1246 w 10000"/>
              <a:gd name="connsiteY34" fmla="*/ 7622 h 10000"/>
              <a:gd name="connsiteX35" fmla="*/ 1173 w 10000"/>
              <a:gd name="connsiteY35" fmla="*/ 7204 h 10000"/>
              <a:gd name="connsiteX36" fmla="*/ 1356 w 10000"/>
              <a:gd name="connsiteY36" fmla="*/ 6888 h 10000"/>
              <a:gd name="connsiteX37" fmla="*/ 1062 w 10000"/>
              <a:gd name="connsiteY37" fmla="*/ 6415 h 10000"/>
              <a:gd name="connsiteX38" fmla="*/ 1062 w 10000"/>
              <a:gd name="connsiteY38" fmla="*/ 6311 h 10000"/>
              <a:gd name="connsiteX39" fmla="*/ 1100 w 10000"/>
              <a:gd name="connsiteY39" fmla="*/ 5785 h 10000"/>
              <a:gd name="connsiteX40" fmla="*/ 953 w 10000"/>
              <a:gd name="connsiteY40" fmla="*/ 5362 h 10000"/>
              <a:gd name="connsiteX41" fmla="*/ 696 w 10000"/>
              <a:gd name="connsiteY41" fmla="*/ 4522 h 10000"/>
              <a:gd name="connsiteX42" fmla="*/ 623 w 10000"/>
              <a:gd name="connsiteY42" fmla="*/ 3891 h 10000"/>
              <a:gd name="connsiteX43" fmla="*/ 623 w 10000"/>
              <a:gd name="connsiteY43" fmla="*/ 3470 h 10000"/>
              <a:gd name="connsiteX44" fmla="*/ 0 w 10000"/>
              <a:gd name="connsiteY44" fmla="*/ 2631 h 10000"/>
              <a:gd name="connsiteX45" fmla="*/ 477 w 10000"/>
              <a:gd name="connsiteY45" fmla="*/ 2051 h 10000"/>
              <a:gd name="connsiteX46" fmla="*/ 477 w 10000"/>
              <a:gd name="connsiteY46" fmla="*/ 1789 h 10000"/>
              <a:gd name="connsiteX47" fmla="*/ 477 w 10000"/>
              <a:gd name="connsiteY47" fmla="*/ 999 h 10000"/>
              <a:gd name="connsiteX48" fmla="*/ 147 w 10000"/>
              <a:gd name="connsiteY48" fmla="*/ 473 h 10000"/>
              <a:gd name="connsiteX49" fmla="*/ 257 w 10000"/>
              <a:gd name="connsiteY49" fmla="*/ 0 h 10000"/>
              <a:gd name="connsiteX0" fmla="*/ 257 w 10000"/>
              <a:gd name="connsiteY0" fmla="*/ 0 h 10000"/>
              <a:gd name="connsiteX1" fmla="*/ 8448 w 10000"/>
              <a:gd name="connsiteY1" fmla="*/ 92 h 10000"/>
              <a:gd name="connsiteX2" fmla="*/ 8353 w 10000"/>
              <a:gd name="connsiteY2" fmla="*/ 578 h 10000"/>
              <a:gd name="connsiteX3" fmla="*/ 8682 w 10000"/>
              <a:gd name="connsiteY3" fmla="*/ 999 h 10000"/>
              <a:gd name="connsiteX4" fmla="*/ 8631 w 10000"/>
              <a:gd name="connsiteY4" fmla="*/ 1302 h 10000"/>
              <a:gd name="connsiteX5" fmla="*/ 8426 w 10000"/>
              <a:gd name="connsiteY5" fmla="*/ 1997 h 10000"/>
              <a:gd name="connsiteX6" fmla="*/ 8537 w 10000"/>
              <a:gd name="connsiteY6" fmla="*/ 2261 h 10000"/>
              <a:gd name="connsiteX7" fmla="*/ 8572 w 10000"/>
              <a:gd name="connsiteY7" fmla="*/ 2579 h 10000"/>
              <a:gd name="connsiteX8" fmla="*/ 8976 w 10000"/>
              <a:gd name="connsiteY8" fmla="*/ 3103 h 10000"/>
              <a:gd name="connsiteX9" fmla="*/ 9458 w 10000"/>
              <a:gd name="connsiteY9" fmla="*/ 3431 h 10000"/>
              <a:gd name="connsiteX10" fmla="*/ 9561 w 10000"/>
              <a:gd name="connsiteY10" fmla="*/ 4050 h 10000"/>
              <a:gd name="connsiteX11" fmla="*/ 9743 w 10000"/>
              <a:gd name="connsiteY11" fmla="*/ 4417 h 10000"/>
              <a:gd name="connsiteX12" fmla="*/ 9890 w 10000"/>
              <a:gd name="connsiteY12" fmla="*/ 4681 h 10000"/>
              <a:gd name="connsiteX13" fmla="*/ 10000 w 10000"/>
              <a:gd name="connsiteY13" fmla="*/ 5469 h 10000"/>
              <a:gd name="connsiteX14" fmla="*/ 9781 w 10000"/>
              <a:gd name="connsiteY14" fmla="*/ 5941 h 10000"/>
              <a:gd name="connsiteX15" fmla="*/ 9670 w 10000"/>
              <a:gd name="connsiteY15" fmla="*/ 6205 h 10000"/>
              <a:gd name="connsiteX16" fmla="*/ 9670 w 10000"/>
              <a:gd name="connsiteY16" fmla="*/ 6678 h 10000"/>
              <a:gd name="connsiteX17" fmla="*/ 9233 w 10000"/>
              <a:gd name="connsiteY17" fmla="*/ 6624 h 10000"/>
              <a:gd name="connsiteX18" fmla="*/ 8902 w 10000"/>
              <a:gd name="connsiteY18" fmla="*/ 6888 h 10000"/>
              <a:gd name="connsiteX19" fmla="*/ 8756 w 10000"/>
              <a:gd name="connsiteY19" fmla="*/ 7098 h 10000"/>
              <a:gd name="connsiteX20" fmla="*/ 8572 w 10000"/>
              <a:gd name="connsiteY20" fmla="*/ 7519 h 10000"/>
              <a:gd name="connsiteX21" fmla="*/ 8609 w 10000"/>
              <a:gd name="connsiteY21" fmla="*/ 7889 h 10000"/>
              <a:gd name="connsiteX22" fmla="*/ 8793 w 10000"/>
              <a:gd name="connsiteY22" fmla="*/ 8518 h 10000"/>
              <a:gd name="connsiteX23" fmla="*/ 8537 w 10000"/>
              <a:gd name="connsiteY23" fmla="*/ 8888 h 10000"/>
              <a:gd name="connsiteX24" fmla="*/ 8170 w 10000"/>
              <a:gd name="connsiteY24" fmla="*/ 9726 h 10000"/>
              <a:gd name="connsiteX25" fmla="*/ 8097 w 10000"/>
              <a:gd name="connsiteY25" fmla="*/ 9990 h 10000"/>
              <a:gd name="connsiteX26" fmla="*/ 7766 w 10000"/>
              <a:gd name="connsiteY26" fmla="*/ 9936 h 10000"/>
              <a:gd name="connsiteX27" fmla="*/ 7400 w 10000"/>
              <a:gd name="connsiteY27" fmla="*/ 9726 h 10000"/>
              <a:gd name="connsiteX28" fmla="*/ 1502 w 10000"/>
              <a:gd name="connsiteY28" fmla="*/ 9936 h 10000"/>
              <a:gd name="connsiteX29" fmla="*/ 1428 w 10000"/>
              <a:gd name="connsiteY29" fmla="*/ 9465 h 10000"/>
              <a:gd name="connsiteX30" fmla="*/ 1223 w 10000"/>
              <a:gd name="connsiteY30" fmla="*/ 9322 h 10000"/>
              <a:gd name="connsiteX31" fmla="*/ 1428 w 10000"/>
              <a:gd name="connsiteY31" fmla="*/ 8992 h 10000"/>
              <a:gd name="connsiteX32" fmla="*/ 1466 w 10000"/>
              <a:gd name="connsiteY32" fmla="*/ 8677 h 10000"/>
              <a:gd name="connsiteX33" fmla="*/ 1392 w 10000"/>
              <a:gd name="connsiteY33" fmla="*/ 8204 h 10000"/>
              <a:gd name="connsiteX34" fmla="*/ 1246 w 10000"/>
              <a:gd name="connsiteY34" fmla="*/ 7622 h 10000"/>
              <a:gd name="connsiteX35" fmla="*/ 1173 w 10000"/>
              <a:gd name="connsiteY35" fmla="*/ 7204 h 10000"/>
              <a:gd name="connsiteX36" fmla="*/ 1356 w 10000"/>
              <a:gd name="connsiteY36" fmla="*/ 6888 h 10000"/>
              <a:gd name="connsiteX37" fmla="*/ 1062 w 10000"/>
              <a:gd name="connsiteY37" fmla="*/ 6415 h 10000"/>
              <a:gd name="connsiteX38" fmla="*/ 1062 w 10000"/>
              <a:gd name="connsiteY38" fmla="*/ 6311 h 10000"/>
              <a:gd name="connsiteX39" fmla="*/ 1100 w 10000"/>
              <a:gd name="connsiteY39" fmla="*/ 5785 h 10000"/>
              <a:gd name="connsiteX40" fmla="*/ 953 w 10000"/>
              <a:gd name="connsiteY40" fmla="*/ 5362 h 10000"/>
              <a:gd name="connsiteX41" fmla="*/ 696 w 10000"/>
              <a:gd name="connsiteY41" fmla="*/ 4522 h 10000"/>
              <a:gd name="connsiteX42" fmla="*/ 623 w 10000"/>
              <a:gd name="connsiteY42" fmla="*/ 3891 h 10000"/>
              <a:gd name="connsiteX43" fmla="*/ 623 w 10000"/>
              <a:gd name="connsiteY43" fmla="*/ 3470 h 10000"/>
              <a:gd name="connsiteX44" fmla="*/ 0 w 10000"/>
              <a:gd name="connsiteY44" fmla="*/ 2631 h 10000"/>
              <a:gd name="connsiteX45" fmla="*/ 477 w 10000"/>
              <a:gd name="connsiteY45" fmla="*/ 2051 h 10000"/>
              <a:gd name="connsiteX46" fmla="*/ 477 w 10000"/>
              <a:gd name="connsiteY46" fmla="*/ 1789 h 10000"/>
              <a:gd name="connsiteX47" fmla="*/ 477 w 10000"/>
              <a:gd name="connsiteY47" fmla="*/ 999 h 10000"/>
              <a:gd name="connsiteX48" fmla="*/ 147 w 10000"/>
              <a:gd name="connsiteY48" fmla="*/ 473 h 10000"/>
              <a:gd name="connsiteX49" fmla="*/ 257 w 10000"/>
              <a:gd name="connsiteY49" fmla="*/ 0 h 10000"/>
              <a:gd name="connsiteX0" fmla="*/ 257 w 10000"/>
              <a:gd name="connsiteY0" fmla="*/ 0 h 10000"/>
              <a:gd name="connsiteX1" fmla="*/ 8448 w 10000"/>
              <a:gd name="connsiteY1" fmla="*/ 92 h 10000"/>
              <a:gd name="connsiteX2" fmla="*/ 8353 w 10000"/>
              <a:gd name="connsiteY2" fmla="*/ 578 h 10000"/>
              <a:gd name="connsiteX3" fmla="*/ 8682 w 10000"/>
              <a:gd name="connsiteY3" fmla="*/ 999 h 10000"/>
              <a:gd name="connsiteX4" fmla="*/ 8631 w 10000"/>
              <a:gd name="connsiteY4" fmla="*/ 1302 h 10000"/>
              <a:gd name="connsiteX5" fmla="*/ 8426 w 10000"/>
              <a:gd name="connsiteY5" fmla="*/ 1997 h 10000"/>
              <a:gd name="connsiteX6" fmla="*/ 8537 w 10000"/>
              <a:gd name="connsiteY6" fmla="*/ 2261 h 10000"/>
              <a:gd name="connsiteX7" fmla="*/ 8572 w 10000"/>
              <a:gd name="connsiteY7" fmla="*/ 2579 h 10000"/>
              <a:gd name="connsiteX8" fmla="*/ 8976 w 10000"/>
              <a:gd name="connsiteY8" fmla="*/ 3103 h 10000"/>
              <a:gd name="connsiteX9" fmla="*/ 9458 w 10000"/>
              <a:gd name="connsiteY9" fmla="*/ 3431 h 10000"/>
              <a:gd name="connsiteX10" fmla="*/ 9561 w 10000"/>
              <a:gd name="connsiteY10" fmla="*/ 4050 h 10000"/>
              <a:gd name="connsiteX11" fmla="*/ 9743 w 10000"/>
              <a:gd name="connsiteY11" fmla="*/ 4417 h 10000"/>
              <a:gd name="connsiteX12" fmla="*/ 9890 w 10000"/>
              <a:gd name="connsiteY12" fmla="*/ 4681 h 10000"/>
              <a:gd name="connsiteX13" fmla="*/ 10000 w 10000"/>
              <a:gd name="connsiteY13" fmla="*/ 5469 h 10000"/>
              <a:gd name="connsiteX14" fmla="*/ 9781 w 10000"/>
              <a:gd name="connsiteY14" fmla="*/ 5941 h 10000"/>
              <a:gd name="connsiteX15" fmla="*/ 9670 w 10000"/>
              <a:gd name="connsiteY15" fmla="*/ 6205 h 10000"/>
              <a:gd name="connsiteX16" fmla="*/ 9670 w 10000"/>
              <a:gd name="connsiteY16" fmla="*/ 6678 h 10000"/>
              <a:gd name="connsiteX17" fmla="*/ 9233 w 10000"/>
              <a:gd name="connsiteY17" fmla="*/ 6624 h 10000"/>
              <a:gd name="connsiteX18" fmla="*/ 8902 w 10000"/>
              <a:gd name="connsiteY18" fmla="*/ 6888 h 10000"/>
              <a:gd name="connsiteX19" fmla="*/ 8756 w 10000"/>
              <a:gd name="connsiteY19" fmla="*/ 7098 h 10000"/>
              <a:gd name="connsiteX20" fmla="*/ 8572 w 10000"/>
              <a:gd name="connsiteY20" fmla="*/ 7519 h 10000"/>
              <a:gd name="connsiteX21" fmla="*/ 8609 w 10000"/>
              <a:gd name="connsiteY21" fmla="*/ 7889 h 10000"/>
              <a:gd name="connsiteX22" fmla="*/ 8793 w 10000"/>
              <a:gd name="connsiteY22" fmla="*/ 8518 h 10000"/>
              <a:gd name="connsiteX23" fmla="*/ 8537 w 10000"/>
              <a:gd name="connsiteY23" fmla="*/ 8888 h 10000"/>
              <a:gd name="connsiteX24" fmla="*/ 8170 w 10000"/>
              <a:gd name="connsiteY24" fmla="*/ 9726 h 10000"/>
              <a:gd name="connsiteX25" fmla="*/ 8097 w 10000"/>
              <a:gd name="connsiteY25" fmla="*/ 9990 h 10000"/>
              <a:gd name="connsiteX26" fmla="*/ 7766 w 10000"/>
              <a:gd name="connsiteY26" fmla="*/ 9936 h 10000"/>
              <a:gd name="connsiteX27" fmla="*/ 7400 w 10000"/>
              <a:gd name="connsiteY27" fmla="*/ 9726 h 10000"/>
              <a:gd name="connsiteX28" fmla="*/ 1502 w 10000"/>
              <a:gd name="connsiteY28" fmla="*/ 9936 h 10000"/>
              <a:gd name="connsiteX29" fmla="*/ 1428 w 10000"/>
              <a:gd name="connsiteY29" fmla="*/ 9465 h 10000"/>
              <a:gd name="connsiteX30" fmla="*/ 1223 w 10000"/>
              <a:gd name="connsiteY30" fmla="*/ 9322 h 10000"/>
              <a:gd name="connsiteX31" fmla="*/ 1120 w 10000"/>
              <a:gd name="connsiteY31" fmla="*/ 8931 h 10000"/>
              <a:gd name="connsiteX32" fmla="*/ 1466 w 10000"/>
              <a:gd name="connsiteY32" fmla="*/ 8677 h 10000"/>
              <a:gd name="connsiteX33" fmla="*/ 1392 w 10000"/>
              <a:gd name="connsiteY33" fmla="*/ 8204 h 10000"/>
              <a:gd name="connsiteX34" fmla="*/ 1246 w 10000"/>
              <a:gd name="connsiteY34" fmla="*/ 7622 h 10000"/>
              <a:gd name="connsiteX35" fmla="*/ 1173 w 10000"/>
              <a:gd name="connsiteY35" fmla="*/ 7204 h 10000"/>
              <a:gd name="connsiteX36" fmla="*/ 1356 w 10000"/>
              <a:gd name="connsiteY36" fmla="*/ 6888 h 10000"/>
              <a:gd name="connsiteX37" fmla="*/ 1062 w 10000"/>
              <a:gd name="connsiteY37" fmla="*/ 6415 h 10000"/>
              <a:gd name="connsiteX38" fmla="*/ 1062 w 10000"/>
              <a:gd name="connsiteY38" fmla="*/ 6311 h 10000"/>
              <a:gd name="connsiteX39" fmla="*/ 1100 w 10000"/>
              <a:gd name="connsiteY39" fmla="*/ 5785 h 10000"/>
              <a:gd name="connsiteX40" fmla="*/ 953 w 10000"/>
              <a:gd name="connsiteY40" fmla="*/ 5362 h 10000"/>
              <a:gd name="connsiteX41" fmla="*/ 696 w 10000"/>
              <a:gd name="connsiteY41" fmla="*/ 4522 h 10000"/>
              <a:gd name="connsiteX42" fmla="*/ 623 w 10000"/>
              <a:gd name="connsiteY42" fmla="*/ 3891 h 10000"/>
              <a:gd name="connsiteX43" fmla="*/ 623 w 10000"/>
              <a:gd name="connsiteY43" fmla="*/ 3470 h 10000"/>
              <a:gd name="connsiteX44" fmla="*/ 0 w 10000"/>
              <a:gd name="connsiteY44" fmla="*/ 2631 h 10000"/>
              <a:gd name="connsiteX45" fmla="*/ 477 w 10000"/>
              <a:gd name="connsiteY45" fmla="*/ 2051 h 10000"/>
              <a:gd name="connsiteX46" fmla="*/ 477 w 10000"/>
              <a:gd name="connsiteY46" fmla="*/ 1789 h 10000"/>
              <a:gd name="connsiteX47" fmla="*/ 477 w 10000"/>
              <a:gd name="connsiteY47" fmla="*/ 999 h 10000"/>
              <a:gd name="connsiteX48" fmla="*/ 147 w 10000"/>
              <a:gd name="connsiteY48" fmla="*/ 473 h 10000"/>
              <a:gd name="connsiteX49" fmla="*/ 257 w 10000"/>
              <a:gd name="connsiteY49" fmla="*/ 0 h 10000"/>
              <a:gd name="connsiteX0" fmla="*/ 257 w 10000"/>
              <a:gd name="connsiteY0" fmla="*/ 0 h 10000"/>
              <a:gd name="connsiteX1" fmla="*/ 8448 w 10000"/>
              <a:gd name="connsiteY1" fmla="*/ 92 h 10000"/>
              <a:gd name="connsiteX2" fmla="*/ 8353 w 10000"/>
              <a:gd name="connsiteY2" fmla="*/ 578 h 10000"/>
              <a:gd name="connsiteX3" fmla="*/ 8682 w 10000"/>
              <a:gd name="connsiteY3" fmla="*/ 999 h 10000"/>
              <a:gd name="connsiteX4" fmla="*/ 8631 w 10000"/>
              <a:gd name="connsiteY4" fmla="*/ 1302 h 10000"/>
              <a:gd name="connsiteX5" fmla="*/ 8426 w 10000"/>
              <a:gd name="connsiteY5" fmla="*/ 1997 h 10000"/>
              <a:gd name="connsiteX6" fmla="*/ 8537 w 10000"/>
              <a:gd name="connsiteY6" fmla="*/ 2261 h 10000"/>
              <a:gd name="connsiteX7" fmla="*/ 8572 w 10000"/>
              <a:gd name="connsiteY7" fmla="*/ 2579 h 10000"/>
              <a:gd name="connsiteX8" fmla="*/ 8976 w 10000"/>
              <a:gd name="connsiteY8" fmla="*/ 3103 h 10000"/>
              <a:gd name="connsiteX9" fmla="*/ 9458 w 10000"/>
              <a:gd name="connsiteY9" fmla="*/ 3431 h 10000"/>
              <a:gd name="connsiteX10" fmla="*/ 9561 w 10000"/>
              <a:gd name="connsiteY10" fmla="*/ 4050 h 10000"/>
              <a:gd name="connsiteX11" fmla="*/ 9743 w 10000"/>
              <a:gd name="connsiteY11" fmla="*/ 4417 h 10000"/>
              <a:gd name="connsiteX12" fmla="*/ 9890 w 10000"/>
              <a:gd name="connsiteY12" fmla="*/ 4681 h 10000"/>
              <a:gd name="connsiteX13" fmla="*/ 10000 w 10000"/>
              <a:gd name="connsiteY13" fmla="*/ 5469 h 10000"/>
              <a:gd name="connsiteX14" fmla="*/ 9781 w 10000"/>
              <a:gd name="connsiteY14" fmla="*/ 5941 h 10000"/>
              <a:gd name="connsiteX15" fmla="*/ 9670 w 10000"/>
              <a:gd name="connsiteY15" fmla="*/ 6205 h 10000"/>
              <a:gd name="connsiteX16" fmla="*/ 9670 w 10000"/>
              <a:gd name="connsiteY16" fmla="*/ 6678 h 10000"/>
              <a:gd name="connsiteX17" fmla="*/ 9233 w 10000"/>
              <a:gd name="connsiteY17" fmla="*/ 6624 h 10000"/>
              <a:gd name="connsiteX18" fmla="*/ 8902 w 10000"/>
              <a:gd name="connsiteY18" fmla="*/ 6888 h 10000"/>
              <a:gd name="connsiteX19" fmla="*/ 8756 w 10000"/>
              <a:gd name="connsiteY19" fmla="*/ 7098 h 10000"/>
              <a:gd name="connsiteX20" fmla="*/ 8572 w 10000"/>
              <a:gd name="connsiteY20" fmla="*/ 7519 h 10000"/>
              <a:gd name="connsiteX21" fmla="*/ 8609 w 10000"/>
              <a:gd name="connsiteY21" fmla="*/ 7889 h 10000"/>
              <a:gd name="connsiteX22" fmla="*/ 8793 w 10000"/>
              <a:gd name="connsiteY22" fmla="*/ 8518 h 10000"/>
              <a:gd name="connsiteX23" fmla="*/ 8537 w 10000"/>
              <a:gd name="connsiteY23" fmla="*/ 8888 h 10000"/>
              <a:gd name="connsiteX24" fmla="*/ 8170 w 10000"/>
              <a:gd name="connsiteY24" fmla="*/ 9726 h 10000"/>
              <a:gd name="connsiteX25" fmla="*/ 8097 w 10000"/>
              <a:gd name="connsiteY25" fmla="*/ 9990 h 10000"/>
              <a:gd name="connsiteX26" fmla="*/ 7766 w 10000"/>
              <a:gd name="connsiteY26" fmla="*/ 9936 h 10000"/>
              <a:gd name="connsiteX27" fmla="*/ 7400 w 10000"/>
              <a:gd name="connsiteY27" fmla="*/ 9726 h 10000"/>
              <a:gd name="connsiteX28" fmla="*/ 1502 w 10000"/>
              <a:gd name="connsiteY28" fmla="*/ 9936 h 10000"/>
              <a:gd name="connsiteX29" fmla="*/ 1428 w 10000"/>
              <a:gd name="connsiteY29" fmla="*/ 9465 h 10000"/>
              <a:gd name="connsiteX30" fmla="*/ 1223 w 10000"/>
              <a:gd name="connsiteY30" fmla="*/ 9322 h 10000"/>
              <a:gd name="connsiteX31" fmla="*/ 1120 w 10000"/>
              <a:gd name="connsiteY31" fmla="*/ 8931 h 10000"/>
              <a:gd name="connsiteX32" fmla="*/ 1145 w 10000"/>
              <a:gd name="connsiteY32" fmla="*/ 8453 h 10000"/>
              <a:gd name="connsiteX33" fmla="*/ 1392 w 10000"/>
              <a:gd name="connsiteY33" fmla="*/ 8204 h 10000"/>
              <a:gd name="connsiteX34" fmla="*/ 1246 w 10000"/>
              <a:gd name="connsiteY34" fmla="*/ 7622 h 10000"/>
              <a:gd name="connsiteX35" fmla="*/ 1173 w 10000"/>
              <a:gd name="connsiteY35" fmla="*/ 7204 h 10000"/>
              <a:gd name="connsiteX36" fmla="*/ 1356 w 10000"/>
              <a:gd name="connsiteY36" fmla="*/ 6888 h 10000"/>
              <a:gd name="connsiteX37" fmla="*/ 1062 w 10000"/>
              <a:gd name="connsiteY37" fmla="*/ 6415 h 10000"/>
              <a:gd name="connsiteX38" fmla="*/ 1062 w 10000"/>
              <a:gd name="connsiteY38" fmla="*/ 6311 h 10000"/>
              <a:gd name="connsiteX39" fmla="*/ 1100 w 10000"/>
              <a:gd name="connsiteY39" fmla="*/ 5785 h 10000"/>
              <a:gd name="connsiteX40" fmla="*/ 953 w 10000"/>
              <a:gd name="connsiteY40" fmla="*/ 5362 h 10000"/>
              <a:gd name="connsiteX41" fmla="*/ 696 w 10000"/>
              <a:gd name="connsiteY41" fmla="*/ 4522 h 10000"/>
              <a:gd name="connsiteX42" fmla="*/ 623 w 10000"/>
              <a:gd name="connsiteY42" fmla="*/ 3891 h 10000"/>
              <a:gd name="connsiteX43" fmla="*/ 623 w 10000"/>
              <a:gd name="connsiteY43" fmla="*/ 3470 h 10000"/>
              <a:gd name="connsiteX44" fmla="*/ 0 w 10000"/>
              <a:gd name="connsiteY44" fmla="*/ 2631 h 10000"/>
              <a:gd name="connsiteX45" fmla="*/ 477 w 10000"/>
              <a:gd name="connsiteY45" fmla="*/ 2051 h 10000"/>
              <a:gd name="connsiteX46" fmla="*/ 477 w 10000"/>
              <a:gd name="connsiteY46" fmla="*/ 1789 h 10000"/>
              <a:gd name="connsiteX47" fmla="*/ 477 w 10000"/>
              <a:gd name="connsiteY47" fmla="*/ 999 h 10000"/>
              <a:gd name="connsiteX48" fmla="*/ 147 w 10000"/>
              <a:gd name="connsiteY48" fmla="*/ 473 h 10000"/>
              <a:gd name="connsiteX49" fmla="*/ 257 w 10000"/>
              <a:gd name="connsiteY49" fmla="*/ 0 h 10000"/>
              <a:gd name="connsiteX0" fmla="*/ 257 w 10000"/>
              <a:gd name="connsiteY0" fmla="*/ 0 h 10000"/>
              <a:gd name="connsiteX1" fmla="*/ 8448 w 10000"/>
              <a:gd name="connsiteY1" fmla="*/ 92 h 10000"/>
              <a:gd name="connsiteX2" fmla="*/ 8353 w 10000"/>
              <a:gd name="connsiteY2" fmla="*/ 578 h 10000"/>
              <a:gd name="connsiteX3" fmla="*/ 8682 w 10000"/>
              <a:gd name="connsiteY3" fmla="*/ 999 h 10000"/>
              <a:gd name="connsiteX4" fmla="*/ 8631 w 10000"/>
              <a:gd name="connsiteY4" fmla="*/ 1302 h 10000"/>
              <a:gd name="connsiteX5" fmla="*/ 8426 w 10000"/>
              <a:gd name="connsiteY5" fmla="*/ 1997 h 10000"/>
              <a:gd name="connsiteX6" fmla="*/ 8537 w 10000"/>
              <a:gd name="connsiteY6" fmla="*/ 2261 h 10000"/>
              <a:gd name="connsiteX7" fmla="*/ 8572 w 10000"/>
              <a:gd name="connsiteY7" fmla="*/ 2579 h 10000"/>
              <a:gd name="connsiteX8" fmla="*/ 8976 w 10000"/>
              <a:gd name="connsiteY8" fmla="*/ 3103 h 10000"/>
              <a:gd name="connsiteX9" fmla="*/ 9458 w 10000"/>
              <a:gd name="connsiteY9" fmla="*/ 3431 h 10000"/>
              <a:gd name="connsiteX10" fmla="*/ 9561 w 10000"/>
              <a:gd name="connsiteY10" fmla="*/ 4050 h 10000"/>
              <a:gd name="connsiteX11" fmla="*/ 9743 w 10000"/>
              <a:gd name="connsiteY11" fmla="*/ 4417 h 10000"/>
              <a:gd name="connsiteX12" fmla="*/ 9890 w 10000"/>
              <a:gd name="connsiteY12" fmla="*/ 4681 h 10000"/>
              <a:gd name="connsiteX13" fmla="*/ 10000 w 10000"/>
              <a:gd name="connsiteY13" fmla="*/ 5469 h 10000"/>
              <a:gd name="connsiteX14" fmla="*/ 9781 w 10000"/>
              <a:gd name="connsiteY14" fmla="*/ 5941 h 10000"/>
              <a:gd name="connsiteX15" fmla="*/ 9670 w 10000"/>
              <a:gd name="connsiteY15" fmla="*/ 6205 h 10000"/>
              <a:gd name="connsiteX16" fmla="*/ 9670 w 10000"/>
              <a:gd name="connsiteY16" fmla="*/ 6678 h 10000"/>
              <a:gd name="connsiteX17" fmla="*/ 9233 w 10000"/>
              <a:gd name="connsiteY17" fmla="*/ 6624 h 10000"/>
              <a:gd name="connsiteX18" fmla="*/ 8902 w 10000"/>
              <a:gd name="connsiteY18" fmla="*/ 6888 h 10000"/>
              <a:gd name="connsiteX19" fmla="*/ 8756 w 10000"/>
              <a:gd name="connsiteY19" fmla="*/ 7098 h 10000"/>
              <a:gd name="connsiteX20" fmla="*/ 8572 w 10000"/>
              <a:gd name="connsiteY20" fmla="*/ 7519 h 10000"/>
              <a:gd name="connsiteX21" fmla="*/ 8609 w 10000"/>
              <a:gd name="connsiteY21" fmla="*/ 7889 h 10000"/>
              <a:gd name="connsiteX22" fmla="*/ 8793 w 10000"/>
              <a:gd name="connsiteY22" fmla="*/ 8518 h 10000"/>
              <a:gd name="connsiteX23" fmla="*/ 8537 w 10000"/>
              <a:gd name="connsiteY23" fmla="*/ 8888 h 10000"/>
              <a:gd name="connsiteX24" fmla="*/ 8170 w 10000"/>
              <a:gd name="connsiteY24" fmla="*/ 9726 h 10000"/>
              <a:gd name="connsiteX25" fmla="*/ 8097 w 10000"/>
              <a:gd name="connsiteY25" fmla="*/ 9990 h 10000"/>
              <a:gd name="connsiteX26" fmla="*/ 7766 w 10000"/>
              <a:gd name="connsiteY26" fmla="*/ 9936 h 10000"/>
              <a:gd name="connsiteX27" fmla="*/ 7400 w 10000"/>
              <a:gd name="connsiteY27" fmla="*/ 9726 h 10000"/>
              <a:gd name="connsiteX28" fmla="*/ 1502 w 10000"/>
              <a:gd name="connsiteY28" fmla="*/ 9936 h 10000"/>
              <a:gd name="connsiteX29" fmla="*/ 1428 w 10000"/>
              <a:gd name="connsiteY29" fmla="*/ 9465 h 10000"/>
              <a:gd name="connsiteX30" fmla="*/ 1223 w 10000"/>
              <a:gd name="connsiteY30" fmla="*/ 9322 h 10000"/>
              <a:gd name="connsiteX31" fmla="*/ 1120 w 10000"/>
              <a:gd name="connsiteY31" fmla="*/ 8931 h 10000"/>
              <a:gd name="connsiteX32" fmla="*/ 1145 w 10000"/>
              <a:gd name="connsiteY32" fmla="*/ 8453 h 10000"/>
              <a:gd name="connsiteX33" fmla="*/ 1167 w 10000"/>
              <a:gd name="connsiteY33" fmla="*/ 8079 h 10000"/>
              <a:gd name="connsiteX34" fmla="*/ 1246 w 10000"/>
              <a:gd name="connsiteY34" fmla="*/ 7622 h 10000"/>
              <a:gd name="connsiteX35" fmla="*/ 1173 w 10000"/>
              <a:gd name="connsiteY35" fmla="*/ 7204 h 10000"/>
              <a:gd name="connsiteX36" fmla="*/ 1356 w 10000"/>
              <a:gd name="connsiteY36" fmla="*/ 6888 h 10000"/>
              <a:gd name="connsiteX37" fmla="*/ 1062 w 10000"/>
              <a:gd name="connsiteY37" fmla="*/ 6415 h 10000"/>
              <a:gd name="connsiteX38" fmla="*/ 1062 w 10000"/>
              <a:gd name="connsiteY38" fmla="*/ 6311 h 10000"/>
              <a:gd name="connsiteX39" fmla="*/ 1100 w 10000"/>
              <a:gd name="connsiteY39" fmla="*/ 5785 h 10000"/>
              <a:gd name="connsiteX40" fmla="*/ 953 w 10000"/>
              <a:gd name="connsiteY40" fmla="*/ 5362 h 10000"/>
              <a:gd name="connsiteX41" fmla="*/ 696 w 10000"/>
              <a:gd name="connsiteY41" fmla="*/ 4522 h 10000"/>
              <a:gd name="connsiteX42" fmla="*/ 623 w 10000"/>
              <a:gd name="connsiteY42" fmla="*/ 3891 h 10000"/>
              <a:gd name="connsiteX43" fmla="*/ 623 w 10000"/>
              <a:gd name="connsiteY43" fmla="*/ 3470 h 10000"/>
              <a:gd name="connsiteX44" fmla="*/ 0 w 10000"/>
              <a:gd name="connsiteY44" fmla="*/ 2631 h 10000"/>
              <a:gd name="connsiteX45" fmla="*/ 477 w 10000"/>
              <a:gd name="connsiteY45" fmla="*/ 2051 h 10000"/>
              <a:gd name="connsiteX46" fmla="*/ 477 w 10000"/>
              <a:gd name="connsiteY46" fmla="*/ 1789 h 10000"/>
              <a:gd name="connsiteX47" fmla="*/ 477 w 10000"/>
              <a:gd name="connsiteY47" fmla="*/ 999 h 10000"/>
              <a:gd name="connsiteX48" fmla="*/ 147 w 10000"/>
              <a:gd name="connsiteY48" fmla="*/ 473 h 10000"/>
              <a:gd name="connsiteX49" fmla="*/ 257 w 10000"/>
              <a:gd name="connsiteY49" fmla="*/ 0 h 10000"/>
              <a:gd name="connsiteX0" fmla="*/ 257 w 10000"/>
              <a:gd name="connsiteY0" fmla="*/ 0 h 10000"/>
              <a:gd name="connsiteX1" fmla="*/ 8448 w 10000"/>
              <a:gd name="connsiteY1" fmla="*/ 92 h 10000"/>
              <a:gd name="connsiteX2" fmla="*/ 8353 w 10000"/>
              <a:gd name="connsiteY2" fmla="*/ 578 h 10000"/>
              <a:gd name="connsiteX3" fmla="*/ 8682 w 10000"/>
              <a:gd name="connsiteY3" fmla="*/ 999 h 10000"/>
              <a:gd name="connsiteX4" fmla="*/ 8631 w 10000"/>
              <a:gd name="connsiteY4" fmla="*/ 1302 h 10000"/>
              <a:gd name="connsiteX5" fmla="*/ 8426 w 10000"/>
              <a:gd name="connsiteY5" fmla="*/ 1997 h 10000"/>
              <a:gd name="connsiteX6" fmla="*/ 8537 w 10000"/>
              <a:gd name="connsiteY6" fmla="*/ 2261 h 10000"/>
              <a:gd name="connsiteX7" fmla="*/ 8572 w 10000"/>
              <a:gd name="connsiteY7" fmla="*/ 2579 h 10000"/>
              <a:gd name="connsiteX8" fmla="*/ 8976 w 10000"/>
              <a:gd name="connsiteY8" fmla="*/ 3103 h 10000"/>
              <a:gd name="connsiteX9" fmla="*/ 9458 w 10000"/>
              <a:gd name="connsiteY9" fmla="*/ 3431 h 10000"/>
              <a:gd name="connsiteX10" fmla="*/ 9561 w 10000"/>
              <a:gd name="connsiteY10" fmla="*/ 4050 h 10000"/>
              <a:gd name="connsiteX11" fmla="*/ 9743 w 10000"/>
              <a:gd name="connsiteY11" fmla="*/ 4417 h 10000"/>
              <a:gd name="connsiteX12" fmla="*/ 9890 w 10000"/>
              <a:gd name="connsiteY12" fmla="*/ 4681 h 10000"/>
              <a:gd name="connsiteX13" fmla="*/ 10000 w 10000"/>
              <a:gd name="connsiteY13" fmla="*/ 5469 h 10000"/>
              <a:gd name="connsiteX14" fmla="*/ 9781 w 10000"/>
              <a:gd name="connsiteY14" fmla="*/ 5941 h 10000"/>
              <a:gd name="connsiteX15" fmla="*/ 9670 w 10000"/>
              <a:gd name="connsiteY15" fmla="*/ 6205 h 10000"/>
              <a:gd name="connsiteX16" fmla="*/ 9670 w 10000"/>
              <a:gd name="connsiteY16" fmla="*/ 6678 h 10000"/>
              <a:gd name="connsiteX17" fmla="*/ 9233 w 10000"/>
              <a:gd name="connsiteY17" fmla="*/ 6624 h 10000"/>
              <a:gd name="connsiteX18" fmla="*/ 8902 w 10000"/>
              <a:gd name="connsiteY18" fmla="*/ 6888 h 10000"/>
              <a:gd name="connsiteX19" fmla="*/ 8756 w 10000"/>
              <a:gd name="connsiteY19" fmla="*/ 7098 h 10000"/>
              <a:gd name="connsiteX20" fmla="*/ 8572 w 10000"/>
              <a:gd name="connsiteY20" fmla="*/ 7519 h 10000"/>
              <a:gd name="connsiteX21" fmla="*/ 8609 w 10000"/>
              <a:gd name="connsiteY21" fmla="*/ 7889 h 10000"/>
              <a:gd name="connsiteX22" fmla="*/ 8793 w 10000"/>
              <a:gd name="connsiteY22" fmla="*/ 8518 h 10000"/>
              <a:gd name="connsiteX23" fmla="*/ 8537 w 10000"/>
              <a:gd name="connsiteY23" fmla="*/ 8888 h 10000"/>
              <a:gd name="connsiteX24" fmla="*/ 8170 w 10000"/>
              <a:gd name="connsiteY24" fmla="*/ 9726 h 10000"/>
              <a:gd name="connsiteX25" fmla="*/ 8097 w 10000"/>
              <a:gd name="connsiteY25" fmla="*/ 9990 h 10000"/>
              <a:gd name="connsiteX26" fmla="*/ 7766 w 10000"/>
              <a:gd name="connsiteY26" fmla="*/ 9936 h 10000"/>
              <a:gd name="connsiteX27" fmla="*/ 7400 w 10000"/>
              <a:gd name="connsiteY27" fmla="*/ 9726 h 10000"/>
              <a:gd name="connsiteX28" fmla="*/ 1502 w 10000"/>
              <a:gd name="connsiteY28" fmla="*/ 9936 h 10000"/>
              <a:gd name="connsiteX29" fmla="*/ 1428 w 10000"/>
              <a:gd name="connsiteY29" fmla="*/ 9465 h 10000"/>
              <a:gd name="connsiteX30" fmla="*/ 1223 w 10000"/>
              <a:gd name="connsiteY30" fmla="*/ 9322 h 10000"/>
              <a:gd name="connsiteX31" fmla="*/ 1120 w 10000"/>
              <a:gd name="connsiteY31" fmla="*/ 8931 h 10000"/>
              <a:gd name="connsiteX32" fmla="*/ 1145 w 10000"/>
              <a:gd name="connsiteY32" fmla="*/ 8453 h 10000"/>
              <a:gd name="connsiteX33" fmla="*/ 1167 w 10000"/>
              <a:gd name="connsiteY33" fmla="*/ 8079 h 10000"/>
              <a:gd name="connsiteX34" fmla="*/ 1246 w 10000"/>
              <a:gd name="connsiteY34" fmla="*/ 7622 h 10000"/>
              <a:gd name="connsiteX35" fmla="*/ 1173 w 10000"/>
              <a:gd name="connsiteY35" fmla="*/ 7204 h 10000"/>
              <a:gd name="connsiteX36" fmla="*/ 1051 w 10000"/>
              <a:gd name="connsiteY36" fmla="*/ 6788 h 10000"/>
              <a:gd name="connsiteX37" fmla="*/ 1062 w 10000"/>
              <a:gd name="connsiteY37" fmla="*/ 6415 h 10000"/>
              <a:gd name="connsiteX38" fmla="*/ 1062 w 10000"/>
              <a:gd name="connsiteY38" fmla="*/ 6311 h 10000"/>
              <a:gd name="connsiteX39" fmla="*/ 1100 w 10000"/>
              <a:gd name="connsiteY39" fmla="*/ 5785 h 10000"/>
              <a:gd name="connsiteX40" fmla="*/ 953 w 10000"/>
              <a:gd name="connsiteY40" fmla="*/ 5362 h 10000"/>
              <a:gd name="connsiteX41" fmla="*/ 696 w 10000"/>
              <a:gd name="connsiteY41" fmla="*/ 4522 h 10000"/>
              <a:gd name="connsiteX42" fmla="*/ 623 w 10000"/>
              <a:gd name="connsiteY42" fmla="*/ 3891 h 10000"/>
              <a:gd name="connsiteX43" fmla="*/ 623 w 10000"/>
              <a:gd name="connsiteY43" fmla="*/ 3470 h 10000"/>
              <a:gd name="connsiteX44" fmla="*/ 0 w 10000"/>
              <a:gd name="connsiteY44" fmla="*/ 2631 h 10000"/>
              <a:gd name="connsiteX45" fmla="*/ 477 w 10000"/>
              <a:gd name="connsiteY45" fmla="*/ 2051 h 10000"/>
              <a:gd name="connsiteX46" fmla="*/ 477 w 10000"/>
              <a:gd name="connsiteY46" fmla="*/ 1789 h 10000"/>
              <a:gd name="connsiteX47" fmla="*/ 477 w 10000"/>
              <a:gd name="connsiteY47" fmla="*/ 999 h 10000"/>
              <a:gd name="connsiteX48" fmla="*/ 147 w 10000"/>
              <a:gd name="connsiteY48" fmla="*/ 473 h 10000"/>
              <a:gd name="connsiteX49" fmla="*/ 257 w 10000"/>
              <a:gd name="connsiteY49" fmla="*/ 0 h 10000"/>
              <a:gd name="connsiteX0" fmla="*/ 257 w 10000"/>
              <a:gd name="connsiteY0" fmla="*/ 0 h 10000"/>
              <a:gd name="connsiteX1" fmla="*/ 8448 w 10000"/>
              <a:gd name="connsiteY1" fmla="*/ 92 h 10000"/>
              <a:gd name="connsiteX2" fmla="*/ 8353 w 10000"/>
              <a:gd name="connsiteY2" fmla="*/ 578 h 10000"/>
              <a:gd name="connsiteX3" fmla="*/ 8682 w 10000"/>
              <a:gd name="connsiteY3" fmla="*/ 999 h 10000"/>
              <a:gd name="connsiteX4" fmla="*/ 8631 w 10000"/>
              <a:gd name="connsiteY4" fmla="*/ 1302 h 10000"/>
              <a:gd name="connsiteX5" fmla="*/ 8426 w 10000"/>
              <a:gd name="connsiteY5" fmla="*/ 1997 h 10000"/>
              <a:gd name="connsiteX6" fmla="*/ 8537 w 10000"/>
              <a:gd name="connsiteY6" fmla="*/ 2261 h 10000"/>
              <a:gd name="connsiteX7" fmla="*/ 8572 w 10000"/>
              <a:gd name="connsiteY7" fmla="*/ 2579 h 10000"/>
              <a:gd name="connsiteX8" fmla="*/ 8976 w 10000"/>
              <a:gd name="connsiteY8" fmla="*/ 3103 h 10000"/>
              <a:gd name="connsiteX9" fmla="*/ 9458 w 10000"/>
              <a:gd name="connsiteY9" fmla="*/ 3431 h 10000"/>
              <a:gd name="connsiteX10" fmla="*/ 9561 w 10000"/>
              <a:gd name="connsiteY10" fmla="*/ 4050 h 10000"/>
              <a:gd name="connsiteX11" fmla="*/ 9743 w 10000"/>
              <a:gd name="connsiteY11" fmla="*/ 4417 h 10000"/>
              <a:gd name="connsiteX12" fmla="*/ 9890 w 10000"/>
              <a:gd name="connsiteY12" fmla="*/ 4681 h 10000"/>
              <a:gd name="connsiteX13" fmla="*/ 10000 w 10000"/>
              <a:gd name="connsiteY13" fmla="*/ 5469 h 10000"/>
              <a:gd name="connsiteX14" fmla="*/ 9781 w 10000"/>
              <a:gd name="connsiteY14" fmla="*/ 5941 h 10000"/>
              <a:gd name="connsiteX15" fmla="*/ 9670 w 10000"/>
              <a:gd name="connsiteY15" fmla="*/ 6205 h 10000"/>
              <a:gd name="connsiteX16" fmla="*/ 9670 w 10000"/>
              <a:gd name="connsiteY16" fmla="*/ 6678 h 10000"/>
              <a:gd name="connsiteX17" fmla="*/ 9233 w 10000"/>
              <a:gd name="connsiteY17" fmla="*/ 6624 h 10000"/>
              <a:gd name="connsiteX18" fmla="*/ 8902 w 10000"/>
              <a:gd name="connsiteY18" fmla="*/ 6888 h 10000"/>
              <a:gd name="connsiteX19" fmla="*/ 8756 w 10000"/>
              <a:gd name="connsiteY19" fmla="*/ 7098 h 10000"/>
              <a:gd name="connsiteX20" fmla="*/ 8572 w 10000"/>
              <a:gd name="connsiteY20" fmla="*/ 7519 h 10000"/>
              <a:gd name="connsiteX21" fmla="*/ 8609 w 10000"/>
              <a:gd name="connsiteY21" fmla="*/ 7889 h 10000"/>
              <a:gd name="connsiteX22" fmla="*/ 8793 w 10000"/>
              <a:gd name="connsiteY22" fmla="*/ 8518 h 10000"/>
              <a:gd name="connsiteX23" fmla="*/ 8537 w 10000"/>
              <a:gd name="connsiteY23" fmla="*/ 8888 h 10000"/>
              <a:gd name="connsiteX24" fmla="*/ 8170 w 10000"/>
              <a:gd name="connsiteY24" fmla="*/ 9726 h 10000"/>
              <a:gd name="connsiteX25" fmla="*/ 8097 w 10000"/>
              <a:gd name="connsiteY25" fmla="*/ 9990 h 10000"/>
              <a:gd name="connsiteX26" fmla="*/ 7766 w 10000"/>
              <a:gd name="connsiteY26" fmla="*/ 9936 h 10000"/>
              <a:gd name="connsiteX27" fmla="*/ 7400 w 10000"/>
              <a:gd name="connsiteY27" fmla="*/ 9726 h 10000"/>
              <a:gd name="connsiteX28" fmla="*/ 1502 w 10000"/>
              <a:gd name="connsiteY28" fmla="*/ 9936 h 10000"/>
              <a:gd name="connsiteX29" fmla="*/ 1428 w 10000"/>
              <a:gd name="connsiteY29" fmla="*/ 9465 h 10000"/>
              <a:gd name="connsiteX30" fmla="*/ 1223 w 10000"/>
              <a:gd name="connsiteY30" fmla="*/ 9322 h 10000"/>
              <a:gd name="connsiteX31" fmla="*/ 1120 w 10000"/>
              <a:gd name="connsiteY31" fmla="*/ 8931 h 10000"/>
              <a:gd name="connsiteX32" fmla="*/ 1145 w 10000"/>
              <a:gd name="connsiteY32" fmla="*/ 8453 h 10000"/>
              <a:gd name="connsiteX33" fmla="*/ 1167 w 10000"/>
              <a:gd name="connsiteY33" fmla="*/ 8079 h 10000"/>
              <a:gd name="connsiteX34" fmla="*/ 1246 w 10000"/>
              <a:gd name="connsiteY34" fmla="*/ 7622 h 10000"/>
              <a:gd name="connsiteX35" fmla="*/ 1173 w 10000"/>
              <a:gd name="connsiteY35" fmla="*/ 7204 h 10000"/>
              <a:gd name="connsiteX36" fmla="*/ 1051 w 10000"/>
              <a:gd name="connsiteY36" fmla="*/ 6788 h 10000"/>
              <a:gd name="connsiteX37" fmla="*/ 1062 w 10000"/>
              <a:gd name="connsiteY37" fmla="*/ 6415 h 10000"/>
              <a:gd name="connsiteX38" fmla="*/ 1062 w 10000"/>
              <a:gd name="connsiteY38" fmla="*/ 6311 h 10000"/>
              <a:gd name="connsiteX39" fmla="*/ 1100 w 10000"/>
              <a:gd name="connsiteY39" fmla="*/ 5785 h 10000"/>
              <a:gd name="connsiteX40" fmla="*/ 953 w 10000"/>
              <a:gd name="connsiteY40" fmla="*/ 5362 h 10000"/>
              <a:gd name="connsiteX41" fmla="*/ 696 w 10000"/>
              <a:gd name="connsiteY41" fmla="*/ 4522 h 10000"/>
              <a:gd name="connsiteX42" fmla="*/ 623 w 10000"/>
              <a:gd name="connsiteY42" fmla="*/ 3891 h 10000"/>
              <a:gd name="connsiteX43" fmla="*/ 623 w 10000"/>
              <a:gd name="connsiteY43" fmla="*/ 3470 h 10000"/>
              <a:gd name="connsiteX44" fmla="*/ 0 w 10000"/>
              <a:gd name="connsiteY44" fmla="*/ 2631 h 10000"/>
              <a:gd name="connsiteX45" fmla="*/ 477 w 10000"/>
              <a:gd name="connsiteY45" fmla="*/ 2051 h 10000"/>
              <a:gd name="connsiteX46" fmla="*/ 477 w 10000"/>
              <a:gd name="connsiteY46" fmla="*/ 1789 h 10000"/>
              <a:gd name="connsiteX47" fmla="*/ 477 w 10000"/>
              <a:gd name="connsiteY47" fmla="*/ 999 h 10000"/>
              <a:gd name="connsiteX48" fmla="*/ 532 w 10000"/>
              <a:gd name="connsiteY48" fmla="*/ 549 h 10000"/>
              <a:gd name="connsiteX49" fmla="*/ 257 w 10000"/>
              <a:gd name="connsiteY49" fmla="*/ 0 h 10000"/>
              <a:gd name="connsiteX0" fmla="*/ 257 w 10000"/>
              <a:gd name="connsiteY0" fmla="*/ 0 h 10000"/>
              <a:gd name="connsiteX1" fmla="*/ 8448 w 10000"/>
              <a:gd name="connsiteY1" fmla="*/ 92 h 10000"/>
              <a:gd name="connsiteX2" fmla="*/ 8353 w 10000"/>
              <a:gd name="connsiteY2" fmla="*/ 578 h 10000"/>
              <a:gd name="connsiteX3" fmla="*/ 8682 w 10000"/>
              <a:gd name="connsiteY3" fmla="*/ 999 h 10000"/>
              <a:gd name="connsiteX4" fmla="*/ 8631 w 10000"/>
              <a:gd name="connsiteY4" fmla="*/ 1302 h 10000"/>
              <a:gd name="connsiteX5" fmla="*/ 8426 w 10000"/>
              <a:gd name="connsiteY5" fmla="*/ 1997 h 10000"/>
              <a:gd name="connsiteX6" fmla="*/ 8537 w 10000"/>
              <a:gd name="connsiteY6" fmla="*/ 2261 h 10000"/>
              <a:gd name="connsiteX7" fmla="*/ 8572 w 10000"/>
              <a:gd name="connsiteY7" fmla="*/ 2579 h 10000"/>
              <a:gd name="connsiteX8" fmla="*/ 8976 w 10000"/>
              <a:gd name="connsiteY8" fmla="*/ 3103 h 10000"/>
              <a:gd name="connsiteX9" fmla="*/ 9458 w 10000"/>
              <a:gd name="connsiteY9" fmla="*/ 3431 h 10000"/>
              <a:gd name="connsiteX10" fmla="*/ 9561 w 10000"/>
              <a:gd name="connsiteY10" fmla="*/ 4050 h 10000"/>
              <a:gd name="connsiteX11" fmla="*/ 9743 w 10000"/>
              <a:gd name="connsiteY11" fmla="*/ 4417 h 10000"/>
              <a:gd name="connsiteX12" fmla="*/ 9890 w 10000"/>
              <a:gd name="connsiteY12" fmla="*/ 4681 h 10000"/>
              <a:gd name="connsiteX13" fmla="*/ 10000 w 10000"/>
              <a:gd name="connsiteY13" fmla="*/ 5469 h 10000"/>
              <a:gd name="connsiteX14" fmla="*/ 9781 w 10000"/>
              <a:gd name="connsiteY14" fmla="*/ 5941 h 10000"/>
              <a:gd name="connsiteX15" fmla="*/ 9670 w 10000"/>
              <a:gd name="connsiteY15" fmla="*/ 6205 h 10000"/>
              <a:gd name="connsiteX16" fmla="*/ 9670 w 10000"/>
              <a:gd name="connsiteY16" fmla="*/ 6678 h 10000"/>
              <a:gd name="connsiteX17" fmla="*/ 9233 w 10000"/>
              <a:gd name="connsiteY17" fmla="*/ 6624 h 10000"/>
              <a:gd name="connsiteX18" fmla="*/ 8902 w 10000"/>
              <a:gd name="connsiteY18" fmla="*/ 6888 h 10000"/>
              <a:gd name="connsiteX19" fmla="*/ 8756 w 10000"/>
              <a:gd name="connsiteY19" fmla="*/ 7098 h 10000"/>
              <a:gd name="connsiteX20" fmla="*/ 8572 w 10000"/>
              <a:gd name="connsiteY20" fmla="*/ 7519 h 10000"/>
              <a:gd name="connsiteX21" fmla="*/ 8609 w 10000"/>
              <a:gd name="connsiteY21" fmla="*/ 7889 h 10000"/>
              <a:gd name="connsiteX22" fmla="*/ 8793 w 10000"/>
              <a:gd name="connsiteY22" fmla="*/ 8518 h 10000"/>
              <a:gd name="connsiteX23" fmla="*/ 8537 w 10000"/>
              <a:gd name="connsiteY23" fmla="*/ 8888 h 10000"/>
              <a:gd name="connsiteX24" fmla="*/ 8170 w 10000"/>
              <a:gd name="connsiteY24" fmla="*/ 9726 h 10000"/>
              <a:gd name="connsiteX25" fmla="*/ 8097 w 10000"/>
              <a:gd name="connsiteY25" fmla="*/ 9990 h 10000"/>
              <a:gd name="connsiteX26" fmla="*/ 7766 w 10000"/>
              <a:gd name="connsiteY26" fmla="*/ 9936 h 10000"/>
              <a:gd name="connsiteX27" fmla="*/ 7400 w 10000"/>
              <a:gd name="connsiteY27" fmla="*/ 9726 h 10000"/>
              <a:gd name="connsiteX28" fmla="*/ 1502 w 10000"/>
              <a:gd name="connsiteY28" fmla="*/ 9936 h 10000"/>
              <a:gd name="connsiteX29" fmla="*/ 1428 w 10000"/>
              <a:gd name="connsiteY29" fmla="*/ 9465 h 10000"/>
              <a:gd name="connsiteX30" fmla="*/ 1223 w 10000"/>
              <a:gd name="connsiteY30" fmla="*/ 9322 h 10000"/>
              <a:gd name="connsiteX31" fmla="*/ 1120 w 10000"/>
              <a:gd name="connsiteY31" fmla="*/ 8931 h 10000"/>
              <a:gd name="connsiteX32" fmla="*/ 1145 w 10000"/>
              <a:gd name="connsiteY32" fmla="*/ 8453 h 10000"/>
              <a:gd name="connsiteX33" fmla="*/ 1167 w 10000"/>
              <a:gd name="connsiteY33" fmla="*/ 8079 h 10000"/>
              <a:gd name="connsiteX34" fmla="*/ 1246 w 10000"/>
              <a:gd name="connsiteY34" fmla="*/ 7622 h 10000"/>
              <a:gd name="connsiteX35" fmla="*/ 1173 w 10000"/>
              <a:gd name="connsiteY35" fmla="*/ 7204 h 10000"/>
              <a:gd name="connsiteX36" fmla="*/ 1051 w 10000"/>
              <a:gd name="connsiteY36" fmla="*/ 6788 h 10000"/>
              <a:gd name="connsiteX37" fmla="*/ 1062 w 10000"/>
              <a:gd name="connsiteY37" fmla="*/ 6415 h 10000"/>
              <a:gd name="connsiteX38" fmla="*/ 1062 w 10000"/>
              <a:gd name="connsiteY38" fmla="*/ 6311 h 10000"/>
              <a:gd name="connsiteX39" fmla="*/ 1100 w 10000"/>
              <a:gd name="connsiteY39" fmla="*/ 5785 h 10000"/>
              <a:gd name="connsiteX40" fmla="*/ 953 w 10000"/>
              <a:gd name="connsiteY40" fmla="*/ 5362 h 10000"/>
              <a:gd name="connsiteX41" fmla="*/ 696 w 10000"/>
              <a:gd name="connsiteY41" fmla="*/ 4522 h 10000"/>
              <a:gd name="connsiteX42" fmla="*/ 623 w 10000"/>
              <a:gd name="connsiteY42" fmla="*/ 3891 h 10000"/>
              <a:gd name="connsiteX43" fmla="*/ 623 w 10000"/>
              <a:gd name="connsiteY43" fmla="*/ 3470 h 10000"/>
              <a:gd name="connsiteX44" fmla="*/ 0 w 10000"/>
              <a:gd name="connsiteY44" fmla="*/ 2631 h 10000"/>
              <a:gd name="connsiteX45" fmla="*/ 477 w 10000"/>
              <a:gd name="connsiteY45" fmla="*/ 2051 h 10000"/>
              <a:gd name="connsiteX46" fmla="*/ 477 w 10000"/>
              <a:gd name="connsiteY46" fmla="*/ 1789 h 10000"/>
              <a:gd name="connsiteX47" fmla="*/ 477 w 10000"/>
              <a:gd name="connsiteY47" fmla="*/ 999 h 10000"/>
              <a:gd name="connsiteX48" fmla="*/ 532 w 10000"/>
              <a:gd name="connsiteY48" fmla="*/ 549 h 10000"/>
              <a:gd name="connsiteX49" fmla="*/ 4732 w 10000"/>
              <a:gd name="connsiteY49" fmla="*/ 478 h 10000"/>
              <a:gd name="connsiteX0" fmla="*/ 8448 w 10000"/>
              <a:gd name="connsiteY0" fmla="*/ 0 h 9908"/>
              <a:gd name="connsiteX1" fmla="*/ 8353 w 10000"/>
              <a:gd name="connsiteY1" fmla="*/ 486 h 9908"/>
              <a:gd name="connsiteX2" fmla="*/ 8682 w 10000"/>
              <a:gd name="connsiteY2" fmla="*/ 907 h 9908"/>
              <a:gd name="connsiteX3" fmla="*/ 8631 w 10000"/>
              <a:gd name="connsiteY3" fmla="*/ 1210 h 9908"/>
              <a:gd name="connsiteX4" fmla="*/ 8426 w 10000"/>
              <a:gd name="connsiteY4" fmla="*/ 1905 h 9908"/>
              <a:gd name="connsiteX5" fmla="*/ 8537 w 10000"/>
              <a:gd name="connsiteY5" fmla="*/ 2169 h 9908"/>
              <a:gd name="connsiteX6" fmla="*/ 8572 w 10000"/>
              <a:gd name="connsiteY6" fmla="*/ 2487 h 9908"/>
              <a:gd name="connsiteX7" fmla="*/ 8976 w 10000"/>
              <a:gd name="connsiteY7" fmla="*/ 3011 h 9908"/>
              <a:gd name="connsiteX8" fmla="*/ 9458 w 10000"/>
              <a:gd name="connsiteY8" fmla="*/ 3339 h 9908"/>
              <a:gd name="connsiteX9" fmla="*/ 9561 w 10000"/>
              <a:gd name="connsiteY9" fmla="*/ 3958 h 9908"/>
              <a:gd name="connsiteX10" fmla="*/ 9743 w 10000"/>
              <a:gd name="connsiteY10" fmla="*/ 4325 h 9908"/>
              <a:gd name="connsiteX11" fmla="*/ 9890 w 10000"/>
              <a:gd name="connsiteY11" fmla="*/ 4589 h 9908"/>
              <a:gd name="connsiteX12" fmla="*/ 10000 w 10000"/>
              <a:gd name="connsiteY12" fmla="*/ 5377 h 9908"/>
              <a:gd name="connsiteX13" fmla="*/ 9781 w 10000"/>
              <a:gd name="connsiteY13" fmla="*/ 5849 h 9908"/>
              <a:gd name="connsiteX14" fmla="*/ 9670 w 10000"/>
              <a:gd name="connsiteY14" fmla="*/ 6113 h 9908"/>
              <a:gd name="connsiteX15" fmla="*/ 9670 w 10000"/>
              <a:gd name="connsiteY15" fmla="*/ 6586 h 9908"/>
              <a:gd name="connsiteX16" fmla="*/ 9233 w 10000"/>
              <a:gd name="connsiteY16" fmla="*/ 6532 h 9908"/>
              <a:gd name="connsiteX17" fmla="*/ 8902 w 10000"/>
              <a:gd name="connsiteY17" fmla="*/ 6796 h 9908"/>
              <a:gd name="connsiteX18" fmla="*/ 8756 w 10000"/>
              <a:gd name="connsiteY18" fmla="*/ 7006 h 9908"/>
              <a:gd name="connsiteX19" fmla="*/ 8572 w 10000"/>
              <a:gd name="connsiteY19" fmla="*/ 7427 h 9908"/>
              <a:gd name="connsiteX20" fmla="*/ 8609 w 10000"/>
              <a:gd name="connsiteY20" fmla="*/ 7797 h 9908"/>
              <a:gd name="connsiteX21" fmla="*/ 8793 w 10000"/>
              <a:gd name="connsiteY21" fmla="*/ 8426 h 9908"/>
              <a:gd name="connsiteX22" fmla="*/ 8537 w 10000"/>
              <a:gd name="connsiteY22" fmla="*/ 8796 h 9908"/>
              <a:gd name="connsiteX23" fmla="*/ 8170 w 10000"/>
              <a:gd name="connsiteY23" fmla="*/ 9634 h 9908"/>
              <a:gd name="connsiteX24" fmla="*/ 8097 w 10000"/>
              <a:gd name="connsiteY24" fmla="*/ 9898 h 9908"/>
              <a:gd name="connsiteX25" fmla="*/ 7766 w 10000"/>
              <a:gd name="connsiteY25" fmla="*/ 9844 h 9908"/>
              <a:gd name="connsiteX26" fmla="*/ 7400 w 10000"/>
              <a:gd name="connsiteY26" fmla="*/ 9634 h 9908"/>
              <a:gd name="connsiteX27" fmla="*/ 1502 w 10000"/>
              <a:gd name="connsiteY27" fmla="*/ 9844 h 9908"/>
              <a:gd name="connsiteX28" fmla="*/ 1428 w 10000"/>
              <a:gd name="connsiteY28" fmla="*/ 9373 h 9908"/>
              <a:gd name="connsiteX29" fmla="*/ 1223 w 10000"/>
              <a:gd name="connsiteY29" fmla="*/ 9230 h 9908"/>
              <a:gd name="connsiteX30" fmla="*/ 1120 w 10000"/>
              <a:gd name="connsiteY30" fmla="*/ 8839 h 9908"/>
              <a:gd name="connsiteX31" fmla="*/ 1145 w 10000"/>
              <a:gd name="connsiteY31" fmla="*/ 8361 h 9908"/>
              <a:gd name="connsiteX32" fmla="*/ 1167 w 10000"/>
              <a:gd name="connsiteY32" fmla="*/ 7987 h 9908"/>
              <a:gd name="connsiteX33" fmla="*/ 1246 w 10000"/>
              <a:gd name="connsiteY33" fmla="*/ 7530 h 9908"/>
              <a:gd name="connsiteX34" fmla="*/ 1173 w 10000"/>
              <a:gd name="connsiteY34" fmla="*/ 7112 h 9908"/>
              <a:gd name="connsiteX35" fmla="*/ 1051 w 10000"/>
              <a:gd name="connsiteY35" fmla="*/ 6696 h 9908"/>
              <a:gd name="connsiteX36" fmla="*/ 1062 w 10000"/>
              <a:gd name="connsiteY36" fmla="*/ 6323 h 9908"/>
              <a:gd name="connsiteX37" fmla="*/ 1062 w 10000"/>
              <a:gd name="connsiteY37" fmla="*/ 6219 h 9908"/>
              <a:gd name="connsiteX38" fmla="*/ 1100 w 10000"/>
              <a:gd name="connsiteY38" fmla="*/ 5693 h 9908"/>
              <a:gd name="connsiteX39" fmla="*/ 953 w 10000"/>
              <a:gd name="connsiteY39" fmla="*/ 5270 h 9908"/>
              <a:gd name="connsiteX40" fmla="*/ 696 w 10000"/>
              <a:gd name="connsiteY40" fmla="*/ 4430 h 9908"/>
              <a:gd name="connsiteX41" fmla="*/ 623 w 10000"/>
              <a:gd name="connsiteY41" fmla="*/ 3799 h 9908"/>
              <a:gd name="connsiteX42" fmla="*/ 623 w 10000"/>
              <a:gd name="connsiteY42" fmla="*/ 3378 h 9908"/>
              <a:gd name="connsiteX43" fmla="*/ 0 w 10000"/>
              <a:gd name="connsiteY43" fmla="*/ 2539 h 9908"/>
              <a:gd name="connsiteX44" fmla="*/ 477 w 10000"/>
              <a:gd name="connsiteY44" fmla="*/ 1959 h 9908"/>
              <a:gd name="connsiteX45" fmla="*/ 477 w 10000"/>
              <a:gd name="connsiteY45" fmla="*/ 1697 h 9908"/>
              <a:gd name="connsiteX46" fmla="*/ 477 w 10000"/>
              <a:gd name="connsiteY46" fmla="*/ 907 h 9908"/>
              <a:gd name="connsiteX47" fmla="*/ 532 w 10000"/>
              <a:gd name="connsiteY47" fmla="*/ 457 h 9908"/>
              <a:gd name="connsiteX48" fmla="*/ 4732 w 10000"/>
              <a:gd name="connsiteY48" fmla="*/ 386 h 9908"/>
              <a:gd name="connsiteX0" fmla="*/ 8448 w 10000"/>
              <a:gd name="connsiteY0" fmla="*/ 79 h 10079"/>
              <a:gd name="connsiteX1" fmla="*/ 8353 w 10000"/>
              <a:gd name="connsiteY1" fmla="*/ 570 h 10079"/>
              <a:gd name="connsiteX2" fmla="*/ 8682 w 10000"/>
              <a:gd name="connsiteY2" fmla="*/ 994 h 10079"/>
              <a:gd name="connsiteX3" fmla="*/ 8631 w 10000"/>
              <a:gd name="connsiteY3" fmla="*/ 1300 h 10079"/>
              <a:gd name="connsiteX4" fmla="*/ 8426 w 10000"/>
              <a:gd name="connsiteY4" fmla="*/ 2002 h 10079"/>
              <a:gd name="connsiteX5" fmla="*/ 8537 w 10000"/>
              <a:gd name="connsiteY5" fmla="*/ 2268 h 10079"/>
              <a:gd name="connsiteX6" fmla="*/ 8572 w 10000"/>
              <a:gd name="connsiteY6" fmla="*/ 2589 h 10079"/>
              <a:gd name="connsiteX7" fmla="*/ 8976 w 10000"/>
              <a:gd name="connsiteY7" fmla="*/ 3118 h 10079"/>
              <a:gd name="connsiteX8" fmla="*/ 9458 w 10000"/>
              <a:gd name="connsiteY8" fmla="*/ 3449 h 10079"/>
              <a:gd name="connsiteX9" fmla="*/ 9561 w 10000"/>
              <a:gd name="connsiteY9" fmla="*/ 4074 h 10079"/>
              <a:gd name="connsiteX10" fmla="*/ 9743 w 10000"/>
              <a:gd name="connsiteY10" fmla="*/ 4444 h 10079"/>
              <a:gd name="connsiteX11" fmla="*/ 9890 w 10000"/>
              <a:gd name="connsiteY11" fmla="*/ 4711 h 10079"/>
              <a:gd name="connsiteX12" fmla="*/ 10000 w 10000"/>
              <a:gd name="connsiteY12" fmla="*/ 5506 h 10079"/>
              <a:gd name="connsiteX13" fmla="*/ 9781 w 10000"/>
              <a:gd name="connsiteY13" fmla="*/ 5982 h 10079"/>
              <a:gd name="connsiteX14" fmla="*/ 9670 w 10000"/>
              <a:gd name="connsiteY14" fmla="*/ 6249 h 10079"/>
              <a:gd name="connsiteX15" fmla="*/ 9670 w 10000"/>
              <a:gd name="connsiteY15" fmla="*/ 6726 h 10079"/>
              <a:gd name="connsiteX16" fmla="*/ 9233 w 10000"/>
              <a:gd name="connsiteY16" fmla="*/ 6672 h 10079"/>
              <a:gd name="connsiteX17" fmla="*/ 8902 w 10000"/>
              <a:gd name="connsiteY17" fmla="*/ 6938 h 10079"/>
              <a:gd name="connsiteX18" fmla="*/ 8756 w 10000"/>
              <a:gd name="connsiteY18" fmla="*/ 7150 h 10079"/>
              <a:gd name="connsiteX19" fmla="*/ 8572 w 10000"/>
              <a:gd name="connsiteY19" fmla="*/ 7575 h 10079"/>
              <a:gd name="connsiteX20" fmla="*/ 8609 w 10000"/>
              <a:gd name="connsiteY20" fmla="*/ 7948 h 10079"/>
              <a:gd name="connsiteX21" fmla="*/ 8793 w 10000"/>
              <a:gd name="connsiteY21" fmla="*/ 8583 h 10079"/>
              <a:gd name="connsiteX22" fmla="*/ 8537 w 10000"/>
              <a:gd name="connsiteY22" fmla="*/ 8957 h 10079"/>
              <a:gd name="connsiteX23" fmla="*/ 8170 w 10000"/>
              <a:gd name="connsiteY23" fmla="*/ 9802 h 10079"/>
              <a:gd name="connsiteX24" fmla="*/ 8097 w 10000"/>
              <a:gd name="connsiteY24" fmla="*/ 10069 h 10079"/>
              <a:gd name="connsiteX25" fmla="*/ 7766 w 10000"/>
              <a:gd name="connsiteY25" fmla="*/ 10014 h 10079"/>
              <a:gd name="connsiteX26" fmla="*/ 7400 w 10000"/>
              <a:gd name="connsiteY26" fmla="*/ 9802 h 10079"/>
              <a:gd name="connsiteX27" fmla="*/ 1502 w 10000"/>
              <a:gd name="connsiteY27" fmla="*/ 10014 h 10079"/>
              <a:gd name="connsiteX28" fmla="*/ 1428 w 10000"/>
              <a:gd name="connsiteY28" fmla="*/ 9539 h 10079"/>
              <a:gd name="connsiteX29" fmla="*/ 1223 w 10000"/>
              <a:gd name="connsiteY29" fmla="*/ 9395 h 10079"/>
              <a:gd name="connsiteX30" fmla="*/ 1120 w 10000"/>
              <a:gd name="connsiteY30" fmla="*/ 9000 h 10079"/>
              <a:gd name="connsiteX31" fmla="*/ 1145 w 10000"/>
              <a:gd name="connsiteY31" fmla="*/ 8518 h 10079"/>
              <a:gd name="connsiteX32" fmla="*/ 1167 w 10000"/>
              <a:gd name="connsiteY32" fmla="*/ 8140 h 10079"/>
              <a:gd name="connsiteX33" fmla="*/ 1246 w 10000"/>
              <a:gd name="connsiteY33" fmla="*/ 7679 h 10079"/>
              <a:gd name="connsiteX34" fmla="*/ 1173 w 10000"/>
              <a:gd name="connsiteY34" fmla="*/ 7257 h 10079"/>
              <a:gd name="connsiteX35" fmla="*/ 1051 w 10000"/>
              <a:gd name="connsiteY35" fmla="*/ 6837 h 10079"/>
              <a:gd name="connsiteX36" fmla="*/ 1062 w 10000"/>
              <a:gd name="connsiteY36" fmla="*/ 6461 h 10079"/>
              <a:gd name="connsiteX37" fmla="*/ 1062 w 10000"/>
              <a:gd name="connsiteY37" fmla="*/ 6356 h 10079"/>
              <a:gd name="connsiteX38" fmla="*/ 1100 w 10000"/>
              <a:gd name="connsiteY38" fmla="*/ 5825 h 10079"/>
              <a:gd name="connsiteX39" fmla="*/ 953 w 10000"/>
              <a:gd name="connsiteY39" fmla="*/ 5398 h 10079"/>
              <a:gd name="connsiteX40" fmla="*/ 696 w 10000"/>
              <a:gd name="connsiteY40" fmla="*/ 4550 h 10079"/>
              <a:gd name="connsiteX41" fmla="*/ 623 w 10000"/>
              <a:gd name="connsiteY41" fmla="*/ 3913 h 10079"/>
              <a:gd name="connsiteX42" fmla="*/ 623 w 10000"/>
              <a:gd name="connsiteY42" fmla="*/ 3488 h 10079"/>
              <a:gd name="connsiteX43" fmla="*/ 0 w 10000"/>
              <a:gd name="connsiteY43" fmla="*/ 2642 h 10079"/>
              <a:gd name="connsiteX44" fmla="*/ 477 w 10000"/>
              <a:gd name="connsiteY44" fmla="*/ 2056 h 10079"/>
              <a:gd name="connsiteX45" fmla="*/ 477 w 10000"/>
              <a:gd name="connsiteY45" fmla="*/ 1792 h 10079"/>
              <a:gd name="connsiteX46" fmla="*/ 477 w 10000"/>
              <a:gd name="connsiteY46" fmla="*/ 994 h 10079"/>
              <a:gd name="connsiteX47" fmla="*/ 575 w 10000"/>
              <a:gd name="connsiteY47" fmla="*/ 21 h 10079"/>
              <a:gd name="connsiteX48" fmla="*/ 4732 w 10000"/>
              <a:gd name="connsiteY48" fmla="*/ 469 h 10079"/>
              <a:gd name="connsiteX0" fmla="*/ 8448 w 10000"/>
              <a:gd name="connsiteY0" fmla="*/ 87 h 10087"/>
              <a:gd name="connsiteX1" fmla="*/ 8353 w 10000"/>
              <a:gd name="connsiteY1" fmla="*/ 578 h 10087"/>
              <a:gd name="connsiteX2" fmla="*/ 8682 w 10000"/>
              <a:gd name="connsiteY2" fmla="*/ 1002 h 10087"/>
              <a:gd name="connsiteX3" fmla="*/ 8631 w 10000"/>
              <a:gd name="connsiteY3" fmla="*/ 1308 h 10087"/>
              <a:gd name="connsiteX4" fmla="*/ 8426 w 10000"/>
              <a:gd name="connsiteY4" fmla="*/ 2010 h 10087"/>
              <a:gd name="connsiteX5" fmla="*/ 8537 w 10000"/>
              <a:gd name="connsiteY5" fmla="*/ 2276 h 10087"/>
              <a:gd name="connsiteX6" fmla="*/ 8572 w 10000"/>
              <a:gd name="connsiteY6" fmla="*/ 2597 h 10087"/>
              <a:gd name="connsiteX7" fmla="*/ 8976 w 10000"/>
              <a:gd name="connsiteY7" fmla="*/ 3126 h 10087"/>
              <a:gd name="connsiteX8" fmla="*/ 9458 w 10000"/>
              <a:gd name="connsiteY8" fmla="*/ 3457 h 10087"/>
              <a:gd name="connsiteX9" fmla="*/ 9561 w 10000"/>
              <a:gd name="connsiteY9" fmla="*/ 4082 h 10087"/>
              <a:gd name="connsiteX10" fmla="*/ 9743 w 10000"/>
              <a:gd name="connsiteY10" fmla="*/ 4452 h 10087"/>
              <a:gd name="connsiteX11" fmla="*/ 9890 w 10000"/>
              <a:gd name="connsiteY11" fmla="*/ 4719 h 10087"/>
              <a:gd name="connsiteX12" fmla="*/ 10000 w 10000"/>
              <a:gd name="connsiteY12" fmla="*/ 5514 h 10087"/>
              <a:gd name="connsiteX13" fmla="*/ 9781 w 10000"/>
              <a:gd name="connsiteY13" fmla="*/ 5990 h 10087"/>
              <a:gd name="connsiteX14" fmla="*/ 9670 w 10000"/>
              <a:gd name="connsiteY14" fmla="*/ 6257 h 10087"/>
              <a:gd name="connsiteX15" fmla="*/ 9670 w 10000"/>
              <a:gd name="connsiteY15" fmla="*/ 6734 h 10087"/>
              <a:gd name="connsiteX16" fmla="*/ 9233 w 10000"/>
              <a:gd name="connsiteY16" fmla="*/ 6680 h 10087"/>
              <a:gd name="connsiteX17" fmla="*/ 8902 w 10000"/>
              <a:gd name="connsiteY17" fmla="*/ 6946 h 10087"/>
              <a:gd name="connsiteX18" fmla="*/ 8756 w 10000"/>
              <a:gd name="connsiteY18" fmla="*/ 7158 h 10087"/>
              <a:gd name="connsiteX19" fmla="*/ 8572 w 10000"/>
              <a:gd name="connsiteY19" fmla="*/ 7583 h 10087"/>
              <a:gd name="connsiteX20" fmla="*/ 8609 w 10000"/>
              <a:gd name="connsiteY20" fmla="*/ 7956 h 10087"/>
              <a:gd name="connsiteX21" fmla="*/ 8793 w 10000"/>
              <a:gd name="connsiteY21" fmla="*/ 8591 h 10087"/>
              <a:gd name="connsiteX22" fmla="*/ 8537 w 10000"/>
              <a:gd name="connsiteY22" fmla="*/ 8965 h 10087"/>
              <a:gd name="connsiteX23" fmla="*/ 8170 w 10000"/>
              <a:gd name="connsiteY23" fmla="*/ 9810 h 10087"/>
              <a:gd name="connsiteX24" fmla="*/ 8097 w 10000"/>
              <a:gd name="connsiteY24" fmla="*/ 10077 h 10087"/>
              <a:gd name="connsiteX25" fmla="*/ 7766 w 10000"/>
              <a:gd name="connsiteY25" fmla="*/ 10022 h 10087"/>
              <a:gd name="connsiteX26" fmla="*/ 7400 w 10000"/>
              <a:gd name="connsiteY26" fmla="*/ 9810 h 10087"/>
              <a:gd name="connsiteX27" fmla="*/ 1502 w 10000"/>
              <a:gd name="connsiteY27" fmla="*/ 10022 h 10087"/>
              <a:gd name="connsiteX28" fmla="*/ 1428 w 10000"/>
              <a:gd name="connsiteY28" fmla="*/ 9547 h 10087"/>
              <a:gd name="connsiteX29" fmla="*/ 1223 w 10000"/>
              <a:gd name="connsiteY29" fmla="*/ 9403 h 10087"/>
              <a:gd name="connsiteX30" fmla="*/ 1120 w 10000"/>
              <a:gd name="connsiteY30" fmla="*/ 9008 h 10087"/>
              <a:gd name="connsiteX31" fmla="*/ 1145 w 10000"/>
              <a:gd name="connsiteY31" fmla="*/ 8526 h 10087"/>
              <a:gd name="connsiteX32" fmla="*/ 1167 w 10000"/>
              <a:gd name="connsiteY32" fmla="*/ 8148 h 10087"/>
              <a:gd name="connsiteX33" fmla="*/ 1246 w 10000"/>
              <a:gd name="connsiteY33" fmla="*/ 7687 h 10087"/>
              <a:gd name="connsiteX34" fmla="*/ 1173 w 10000"/>
              <a:gd name="connsiteY34" fmla="*/ 7265 h 10087"/>
              <a:gd name="connsiteX35" fmla="*/ 1051 w 10000"/>
              <a:gd name="connsiteY35" fmla="*/ 6845 h 10087"/>
              <a:gd name="connsiteX36" fmla="*/ 1062 w 10000"/>
              <a:gd name="connsiteY36" fmla="*/ 6469 h 10087"/>
              <a:gd name="connsiteX37" fmla="*/ 1062 w 10000"/>
              <a:gd name="connsiteY37" fmla="*/ 6364 h 10087"/>
              <a:gd name="connsiteX38" fmla="*/ 1100 w 10000"/>
              <a:gd name="connsiteY38" fmla="*/ 5833 h 10087"/>
              <a:gd name="connsiteX39" fmla="*/ 953 w 10000"/>
              <a:gd name="connsiteY39" fmla="*/ 5406 h 10087"/>
              <a:gd name="connsiteX40" fmla="*/ 696 w 10000"/>
              <a:gd name="connsiteY40" fmla="*/ 4558 h 10087"/>
              <a:gd name="connsiteX41" fmla="*/ 623 w 10000"/>
              <a:gd name="connsiteY41" fmla="*/ 3921 h 10087"/>
              <a:gd name="connsiteX42" fmla="*/ 623 w 10000"/>
              <a:gd name="connsiteY42" fmla="*/ 3496 h 10087"/>
              <a:gd name="connsiteX43" fmla="*/ 0 w 10000"/>
              <a:gd name="connsiteY43" fmla="*/ 2650 h 10087"/>
              <a:gd name="connsiteX44" fmla="*/ 477 w 10000"/>
              <a:gd name="connsiteY44" fmla="*/ 2064 h 10087"/>
              <a:gd name="connsiteX45" fmla="*/ 477 w 10000"/>
              <a:gd name="connsiteY45" fmla="*/ 1800 h 10087"/>
              <a:gd name="connsiteX46" fmla="*/ 477 w 10000"/>
              <a:gd name="connsiteY46" fmla="*/ 1002 h 10087"/>
              <a:gd name="connsiteX47" fmla="*/ 575 w 10000"/>
              <a:gd name="connsiteY47" fmla="*/ 29 h 10087"/>
              <a:gd name="connsiteX48" fmla="*/ 4777 w 10000"/>
              <a:gd name="connsiteY48" fmla="*/ 249 h 10087"/>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756 w 10000"/>
              <a:gd name="connsiteY18" fmla="*/ 7071 h 10000"/>
              <a:gd name="connsiteX19" fmla="*/ 8572 w 10000"/>
              <a:gd name="connsiteY19" fmla="*/ 7496 h 10000"/>
              <a:gd name="connsiteX20" fmla="*/ 8609 w 10000"/>
              <a:gd name="connsiteY20" fmla="*/ 7869 h 10000"/>
              <a:gd name="connsiteX21" fmla="*/ 8793 w 10000"/>
              <a:gd name="connsiteY21" fmla="*/ 8504 h 10000"/>
              <a:gd name="connsiteX22" fmla="*/ 8537 w 10000"/>
              <a:gd name="connsiteY22" fmla="*/ 8878 h 10000"/>
              <a:gd name="connsiteX23" fmla="*/ 8170 w 10000"/>
              <a:gd name="connsiteY23" fmla="*/ 9723 h 10000"/>
              <a:gd name="connsiteX24" fmla="*/ 8097 w 10000"/>
              <a:gd name="connsiteY24" fmla="*/ 9990 h 10000"/>
              <a:gd name="connsiteX25" fmla="*/ 7766 w 10000"/>
              <a:gd name="connsiteY25" fmla="*/ 9935 h 10000"/>
              <a:gd name="connsiteX26" fmla="*/ 7400 w 10000"/>
              <a:gd name="connsiteY26" fmla="*/ 9723 h 10000"/>
              <a:gd name="connsiteX27" fmla="*/ 1502 w 10000"/>
              <a:gd name="connsiteY27" fmla="*/ 9935 h 10000"/>
              <a:gd name="connsiteX28" fmla="*/ 1428 w 10000"/>
              <a:gd name="connsiteY28" fmla="*/ 9460 h 10000"/>
              <a:gd name="connsiteX29" fmla="*/ 1223 w 10000"/>
              <a:gd name="connsiteY29" fmla="*/ 9316 h 10000"/>
              <a:gd name="connsiteX30" fmla="*/ 1120 w 10000"/>
              <a:gd name="connsiteY30" fmla="*/ 8921 h 10000"/>
              <a:gd name="connsiteX31" fmla="*/ 1145 w 10000"/>
              <a:gd name="connsiteY31" fmla="*/ 8439 h 10000"/>
              <a:gd name="connsiteX32" fmla="*/ 1167 w 10000"/>
              <a:gd name="connsiteY32" fmla="*/ 8061 h 10000"/>
              <a:gd name="connsiteX33" fmla="*/ 1246 w 10000"/>
              <a:gd name="connsiteY33" fmla="*/ 7600 h 10000"/>
              <a:gd name="connsiteX34" fmla="*/ 1173 w 10000"/>
              <a:gd name="connsiteY34" fmla="*/ 7178 h 10000"/>
              <a:gd name="connsiteX35" fmla="*/ 1051 w 10000"/>
              <a:gd name="connsiteY35" fmla="*/ 6758 h 10000"/>
              <a:gd name="connsiteX36" fmla="*/ 1062 w 10000"/>
              <a:gd name="connsiteY36" fmla="*/ 6382 h 10000"/>
              <a:gd name="connsiteX37" fmla="*/ 1062 w 10000"/>
              <a:gd name="connsiteY37" fmla="*/ 6277 h 10000"/>
              <a:gd name="connsiteX38" fmla="*/ 1100 w 10000"/>
              <a:gd name="connsiteY38" fmla="*/ 5746 h 10000"/>
              <a:gd name="connsiteX39" fmla="*/ 953 w 10000"/>
              <a:gd name="connsiteY39" fmla="*/ 5319 h 10000"/>
              <a:gd name="connsiteX40" fmla="*/ 696 w 10000"/>
              <a:gd name="connsiteY40" fmla="*/ 4471 h 10000"/>
              <a:gd name="connsiteX41" fmla="*/ 623 w 10000"/>
              <a:gd name="connsiteY41" fmla="*/ 3834 h 10000"/>
              <a:gd name="connsiteX42" fmla="*/ 623 w 10000"/>
              <a:gd name="connsiteY42" fmla="*/ 3409 h 10000"/>
              <a:gd name="connsiteX43" fmla="*/ 0 w 10000"/>
              <a:gd name="connsiteY43" fmla="*/ 2563 h 10000"/>
              <a:gd name="connsiteX44" fmla="*/ 477 w 10000"/>
              <a:gd name="connsiteY44" fmla="*/ 1977 h 10000"/>
              <a:gd name="connsiteX45" fmla="*/ 477 w 10000"/>
              <a:gd name="connsiteY45" fmla="*/ 1713 h 10000"/>
              <a:gd name="connsiteX46" fmla="*/ 477 w 10000"/>
              <a:gd name="connsiteY46" fmla="*/ 915 h 10000"/>
              <a:gd name="connsiteX47" fmla="*/ 715 w 10000"/>
              <a:gd name="connsiteY47" fmla="*/ 127 h 10000"/>
              <a:gd name="connsiteX48" fmla="*/ 4777 w 10000"/>
              <a:gd name="connsiteY48" fmla="*/ 162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756 w 10000"/>
              <a:gd name="connsiteY18" fmla="*/ 7071 h 10000"/>
              <a:gd name="connsiteX19" fmla="*/ 8572 w 10000"/>
              <a:gd name="connsiteY19" fmla="*/ 7496 h 10000"/>
              <a:gd name="connsiteX20" fmla="*/ 8609 w 10000"/>
              <a:gd name="connsiteY20" fmla="*/ 7869 h 10000"/>
              <a:gd name="connsiteX21" fmla="*/ 8793 w 10000"/>
              <a:gd name="connsiteY21" fmla="*/ 8504 h 10000"/>
              <a:gd name="connsiteX22" fmla="*/ 8537 w 10000"/>
              <a:gd name="connsiteY22" fmla="*/ 8878 h 10000"/>
              <a:gd name="connsiteX23" fmla="*/ 8170 w 10000"/>
              <a:gd name="connsiteY23" fmla="*/ 9723 h 10000"/>
              <a:gd name="connsiteX24" fmla="*/ 8097 w 10000"/>
              <a:gd name="connsiteY24" fmla="*/ 9990 h 10000"/>
              <a:gd name="connsiteX25" fmla="*/ 7766 w 10000"/>
              <a:gd name="connsiteY25" fmla="*/ 9935 h 10000"/>
              <a:gd name="connsiteX26" fmla="*/ 7400 w 10000"/>
              <a:gd name="connsiteY26" fmla="*/ 9723 h 10000"/>
              <a:gd name="connsiteX27" fmla="*/ 1502 w 10000"/>
              <a:gd name="connsiteY27" fmla="*/ 9935 h 10000"/>
              <a:gd name="connsiteX28" fmla="*/ 1428 w 10000"/>
              <a:gd name="connsiteY28" fmla="*/ 9460 h 10000"/>
              <a:gd name="connsiteX29" fmla="*/ 1223 w 10000"/>
              <a:gd name="connsiteY29" fmla="*/ 9316 h 10000"/>
              <a:gd name="connsiteX30" fmla="*/ 1120 w 10000"/>
              <a:gd name="connsiteY30" fmla="*/ 8921 h 10000"/>
              <a:gd name="connsiteX31" fmla="*/ 1145 w 10000"/>
              <a:gd name="connsiteY31" fmla="*/ 8439 h 10000"/>
              <a:gd name="connsiteX32" fmla="*/ 1167 w 10000"/>
              <a:gd name="connsiteY32" fmla="*/ 8061 h 10000"/>
              <a:gd name="connsiteX33" fmla="*/ 1246 w 10000"/>
              <a:gd name="connsiteY33" fmla="*/ 7600 h 10000"/>
              <a:gd name="connsiteX34" fmla="*/ 1173 w 10000"/>
              <a:gd name="connsiteY34" fmla="*/ 7178 h 10000"/>
              <a:gd name="connsiteX35" fmla="*/ 1051 w 10000"/>
              <a:gd name="connsiteY35" fmla="*/ 6758 h 10000"/>
              <a:gd name="connsiteX36" fmla="*/ 1062 w 10000"/>
              <a:gd name="connsiteY36" fmla="*/ 6382 h 10000"/>
              <a:gd name="connsiteX37" fmla="*/ 1062 w 10000"/>
              <a:gd name="connsiteY37" fmla="*/ 6277 h 10000"/>
              <a:gd name="connsiteX38" fmla="*/ 1100 w 10000"/>
              <a:gd name="connsiteY38" fmla="*/ 5746 h 10000"/>
              <a:gd name="connsiteX39" fmla="*/ 953 w 10000"/>
              <a:gd name="connsiteY39" fmla="*/ 5319 h 10000"/>
              <a:gd name="connsiteX40" fmla="*/ 696 w 10000"/>
              <a:gd name="connsiteY40" fmla="*/ 4471 h 10000"/>
              <a:gd name="connsiteX41" fmla="*/ 623 w 10000"/>
              <a:gd name="connsiteY41" fmla="*/ 3834 h 10000"/>
              <a:gd name="connsiteX42" fmla="*/ 521 w 10000"/>
              <a:gd name="connsiteY42" fmla="*/ 3389 h 10000"/>
              <a:gd name="connsiteX43" fmla="*/ 0 w 10000"/>
              <a:gd name="connsiteY43" fmla="*/ 2563 h 10000"/>
              <a:gd name="connsiteX44" fmla="*/ 477 w 10000"/>
              <a:gd name="connsiteY44" fmla="*/ 1977 h 10000"/>
              <a:gd name="connsiteX45" fmla="*/ 477 w 10000"/>
              <a:gd name="connsiteY45" fmla="*/ 1713 h 10000"/>
              <a:gd name="connsiteX46" fmla="*/ 477 w 10000"/>
              <a:gd name="connsiteY46" fmla="*/ 915 h 10000"/>
              <a:gd name="connsiteX47" fmla="*/ 715 w 10000"/>
              <a:gd name="connsiteY47" fmla="*/ 127 h 10000"/>
              <a:gd name="connsiteX48" fmla="*/ 4777 w 10000"/>
              <a:gd name="connsiteY48" fmla="*/ 162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756 w 10000"/>
              <a:gd name="connsiteY18" fmla="*/ 7071 h 10000"/>
              <a:gd name="connsiteX19" fmla="*/ 8572 w 10000"/>
              <a:gd name="connsiteY19" fmla="*/ 7496 h 10000"/>
              <a:gd name="connsiteX20" fmla="*/ 8609 w 10000"/>
              <a:gd name="connsiteY20" fmla="*/ 7869 h 10000"/>
              <a:gd name="connsiteX21" fmla="*/ 8793 w 10000"/>
              <a:gd name="connsiteY21" fmla="*/ 8504 h 10000"/>
              <a:gd name="connsiteX22" fmla="*/ 8537 w 10000"/>
              <a:gd name="connsiteY22" fmla="*/ 8878 h 10000"/>
              <a:gd name="connsiteX23" fmla="*/ 8170 w 10000"/>
              <a:gd name="connsiteY23" fmla="*/ 9723 h 10000"/>
              <a:gd name="connsiteX24" fmla="*/ 8097 w 10000"/>
              <a:gd name="connsiteY24" fmla="*/ 9990 h 10000"/>
              <a:gd name="connsiteX25" fmla="*/ 7766 w 10000"/>
              <a:gd name="connsiteY25" fmla="*/ 9935 h 10000"/>
              <a:gd name="connsiteX26" fmla="*/ 7400 w 10000"/>
              <a:gd name="connsiteY26" fmla="*/ 9723 h 10000"/>
              <a:gd name="connsiteX27" fmla="*/ 1502 w 10000"/>
              <a:gd name="connsiteY27" fmla="*/ 9935 h 10000"/>
              <a:gd name="connsiteX28" fmla="*/ 1428 w 10000"/>
              <a:gd name="connsiteY28" fmla="*/ 9460 h 10000"/>
              <a:gd name="connsiteX29" fmla="*/ 1223 w 10000"/>
              <a:gd name="connsiteY29" fmla="*/ 9316 h 10000"/>
              <a:gd name="connsiteX30" fmla="*/ 1120 w 10000"/>
              <a:gd name="connsiteY30" fmla="*/ 8921 h 10000"/>
              <a:gd name="connsiteX31" fmla="*/ 1145 w 10000"/>
              <a:gd name="connsiteY31" fmla="*/ 8439 h 10000"/>
              <a:gd name="connsiteX32" fmla="*/ 1167 w 10000"/>
              <a:gd name="connsiteY32" fmla="*/ 8061 h 10000"/>
              <a:gd name="connsiteX33" fmla="*/ 1246 w 10000"/>
              <a:gd name="connsiteY33" fmla="*/ 7600 h 10000"/>
              <a:gd name="connsiteX34" fmla="*/ 1173 w 10000"/>
              <a:gd name="connsiteY34" fmla="*/ 7178 h 10000"/>
              <a:gd name="connsiteX35" fmla="*/ 1051 w 10000"/>
              <a:gd name="connsiteY35" fmla="*/ 6758 h 10000"/>
              <a:gd name="connsiteX36" fmla="*/ 1062 w 10000"/>
              <a:gd name="connsiteY36" fmla="*/ 6382 h 10000"/>
              <a:gd name="connsiteX37" fmla="*/ 1062 w 10000"/>
              <a:gd name="connsiteY37" fmla="*/ 6277 h 10000"/>
              <a:gd name="connsiteX38" fmla="*/ 1100 w 10000"/>
              <a:gd name="connsiteY38" fmla="*/ 5746 h 10000"/>
              <a:gd name="connsiteX39" fmla="*/ 953 w 10000"/>
              <a:gd name="connsiteY39" fmla="*/ 5319 h 10000"/>
              <a:gd name="connsiteX40" fmla="*/ 696 w 10000"/>
              <a:gd name="connsiteY40" fmla="*/ 4471 h 10000"/>
              <a:gd name="connsiteX41" fmla="*/ 543 w 10000"/>
              <a:gd name="connsiteY41" fmla="*/ 3858 h 10000"/>
              <a:gd name="connsiteX42" fmla="*/ 521 w 10000"/>
              <a:gd name="connsiteY42" fmla="*/ 3389 h 10000"/>
              <a:gd name="connsiteX43" fmla="*/ 0 w 10000"/>
              <a:gd name="connsiteY43" fmla="*/ 2563 h 10000"/>
              <a:gd name="connsiteX44" fmla="*/ 477 w 10000"/>
              <a:gd name="connsiteY44" fmla="*/ 1977 h 10000"/>
              <a:gd name="connsiteX45" fmla="*/ 477 w 10000"/>
              <a:gd name="connsiteY45" fmla="*/ 1713 h 10000"/>
              <a:gd name="connsiteX46" fmla="*/ 477 w 10000"/>
              <a:gd name="connsiteY46" fmla="*/ 915 h 10000"/>
              <a:gd name="connsiteX47" fmla="*/ 715 w 10000"/>
              <a:gd name="connsiteY47" fmla="*/ 127 h 10000"/>
              <a:gd name="connsiteX48" fmla="*/ 4777 w 10000"/>
              <a:gd name="connsiteY48" fmla="*/ 162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756 w 10000"/>
              <a:gd name="connsiteY18" fmla="*/ 7071 h 10000"/>
              <a:gd name="connsiteX19" fmla="*/ 8572 w 10000"/>
              <a:gd name="connsiteY19" fmla="*/ 7496 h 10000"/>
              <a:gd name="connsiteX20" fmla="*/ 8609 w 10000"/>
              <a:gd name="connsiteY20" fmla="*/ 7869 h 10000"/>
              <a:gd name="connsiteX21" fmla="*/ 8793 w 10000"/>
              <a:gd name="connsiteY21" fmla="*/ 8504 h 10000"/>
              <a:gd name="connsiteX22" fmla="*/ 8537 w 10000"/>
              <a:gd name="connsiteY22" fmla="*/ 8878 h 10000"/>
              <a:gd name="connsiteX23" fmla="*/ 8170 w 10000"/>
              <a:gd name="connsiteY23" fmla="*/ 9723 h 10000"/>
              <a:gd name="connsiteX24" fmla="*/ 8097 w 10000"/>
              <a:gd name="connsiteY24" fmla="*/ 9990 h 10000"/>
              <a:gd name="connsiteX25" fmla="*/ 7766 w 10000"/>
              <a:gd name="connsiteY25" fmla="*/ 9935 h 10000"/>
              <a:gd name="connsiteX26" fmla="*/ 7400 w 10000"/>
              <a:gd name="connsiteY26" fmla="*/ 9723 h 10000"/>
              <a:gd name="connsiteX27" fmla="*/ 1502 w 10000"/>
              <a:gd name="connsiteY27" fmla="*/ 9935 h 10000"/>
              <a:gd name="connsiteX28" fmla="*/ 1428 w 10000"/>
              <a:gd name="connsiteY28" fmla="*/ 9460 h 10000"/>
              <a:gd name="connsiteX29" fmla="*/ 1223 w 10000"/>
              <a:gd name="connsiteY29" fmla="*/ 9316 h 10000"/>
              <a:gd name="connsiteX30" fmla="*/ 1120 w 10000"/>
              <a:gd name="connsiteY30" fmla="*/ 8921 h 10000"/>
              <a:gd name="connsiteX31" fmla="*/ 1145 w 10000"/>
              <a:gd name="connsiteY31" fmla="*/ 8439 h 10000"/>
              <a:gd name="connsiteX32" fmla="*/ 1167 w 10000"/>
              <a:gd name="connsiteY32" fmla="*/ 8061 h 10000"/>
              <a:gd name="connsiteX33" fmla="*/ 1246 w 10000"/>
              <a:gd name="connsiteY33" fmla="*/ 7600 h 10000"/>
              <a:gd name="connsiteX34" fmla="*/ 1173 w 10000"/>
              <a:gd name="connsiteY34" fmla="*/ 7178 h 10000"/>
              <a:gd name="connsiteX35" fmla="*/ 1051 w 10000"/>
              <a:gd name="connsiteY35" fmla="*/ 6758 h 10000"/>
              <a:gd name="connsiteX36" fmla="*/ 1062 w 10000"/>
              <a:gd name="connsiteY36" fmla="*/ 6382 h 10000"/>
              <a:gd name="connsiteX37" fmla="*/ 1062 w 10000"/>
              <a:gd name="connsiteY37" fmla="*/ 6277 h 10000"/>
              <a:gd name="connsiteX38" fmla="*/ 953 w 10000"/>
              <a:gd name="connsiteY38" fmla="*/ 5319 h 10000"/>
              <a:gd name="connsiteX39" fmla="*/ 696 w 10000"/>
              <a:gd name="connsiteY39" fmla="*/ 4471 h 10000"/>
              <a:gd name="connsiteX40" fmla="*/ 543 w 10000"/>
              <a:gd name="connsiteY40" fmla="*/ 3858 h 10000"/>
              <a:gd name="connsiteX41" fmla="*/ 521 w 10000"/>
              <a:gd name="connsiteY41" fmla="*/ 3389 h 10000"/>
              <a:gd name="connsiteX42" fmla="*/ 0 w 10000"/>
              <a:gd name="connsiteY42" fmla="*/ 2563 h 10000"/>
              <a:gd name="connsiteX43" fmla="*/ 477 w 10000"/>
              <a:gd name="connsiteY43" fmla="*/ 1977 h 10000"/>
              <a:gd name="connsiteX44" fmla="*/ 477 w 10000"/>
              <a:gd name="connsiteY44" fmla="*/ 1713 h 10000"/>
              <a:gd name="connsiteX45" fmla="*/ 477 w 10000"/>
              <a:gd name="connsiteY45" fmla="*/ 915 h 10000"/>
              <a:gd name="connsiteX46" fmla="*/ 715 w 10000"/>
              <a:gd name="connsiteY46" fmla="*/ 127 h 10000"/>
              <a:gd name="connsiteX47" fmla="*/ 4777 w 10000"/>
              <a:gd name="connsiteY47" fmla="*/ 162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756 w 10000"/>
              <a:gd name="connsiteY18" fmla="*/ 7071 h 10000"/>
              <a:gd name="connsiteX19" fmla="*/ 8572 w 10000"/>
              <a:gd name="connsiteY19" fmla="*/ 7496 h 10000"/>
              <a:gd name="connsiteX20" fmla="*/ 8609 w 10000"/>
              <a:gd name="connsiteY20" fmla="*/ 7869 h 10000"/>
              <a:gd name="connsiteX21" fmla="*/ 8793 w 10000"/>
              <a:gd name="connsiteY21" fmla="*/ 8504 h 10000"/>
              <a:gd name="connsiteX22" fmla="*/ 8537 w 10000"/>
              <a:gd name="connsiteY22" fmla="*/ 8878 h 10000"/>
              <a:gd name="connsiteX23" fmla="*/ 8170 w 10000"/>
              <a:gd name="connsiteY23" fmla="*/ 9723 h 10000"/>
              <a:gd name="connsiteX24" fmla="*/ 8097 w 10000"/>
              <a:gd name="connsiteY24" fmla="*/ 9990 h 10000"/>
              <a:gd name="connsiteX25" fmla="*/ 7766 w 10000"/>
              <a:gd name="connsiteY25" fmla="*/ 9935 h 10000"/>
              <a:gd name="connsiteX26" fmla="*/ 7400 w 10000"/>
              <a:gd name="connsiteY26" fmla="*/ 9723 h 10000"/>
              <a:gd name="connsiteX27" fmla="*/ 1502 w 10000"/>
              <a:gd name="connsiteY27" fmla="*/ 9935 h 10000"/>
              <a:gd name="connsiteX28" fmla="*/ 1428 w 10000"/>
              <a:gd name="connsiteY28" fmla="*/ 9460 h 10000"/>
              <a:gd name="connsiteX29" fmla="*/ 1223 w 10000"/>
              <a:gd name="connsiteY29" fmla="*/ 9316 h 10000"/>
              <a:gd name="connsiteX30" fmla="*/ 1120 w 10000"/>
              <a:gd name="connsiteY30" fmla="*/ 8921 h 10000"/>
              <a:gd name="connsiteX31" fmla="*/ 1145 w 10000"/>
              <a:gd name="connsiteY31" fmla="*/ 8439 h 10000"/>
              <a:gd name="connsiteX32" fmla="*/ 1167 w 10000"/>
              <a:gd name="connsiteY32" fmla="*/ 8061 h 10000"/>
              <a:gd name="connsiteX33" fmla="*/ 1246 w 10000"/>
              <a:gd name="connsiteY33" fmla="*/ 7600 h 10000"/>
              <a:gd name="connsiteX34" fmla="*/ 1173 w 10000"/>
              <a:gd name="connsiteY34" fmla="*/ 7178 h 10000"/>
              <a:gd name="connsiteX35" fmla="*/ 1051 w 10000"/>
              <a:gd name="connsiteY35" fmla="*/ 6758 h 10000"/>
              <a:gd name="connsiteX36" fmla="*/ 1062 w 10000"/>
              <a:gd name="connsiteY36" fmla="*/ 6382 h 10000"/>
              <a:gd name="connsiteX37" fmla="*/ 1062 w 10000"/>
              <a:gd name="connsiteY37" fmla="*/ 6277 h 10000"/>
              <a:gd name="connsiteX38" fmla="*/ 838 w 10000"/>
              <a:gd name="connsiteY38" fmla="*/ 5455 h 10000"/>
              <a:gd name="connsiteX39" fmla="*/ 696 w 10000"/>
              <a:gd name="connsiteY39" fmla="*/ 4471 h 10000"/>
              <a:gd name="connsiteX40" fmla="*/ 543 w 10000"/>
              <a:gd name="connsiteY40" fmla="*/ 3858 h 10000"/>
              <a:gd name="connsiteX41" fmla="*/ 521 w 10000"/>
              <a:gd name="connsiteY41" fmla="*/ 3389 h 10000"/>
              <a:gd name="connsiteX42" fmla="*/ 0 w 10000"/>
              <a:gd name="connsiteY42" fmla="*/ 2563 h 10000"/>
              <a:gd name="connsiteX43" fmla="*/ 477 w 10000"/>
              <a:gd name="connsiteY43" fmla="*/ 1977 h 10000"/>
              <a:gd name="connsiteX44" fmla="*/ 477 w 10000"/>
              <a:gd name="connsiteY44" fmla="*/ 1713 h 10000"/>
              <a:gd name="connsiteX45" fmla="*/ 477 w 10000"/>
              <a:gd name="connsiteY45" fmla="*/ 915 h 10000"/>
              <a:gd name="connsiteX46" fmla="*/ 715 w 10000"/>
              <a:gd name="connsiteY46" fmla="*/ 127 h 10000"/>
              <a:gd name="connsiteX47" fmla="*/ 4777 w 10000"/>
              <a:gd name="connsiteY47" fmla="*/ 162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572 w 10000"/>
              <a:gd name="connsiteY19" fmla="*/ 7496 h 10000"/>
              <a:gd name="connsiteX20" fmla="*/ 8609 w 10000"/>
              <a:gd name="connsiteY20" fmla="*/ 7869 h 10000"/>
              <a:gd name="connsiteX21" fmla="*/ 8793 w 10000"/>
              <a:gd name="connsiteY21" fmla="*/ 8504 h 10000"/>
              <a:gd name="connsiteX22" fmla="*/ 8537 w 10000"/>
              <a:gd name="connsiteY22" fmla="*/ 8878 h 10000"/>
              <a:gd name="connsiteX23" fmla="*/ 8170 w 10000"/>
              <a:gd name="connsiteY23" fmla="*/ 9723 h 10000"/>
              <a:gd name="connsiteX24" fmla="*/ 8097 w 10000"/>
              <a:gd name="connsiteY24" fmla="*/ 9990 h 10000"/>
              <a:gd name="connsiteX25" fmla="*/ 7766 w 10000"/>
              <a:gd name="connsiteY25" fmla="*/ 9935 h 10000"/>
              <a:gd name="connsiteX26" fmla="*/ 7400 w 10000"/>
              <a:gd name="connsiteY26" fmla="*/ 9723 h 10000"/>
              <a:gd name="connsiteX27" fmla="*/ 1502 w 10000"/>
              <a:gd name="connsiteY27" fmla="*/ 9935 h 10000"/>
              <a:gd name="connsiteX28" fmla="*/ 1428 w 10000"/>
              <a:gd name="connsiteY28" fmla="*/ 9460 h 10000"/>
              <a:gd name="connsiteX29" fmla="*/ 1223 w 10000"/>
              <a:gd name="connsiteY29" fmla="*/ 9316 h 10000"/>
              <a:gd name="connsiteX30" fmla="*/ 1120 w 10000"/>
              <a:gd name="connsiteY30" fmla="*/ 8921 h 10000"/>
              <a:gd name="connsiteX31" fmla="*/ 1145 w 10000"/>
              <a:gd name="connsiteY31" fmla="*/ 8439 h 10000"/>
              <a:gd name="connsiteX32" fmla="*/ 1167 w 10000"/>
              <a:gd name="connsiteY32" fmla="*/ 8061 h 10000"/>
              <a:gd name="connsiteX33" fmla="*/ 1246 w 10000"/>
              <a:gd name="connsiteY33" fmla="*/ 7600 h 10000"/>
              <a:gd name="connsiteX34" fmla="*/ 1173 w 10000"/>
              <a:gd name="connsiteY34" fmla="*/ 7178 h 10000"/>
              <a:gd name="connsiteX35" fmla="*/ 1051 w 10000"/>
              <a:gd name="connsiteY35" fmla="*/ 6758 h 10000"/>
              <a:gd name="connsiteX36" fmla="*/ 1062 w 10000"/>
              <a:gd name="connsiteY36" fmla="*/ 6382 h 10000"/>
              <a:gd name="connsiteX37" fmla="*/ 1062 w 10000"/>
              <a:gd name="connsiteY37" fmla="*/ 6277 h 10000"/>
              <a:gd name="connsiteX38" fmla="*/ 838 w 10000"/>
              <a:gd name="connsiteY38" fmla="*/ 5455 h 10000"/>
              <a:gd name="connsiteX39" fmla="*/ 696 w 10000"/>
              <a:gd name="connsiteY39" fmla="*/ 4471 h 10000"/>
              <a:gd name="connsiteX40" fmla="*/ 543 w 10000"/>
              <a:gd name="connsiteY40" fmla="*/ 3858 h 10000"/>
              <a:gd name="connsiteX41" fmla="*/ 521 w 10000"/>
              <a:gd name="connsiteY41" fmla="*/ 3389 h 10000"/>
              <a:gd name="connsiteX42" fmla="*/ 0 w 10000"/>
              <a:gd name="connsiteY42" fmla="*/ 2563 h 10000"/>
              <a:gd name="connsiteX43" fmla="*/ 477 w 10000"/>
              <a:gd name="connsiteY43" fmla="*/ 1977 h 10000"/>
              <a:gd name="connsiteX44" fmla="*/ 477 w 10000"/>
              <a:gd name="connsiteY44" fmla="*/ 1713 h 10000"/>
              <a:gd name="connsiteX45" fmla="*/ 477 w 10000"/>
              <a:gd name="connsiteY45" fmla="*/ 915 h 10000"/>
              <a:gd name="connsiteX46" fmla="*/ 715 w 10000"/>
              <a:gd name="connsiteY46" fmla="*/ 127 h 10000"/>
              <a:gd name="connsiteX47" fmla="*/ 4777 w 10000"/>
              <a:gd name="connsiteY47" fmla="*/ 162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572 w 10000"/>
              <a:gd name="connsiteY19" fmla="*/ 7496 h 10000"/>
              <a:gd name="connsiteX20" fmla="*/ 8609 w 10000"/>
              <a:gd name="connsiteY20" fmla="*/ 7869 h 10000"/>
              <a:gd name="connsiteX21" fmla="*/ 8621 w 10000"/>
              <a:gd name="connsiteY21" fmla="*/ 8392 h 10000"/>
              <a:gd name="connsiteX22" fmla="*/ 8537 w 10000"/>
              <a:gd name="connsiteY22" fmla="*/ 8878 h 10000"/>
              <a:gd name="connsiteX23" fmla="*/ 8170 w 10000"/>
              <a:gd name="connsiteY23" fmla="*/ 9723 h 10000"/>
              <a:gd name="connsiteX24" fmla="*/ 8097 w 10000"/>
              <a:gd name="connsiteY24" fmla="*/ 9990 h 10000"/>
              <a:gd name="connsiteX25" fmla="*/ 7766 w 10000"/>
              <a:gd name="connsiteY25" fmla="*/ 9935 h 10000"/>
              <a:gd name="connsiteX26" fmla="*/ 7400 w 10000"/>
              <a:gd name="connsiteY26" fmla="*/ 9723 h 10000"/>
              <a:gd name="connsiteX27" fmla="*/ 1502 w 10000"/>
              <a:gd name="connsiteY27" fmla="*/ 9935 h 10000"/>
              <a:gd name="connsiteX28" fmla="*/ 1428 w 10000"/>
              <a:gd name="connsiteY28" fmla="*/ 9460 h 10000"/>
              <a:gd name="connsiteX29" fmla="*/ 1223 w 10000"/>
              <a:gd name="connsiteY29" fmla="*/ 9316 h 10000"/>
              <a:gd name="connsiteX30" fmla="*/ 1120 w 10000"/>
              <a:gd name="connsiteY30" fmla="*/ 8921 h 10000"/>
              <a:gd name="connsiteX31" fmla="*/ 1145 w 10000"/>
              <a:gd name="connsiteY31" fmla="*/ 8439 h 10000"/>
              <a:gd name="connsiteX32" fmla="*/ 1167 w 10000"/>
              <a:gd name="connsiteY32" fmla="*/ 8061 h 10000"/>
              <a:gd name="connsiteX33" fmla="*/ 1246 w 10000"/>
              <a:gd name="connsiteY33" fmla="*/ 7600 h 10000"/>
              <a:gd name="connsiteX34" fmla="*/ 1173 w 10000"/>
              <a:gd name="connsiteY34" fmla="*/ 7178 h 10000"/>
              <a:gd name="connsiteX35" fmla="*/ 1051 w 10000"/>
              <a:gd name="connsiteY35" fmla="*/ 6758 h 10000"/>
              <a:gd name="connsiteX36" fmla="*/ 1062 w 10000"/>
              <a:gd name="connsiteY36" fmla="*/ 6382 h 10000"/>
              <a:gd name="connsiteX37" fmla="*/ 1062 w 10000"/>
              <a:gd name="connsiteY37" fmla="*/ 6277 h 10000"/>
              <a:gd name="connsiteX38" fmla="*/ 838 w 10000"/>
              <a:gd name="connsiteY38" fmla="*/ 5455 h 10000"/>
              <a:gd name="connsiteX39" fmla="*/ 696 w 10000"/>
              <a:gd name="connsiteY39" fmla="*/ 4471 h 10000"/>
              <a:gd name="connsiteX40" fmla="*/ 543 w 10000"/>
              <a:gd name="connsiteY40" fmla="*/ 3858 h 10000"/>
              <a:gd name="connsiteX41" fmla="*/ 521 w 10000"/>
              <a:gd name="connsiteY41" fmla="*/ 3389 h 10000"/>
              <a:gd name="connsiteX42" fmla="*/ 0 w 10000"/>
              <a:gd name="connsiteY42" fmla="*/ 2563 h 10000"/>
              <a:gd name="connsiteX43" fmla="*/ 477 w 10000"/>
              <a:gd name="connsiteY43" fmla="*/ 1977 h 10000"/>
              <a:gd name="connsiteX44" fmla="*/ 477 w 10000"/>
              <a:gd name="connsiteY44" fmla="*/ 1713 h 10000"/>
              <a:gd name="connsiteX45" fmla="*/ 477 w 10000"/>
              <a:gd name="connsiteY45" fmla="*/ 915 h 10000"/>
              <a:gd name="connsiteX46" fmla="*/ 715 w 10000"/>
              <a:gd name="connsiteY46" fmla="*/ 127 h 10000"/>
              <a:gd name="connsiteX47" fmla="*/ 4777 w 10000"/>
              <a:gd name="connsiteY47" fmla="*/ 162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572 w 10000"/>
              <a:gd name="connsiteY19" fmla="*/ 7496 h 10000"/>
              <a:gd name="connsiteX20" fmla="*/ 8609 w 10000"/>
              <a:gd name="connsiteY20" fmla="*/ 7869 h 10000"/>
              <a:gd name="connsiteX21" fmla="*/ 8621 w 10000"/>
              <a:gd name="connsiteY21" fmla="*/ 8392 h 10000"/>
              <a:gd name="connsiteX22" fmla="*/ 8537 w 10000"/>
              <a:gd name="connsiteY22" fmla="*/ 8878 h 10000"/>
              <a:gd name="connsiteX23" fmla="*/ 8170 w 10000"/>
              <a:gd name="connsiteY23" fmla="*/ 9723 h 10000"/>
              <a:gd name="connsiteX24" fmla="*/ 8097 w 10000"/>
              <a:gd name="connsiteY24" fmla="*/ 9990 h 10000"/>
              <a:gd name="connsiteX25" fmla="*/ 7766 w 10000"/>
              <a:gd name="connsiteY25" fmla="*/ 9935 h 10000"/>
              <a:gd name="connsiteX26" fmla="*/ 7400 w 10000"/>
              <a:gd name="connsiteY26" fmla="*/ 9723 h 10000"/>
              <a:gd name="connsiteX27" fmla="*/ 1502 w 10000"/>
              <a:gd name="connsiteY27" fmla="*/ 9935 h 10000"/>
              <a:gd name="connsiteX28" fmla="*/ 1428 w 10000"/>
              <a:gd name="connsiteY28" fmla="*/ 9460 h 10000"/>
              <a:gd name="connsiteX29" fmla="*/ 1223 w 10000"/>
              <a:gd name="connsiteY29" fmla="*/ 9316 h 10000"/>
              <a:gd name="connsiteX30" fmla="*/ 1120 w 10000"/>
              <a:gd name="connsiteY30" fmla="*/ 8921 h 10000"/>
              <a:gd name="connsiteX31" fmla="*/ 1145 w 10000"/>
              <a:gd name="connsiteY31" fmla="*/ 8439 h 10000"/>
              <a:gd name="connsiteX32" fmla="*/ 1167 w 10000"/>
              <a:gd name="connsiteY32" fmla="*/ 8061 h 10000"/>
              <a:gd name="connsiteX33" fmla="*/ 1246 w 10000"/>
              <a:gd name="connsiteY33" fmla="*/ 7600 h 10000"/>
              <a:gd name="connsiteX34" fmla="*/ 1173 w 10000"/>
              <a:gd name="connsiteY34" fmla="*/ 7178 h 10000"/>
              <a:gd name="connsiteX35" fmla="*/ 1051 w 10000"/>
              <a:gd name="connsiteY35" fmla="*/ 6758 h 10000"/>
              <a:gd name="connsiteX36" fmla="*/ 1062 w 10000"/>
              <a:gd name="connsiteY36" fmla="*/ 6382 h 10000"/>
              <a:gd name="connsiteX37" fmla="*/ 1062 w 10000"/>
              <a:gd name="connsiteY37" fmla="*/ 6277 h 10000"/>
              <a:gd name="connsiteX38" fmla="*/ 838 w 10000"/>
              <a:gd name="connsiteY38" fmla="*/ 5455 h 10000"/>
              <a:gd name="connsiteX39" fmla="*/ 696 w 10000"/>
              <a:gd name="connsiteY39" fmla="*/ 4471 h 10000"/>
              <a:gd name="connsiteX40" fmla="*/ 543 w 10000"/>
              <a:gd name="connsiteY40" fmla="*/ 3858 h 10000"/>
              <a:gd name="connsiteX41" fmla="*/ 521 w 10000"/>
              <a:gd name="connsiteY41" fmla="*/ 3389 h 10000"/>
              <a:gd name="connsiteX42" fmla="*/ 0 w 10000"/>
              <a:gd name="connsiteY42" fmla="*/ 2563 h 10000"/>
              <a:gd name="connsiteX43" fmla="*/ 477 w 10000"/>
              <a:gd name="connsiteY43" fmla="*/ 1977 h 10000"/>
              <a:gd name="connsiteX44" fmla="*/ 477 w 10000"/>
              <a:gd name="connsiteY44" fmla="*/ 1713 h 10000"/>
              <a:gd name="connsiteX45" fmla="*/ 477 w 10000"/>
              <a:gd name="connsiteY45" fmla="*/ 915 h 10000"/>
              <a:gd name="connsiteX46" fmla="*/ 715 w 10000"/>
              <a:gd name="connsiteY46" fmla="*/ 127 h 10000"/>
              <a:gd name="connsiteX47" fmla="*/ 4777 w 10000"/>
              <a:gd name="connsiteY47" fmla="*/ 162 h 10000"/>
              <a:gd name="connsiteX48" fmla="*/ 8448 w 10000"/>
              <a:gd name="connsiteY48" fmla="*/ 0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572 w 10000"/>
              <a:gd name="connsiteY19" fmla="*/ 7496 h 10000"/>
              <a:gd name="connsiteX20" fmla="*/ 8754 w 10000"/>
              <a:gd name="connsiteY20" fmla="*/ 7424 h 10000"/>
              <a:gd name="connsiteX21" fmla="*/ 8609 w 10000"/>
              <a:gd name="connsiteY21" fmla="*/ 7869 h 10000"/>
              <a:gd name="connsiteX22" fmla="*/ 8621 w 10000"/>
              <a:gd name="connsiteY22" fmla="*/ 8392 h 10000"/>
              <a:gd name="connsiteX23" fmla="*/ 8537 w 10000"/>
              <a:gd name="connsiteY23" fmla="*/ 8878 h 10000"/>
              <a:gd name="connsiteX24" fmla="*/ 8170 w 10000"/>
              <a:gd name="connsiteY24" fmla="*/ 9723 h 10000"/>
              <a:gd name="connsiteX25" fmla="*/ 8097 w 10000"/>
              <a:gd name="connsiteY25" fmla="*/ 9990 h 10000"/>
              <a:gd name="connsiteX26" fmla="*/ 7766 w 10000"/>
              <a:gd name="connsiteY26" fmla="*/ 9935 h 10000"/>
              <a:gd name="connsiteX27" fmla="*/ 7400 w 10000"/>
              <a:gd name="connsiteY27" fmla="*/ 9723 h 10000"/>
              <a:gd name="connsiteX28" fmla="*/ 1502 w 10000"/>
              <a:gd name="connsiteY28" fmla="*/ 9935 h 10000"/>
              <a:gd name="connsiteX29" fmla="*/ 1428 w 10000"/>
              <a:gd name="connsiteY29" fmla="*/ 9460 h 10000"/>
              <a:gd name="connsiteX30" fmla="*/ 1223 w 10000"/>
              <a:gd name="connsiteY30" fmla="*/ 9316 h 10000"/>
              <a:gd name="connsiteX31" fmla="*/ 1120 w 10000"/>
              <a:gd name="connsiteY31" fmla="*/ 8921 h 10000"/>
              <a:gd name="connsiteX32" fmla="*/ 1145 w 10000"/>
              <a:gd name="connsiteY32" fmla="*/ 8439 h 10000"/>
              <a:gd name="connsiteX33" fmla="*/ 1167 w 10000"/>
              <a:gd name="connsiteY33" fmla="*/ 8061 h 10000"/>
              <a:gd name="connsiteX34" fmla="*/ 1246 w 10000"/>
              <a:gd name="connsiteY34" fmla="*/ 7600 h 10000"/>
              <a:gd name="connsiteX35" fmla="*/ 1173 w 10000"/>
              <a:gd name="connsiteY35" fmla="*/ 7178 h 10000"/>
              <a:gd name="connsiteX36" fmla="*/ 1051 w 10000"/>
              <a:gd name="connsiteY36" fmla="*/ 6758 h 10000"/>
              <a:gd name="connsiteX37" fmla="*/ 1062 w 10000"/>
              <a:gd name="connsiteY37" fmla="*/ 6382 h 10000"/>
              <a:gd name="connsiteX38" fmla="*/ 1062 w 10000"/>
              <a:gd name="connsiteY38" fmla="*/ 6277 h 10000"/>
              <a:gd name="connsiteX39" fmla="*/ 838 w 10000"/>
              <a:gd name="connsiteY39" fmla="*/ 5455 h 10000"/>
              <a:gd name="connsiteX40" fmla="*/ 696 w 10000"/>
              <a:gd name="connsiteY40" fmla="*/ 4471 h 10000"/>
              <a:gd name="connsiteX41" fmla="*/ 543 w 10000"/>
              <a:gd name="connsiteY41" fmla="*/ 3858 h 10000"/>
              <a:gd name="connsiteX42" fmla="*/ 521 w 10000"/>
              <a:gd name="connsiteY42" fmla="*/ 3389 h 10000"/>
              <a:gd name="connsiteX43" fmla="*/ 0 w 10000"/>
              <a:gd name="connsiteY43" fmla="*/ 2563 h 10000"/>
              <a:gd name="connsiteX44" fmla="*/ 477 w 10000"/>
              <a:gd name="connsiteY44" fmla="*/ 1977 h 10000"/>
              <a:gd name="connsiteX45" fmla="*/ 477 w 10000"/>
              <a:gd name="connsiteY45" fmla="*/ 1713 h 10000"/>
              <a:gd name="connsiteX46" fmla="*/ 477 w 10000"/>
              <a:gd name="connsiteY46" fmla="*/ 915 h 10000"/>
              <a:gd name="connsiteX47" fmla="*/ 715 w 10000"/>
              <a:gd name="connsiteY47" fmla="*/ 127 h 10000"/>
              <a:gd name="connsiteX48" fmla="*/ 4777 w 10000"/>
              <a:gd name="connsiteY48" fmla="*/ 162 h 10000"/>
              <a:gd name="connsiteX49" fmla="*/ 8448 w 10000"/>
              <a:gd name="connsiteY49" fmla="*/ 0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572 w 10000"/>
              <a:gd name="connsiteY19" fmla="*/ 7496 h 10000"/>
              <a:gd name="connsiteX20" fmla="*/ 8609 w 10000"/>
              <a:gd name="connsiteY20" fmla="*/ 7869 h 10000"/>
              <a:gd name="connsiteX21" fmla="*/ 8621 w 10000"/>
              <a:gd name="connsiteY21" fmla="*/ 8392 h 10000"/>
              <a:gd name="connsiteX22" fmla="*/ 8537 w 10000"/>
              <a:gd name="connsiteY22" fmla="*/ 8878 h 10000"/>
              <a:gd name="connsiteX23" fmla="*/ 8170 w 10000"/>
              <a:gd name="connsiteY23" fmla="*/ 9723 h 10000"/>
              <a:gd name="connsiteX24" fmla="*/ 8097 w 10000"/>
              <a:gd name="connsiteY24" fmla="*/ 9990 h 10000"/>
              <a:gd name="connsiteX25" fmla="*/ 7766 w 10000"/>
              <a:gd name="connsiteY25" fmla="*/ 9935 h 10000"/>
              <a:gd name="connsiteX26" fmla="*/ 7400 w 10000"/>
              <a:gd name="connsiteY26" fmla="*/ 9723 h 10000"/>
              <a:gd name="connsiteX27" fmla="*/ 1502 w 10000"/>
              <a:gd name="connsiteY27" fmla="*/ 9935 h 10000"/>
              <a:gd name="connsiteX28" fmla="*/ 1428 w 10000"/>
              <a:gd name="connsiteY28" fmla="*/ 9460 h 10000"/>
              <a:gd name="connsiteX29" fmla="*/ 1223 w 10000"/>
              <a:gd name="connsiteY29" fmla="*/ 9316 h 10000"/>
              <a:gd name="connsiteX30" fmla="*/ 1120 w 10000"/>
              <a:gd name="connsiteY30" fmla="*/ 8921 h 10000"/>
              <a:gd name="connsiteX31" fmla="*/ 1145 w 10000"/>
              <a:gd name="connsiteY31" fmla="*/ 8439 h 10000"/>
              <a:gd name="connsiteX32" fmla="*/ 1167 w 10000"/>
              <a:gd name="connsiteY32" fmla="*/ 8061 h 10000"/>
              <a:gd name="connsiteX33" fmla="*/ 1246 w 10000"/>
              <a:gd name="connsiteY33" fmla="*/ 7600 h 10000"/>
              <a:gd name="connsiteX34" fmla="*/ 1173 w 10000"/>
              <a:gd name="connsiteY34" fmla="*/ 7178 h 10000"/>
              <a:gd name="connsiteX35" fmla="*/ 1051 w 10000"/>
              <a:gd name="connsiteY35" fmla="*/ 6758 h 10000"/>
              <a:gd name="connsiteX36" fmla="*/ 1062 w 10000"/>
              <a:gd name="connsiteY36" fmla="*/ 6382 h 10000"/>
              <a:gd name="connsiteX37" fmla="*/ 1062 w 10000"/>
              <a:gd name="connsiteY37" fmla="*/ 6277 h 10000"/>
              <a:gd name="connsiteX38" fmla="*/ 838 w 10000"/>
              <a:gd name="connsiteY38" fmla="*/ 5455 h 10000"/>
              <a:gd name="connsiteX39" fmla="*/ 696 w 10000"/>
              <a:gd name="connsiteY39" fmla="*/ 4471 h 10000"/>
              <a:gd name="connsiteX40" fmla="*/ 543 w 10000"/>
              <a:gd name="connsiteY40" fmla="*/ 3858 h 10000"/>
              <a:gd name="connsiteX41" fmla="*/ 521 w 10000"/>
              <a:gd name="connsiteY41" fmla="*/ 3389 h 10000"/>
              <a:gd name="connsiteX42" fmla="*/ 0 w 10000"/>
              <a:gd name="connsiteY42" fmla="*/ 2563 h 10000"/>
              <a:gd name="connsiteX43" fmla="*/ 477 w 10000"/>
              <a:gd name="connsiteY43" fmla="*/ 1977 h 10000"/>
              <a:gd name="connsiteX44" fmla="*/ 477 w 10000"/>
              <a:gd name="connsiteY44" fmla="*/ 1713 h 10000"/>
              <a:gd name="connsiteX45" fmla="*/ 477 w 10000"/>
              <a:gd name="connsiteY45" fmla="*/ 915 h 10000"/>
              <a:gd name="connsiteX46" fmla="*/ 715 w 10000"/>
              <a:gd name="connsiteY46" fmla="*/ 127 h 10000"/>
              <a:gd name="connsiteX47" fmla="*/ 4777 w 10000"/>
              <a:gd name="connsiteY47" fmla="*/ 162 h 10000"/>
              <a:gd name="connsiteX48" fmla="*/ 8448 w 10000"/>
              <a:gd name="connsiteY48" fmla="*/ 0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609 w 10000"/>
              <a:gd name="connsiteY19" fmla="*/ 7869 h 10000"/>
              <a:gd name="connsiteX20" fmla="*/ 8621 w 10000"/>
              <a:gd name="connsiteY20" fmla="*/ 8392 h 10000"/>
              <a:gd name="connsiteX21" fmla="*/ 8537 w 10000"/>
              <a:gd name="connsiteY21" fmla="*/ 8878 h 10000"/>
              <a:gd name="connsiteX22" fmla="*/ 8170 w 10000"/>
              <a:gd name="connsiteY22" fmla="*/ 9723 h 10000"/>
              <a:gd name="connsiteX23" fmla="*/ 8097 w 10000"/>
              <a:gd name="connsiteY23" fmla="*/ 9990 h 10000"/>
              <a:gd name="connsiteX24" fmla="*/ 7766 w 10000"/>
              <a:gd name="connsiteY24" fmla="*/ 9935 h 10000"/>
              <a:gd name="connsiteX25" fmla="*/ 7400 w 10000"/>
              <a:gd name="connsiteY25" fmla="*/ 9723 h 10000"/>
              <a:gd name="connsiteX26" fmla="*/ 1502 w 10000"/>
              <a:gd name="connsiteY26" fmla="*/ 9935 h 10000"/>
              <a:gd name="connsiteX27" fmla="*/ 1428 w 10000"/>
              <a:gd name="connsiteY27" fmla="*/ 9460 h 10000"/>
              <a:gd name="connsiteX28" fmla="*/ 1223 w 10000"/>
              <a:gd name="connsiteY28" fmla="*/ 9316 h 10000"/>
              <a:gd name="connsiteX29" fmla="*/ 1120 w 10000"/>
              <a:gd name="connsiteY29" fmla="*/ 8921 h 10000"/>
              <a:gd name="connsiteX30" fmla="*/ 1145 w 10000"/>
              <a:gd name="connsiteY30" fmla="*/ 8439 h 10000"/>
              <a:gd name="connsiteX31" fmla="*/ 1167 w 10000"/>
              <a:gd name="connsiteY31" fmla="*/ 8061 h 10000"/>
              <a:gd name="connsiteX32" fmla="*/ 1246 w 10000"/>
              <a:gd name="connsiteY32" fmla="*/ 7600 h 10000"/>
              <a:gd name="connsiteX33" fmla="*/ 1173 w 10000"/>
              <a:gd name="connsiteY33" fmla="*/ 7178 h 10000"/>
              <a:gd name="connsiteX34" fmla="*/ 1051 w 10000"/>
              <a:gd name="connsiteY34" fmla="*/ 6758 h 10000"/>
              <a:gd name="connsiteX35" fmla="*/ 1062 w 10000"/>
              <a:gd name="connsiteY35" fmla="*/ 6382 h 10000"/>
              <a:gd name="connsiteX36" fmla="*/ 1062 w 10000"/>
              <a:gd name="connsiteY36" fmla="*/ 6277 h 10000"/>
              <a:gd name="connsiteX37" fmla="*/ 838 w 10000"/>
              <a:gd name="connsiteY37" fmla="*/ 5455 h 10000"/>
              <a:gd name="connsiteX38" fmla="*/ 696 w 10000"/>
              <a:gd name="connsiteY38" fmla="*/ 4471 h 10000"/>
              <a:gd name="connsiteX39" fmla="*/ 543 w 10000"/>
              <a:gd name="connsiteY39" fmla="*/ 3858 h 10000"/>
              <a:gd name="connsiteX40" fmla="*/ 521 w 10000"/>
              <a:gd name="connsiteY40" fmla="*/ 3389 h 10000"/>
              <a:gd name="connsiteX41" fmla="*/ 0 w 10000"/>
              <a:gd name="connsiteY41" fmla="*/ 2563 h 10000"/>
              <a:gd name="connsiteX42" fmla="*/ 477 w 10000"/>
              <a:gd name="connsiteY42" fmla="*/ 1977 h 10000"/>
              <a:gd name="connsiteX43" fmla="*/ 477 w 10000"/>
              <a:gd name="connsiteY43" fmla="*/ 1713 h 10000"/>
              <a:gd name="connsiteX44" fmla="*/ 477 w 10000"/>
              <a:gd name="connsiteY44" fmla="*/ 915 h 10000"/>
              <a:gd name="connsiteX45" fmla="*/ 715 w 10000"/>
              <a:gd name="connsiteY45" fmla="*/ 127 h 10000"/>
              <a:gd name="connsiteX46" fmla="*/ 4777 w 10000"/>
              <a:gd name="connsiteY46" fmla="*/ 162 h 10000"/>
              <a:gd name="connsiteX47" fmla="*/ 8448 w 10000"/>
              <a:gd name="connsiteY47" fmla="*/ 0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813 w 10000"/>
              <a:gd name="connsiteY19" fmla="*/ 7909 h 10000"/>
              <a:gd name="connsiteX20" fmla="*/ 8621 w 10000"/>
              <a:gd name="connsiteY20" fmla="*/ 8392 h 10000"/>
              <a:gd name="connsiteX21" fmla="*/ 8537 w 10000"/>
              <a:gd name="connsiteY21" fmla="*/ 8878 h 10000"/>
              <a:gd name="connsiteX22" fmla="*/ 8170 w 10000"/>
              <a:gd name="connsiteY22" fmla="*/ 9723 h 10000"/>
              <a:gd name="connsiteX23" fmla="*/ 8097 w 10000"/>
              <a:gd name="connsiteY23" fmla="*/ 9990 h 10000"/>
              <a:gd name="connsiteX24" fmla="*/ 7766 w 10000"/>
              <a:gd name="connsiteY24" fmla="*/ 9935 h 10000"/>
              <a:gd name="connsiteX25" fmla="*/ 7400 w 10000"/>
              <a:gd name="connsiteY25" fmla="*/ 9723 h 10000"/>
              <a:gd name="connsiteX26" fmla="*/ 1502 w 10000"/>
              <a:gd name="connsiteY26" fmla="*/ 9935 h 10000"/>
              <a:gd name="connsiteX27" fmla="*/ 1428 w 10000"/>
              <a:gd name="connsiteY27" fmla="*/ 9460 h 10000"/>
              <a:gd name="connsiteX28" fmla="*/ 1223 w 10000"/>
              <a:gd name="connsiteY28" fmla="*/ 9316 h 10000"/>
              <a:gd name="connsiteX29" fmla="*/ 1120 w 10000"/>
              <a:gd name="connsiteY29" fmla="*/ 8921 h 10000"/>
              <a:gd name="connsiteX30" fmla="*/ 1145 w 10000"/>
              <a:gd name="connsiteY30" fmla="*/ 8439 h 10000"/>
              <a:gd name="connsiteX31" fmla="*/ 1167 w 10000"/>
              <a:gd name="connsiteY31" fmla="*/ 8061 h 10000"/>
              <a:gd name="connsiteX32" fmla="*/ 1246 w 10000"/>
              <a:gd name="connsiteY32" fmla="*/ 7600 h 10000"/>
              <a:gd name="connsiteX33" fmla="*/ 1173 w 10000"/>
              <a:gd name="connsiteY33" fmla="*/ 7178 h 10000"/>
              <a:gd name="connsiteX34" fmla="*/ 1051 w 10000"/>
              <a:gd name="connsiteY34" fmla="*/ 6758 h 10000"/>
              <a:gd name="connsiteX35" fmla="*/ 1062 w 10000"/>
              <a:gd name="connsiteY35" fmla="*/ 6382 h 10000"/>
              <a:gd name="connsiteX36" fmla="*/ 1062 w 10000"/>
              <a:gd name="connsiteY36" fmla="*/ 6277 h 10000"/>
              <a:gd name="connsiteX37" fmla="*/ 838 w 10000"/>
              <a:gd name="connsiteY37" fmla="*/ 5455 h 10000"/>
              <a:gd name="connsiteX38" fmla="*/ 696 w 10000"/>
              <a:gd name="connsiteY38" fmla="*/ 4471 h 10000"/>
              <a:gd name="connsiteX39" fmla="*/ 543 w 10000"/>
              <a:gd name="connsiteY39" fmla="*/ 3858 h 10000"/>
              <a:gd name="connsiteX40" fmla="*/ 521 w 10000"/>
              <a:gd name="connsiteY40" fmla="*/ 3389 h 10000"/>
              <a:gd name="connsiteX41" fmla="*/ 0 w 10000"/>
              <a:gd name="connsiteY41" fmla="*/ 2563 h 10000"/>
              <a:gd name="connsiteX42" fmla="*/ 477 w 10000"/>
              <a:gd name="connsiteY42" fmla="*/ 1977 h 10000"/>
              <a:gd name="connsiteX43" fmla="*/ 477 w 10000"/>
              <a:gd name="connsiteY43" fmla="*/ 1713 h 10000"/>
              <a:gd name="connsiteX44" fmla="*/ 477 w 10000"/>
              <a:gd name="connsiteY44" fmla="*/ 915 h 10000"/>
              <a:gd name="connsiteX45" fmla="*/ 715 w 10000"/>
              <a:gd name="connsiteY45" fmla="*/ 127 h 10000"/>
              <a:gd name="connsiteX46" fmla="*/ 4777 w 10000"/>
              <a:gd name="connsiteY46" fmla="*/ 162 h 10000"/>
              <a:gd name="connsiteX47" fmla="*/ 8448 w 10000"/>
              <a:gd name="connsiteY47" fmla="*/ 0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813 w 10000"/>
              <a:gd name="connsiteY19" fmla="*/ 7909 h 10000"/>
              <a:gd name="connsiteX20" fmla="*/ 8537 w 10000"/>
              <a:gd name="connsiteY20" fmla="*/ 8878 h 10000"/>
              <a:gd name="connsiteX21" fmla="*/ 8170 w 10000"/>
              <a:gd name="connsiteY21" fmla="*/ 9723 h 10000"/>
              <a:gd name="connsiteX22" fmla="*/ 8097 w 10000"/>
              <a:gd name="connsiteY22" fmla="*/ 9990 h 10000"/>
              <a:gd name="connsiteX23" fmla="*/ 7766 w 10000"/>
              <a:gd name="connsiteY23" fmla="*/ 9935 h 10000"/>
              <a:gd name="connsiteX24" fmla="*/ 7400 w 10000"/>
              <a:gd name="connsiteY24" fmla="*/ 9723 h 10000"/>
              <a:gd name="connsiteX25" fmla="*/ 1502 w 10000"/>
              <a:gd name="connsiteY25" fmla="*/ 9935 h 10000"/>
              <a:gd name="connsiteX26" fmla="*/ 1428 w 10000"/>
              <a:gd name="connsiteY26" fmla="*/ 9460 h 10000"/>
              <a:gd name="connsiteX27" fmla="*/ 1223 w 10000"/>
              <a:gd name="connsiteY27" fmla="*/ 9316 h 10000"/>
              <a:gd name="connsiteX28" fmla="*/ 1120 w 10000"/>
              <a:gd name="connsiteY28" fmla="*/ 8921 h 10000"/>
              <a:gd name="connsiteX29" fmla="*/ 1145 w 10000"/>
              <a:gd name="connsiteY29" fmla="*/ 8439 h 10000"/>
              <a:gd name="connsiteX30" fmla="*/ 1167 w 10000"/>
              <a:gd name="connsiteY30" fmla="*/ 8061 h 10000"/>
              <a:gd name="connsiteX31" fmla="*/ 1246 w 10000"/>
              <a:gd name="connsiteY31" fmla="*/ 7600 h 10000"/>
              <a:gd name="connsiteX32" fmla="*/ 1173 w 10000"/>
              <a:gd name="connsiteY32" fmla="*/ 7178 h 10000"/>
              <a:gd name="connsiteX33" fmla="*/ 1051 w 10000"/>
              <a:gd name="connsiteY33" fmla="*/ 6758 h 10000"/>
              <a:gd name="connsiteX34" fmla="*/ 1062 w 10000"/>
              <a:gd name="connsiteY34" fmla="*/ 6382 h 10000"/>
              <a:gd name="connsiteX35" fmla="*/ 1062 w 10000"/>
              <a:gd name="connsiteY35" fmla="*/ 6277 h 10000"/>
              <a:gd name="connsiteX36" fmla="*/ 838 w 10000"/>
              <a:gd name="connsiteY36" fmla="*/ 5455 h 10000"/>
              <a:gd name="connsiteX37" fmla="*/ 696 w 10000"/>
              <a:gd name="connsiteY37" fmla="*/ 4471 h 10000"/>
              <a:gd name="connsiteX38" fmla="*/ 543 w 10000"/>
              <a:gd name="connsiteY38" fmla="*/ 3858 h 10000"/>
              <a:gd name="connsiteX39" fmla="*/ 521 w 10000"/>
              <a:gd name="connsiteY39" fmla="*/ 3389 h 10000"/>
              <a:gd name="connsiteX40" fmla="*/ 0 w 10000"/>
              <a:gd name="connsiteY40" fmla="*/ 2563 h 10000"/>
              <a:gd name="connsiteX41" fmla="*/ 477 w 10000"/>
              <a:gd name="connsiteY41" fmla="*/ 1977 h 10000"/>
              <a:gd name="connsiteX42" fmla="*/ 477 w 10000"/>
              <a:gd name="connsiteY42" fmla="*/ 1713 h 10000"/>
              <a:gd name="connsiteX43" fmla="*/ 477 w 10000"/>
              <a:gd name="connsiteY43" fmla="*/ 915 h 10000"/>
              <a:gd name="connsiteX44" fmla="*/ 715 w 10000"/>
              <a:gd name="connsiteY44" fmla="*/ 127 h 10000"/>
              <a:gd name="connsiteX45" fmla="*/ 4777 w 10000"/>
              <a:gd name="connsiteY45" fmla="*/ 162 h 10000"/>
              <a:gd name="connsiteX46" fmla="*/ 8448 w 10000"/>
              <a:gd name="connsiteY46" fmla="*/ 0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813 w 10000"/>
              <a:gd name="connsiteY19" fmla="*/ 7909 h 10000"/>
              <a:gd name="connsiteX20" fmla="*/ 8218 w 10000"/>
              <a:gd name="connsiteY20" fmla="*/ 8974 h 10000"/>
              <a:gd name="connsiteX21" fmla="*/ 8170 w 10000"/>
              <a:gd name="connsiteY21" fmla="*/ 9723 h 10000"/>
              <a:gd name="connsiteX22" fmla="*/ 8097 w 10000"/>
              <a:gd name="connsiteY22" fmla="*/ 9990 h 10000"/>
              <a:gd name="connsiteX23" fmla="*/ 7766 w 10000"/>
              <a:gd name="connsiteY23" fmla="*/ 9935 h 10000"/>
              <a:gd name="connsiteX24" fmla="*/ 7400 w 10000"/>
              <a:gd name="connsiteY24" fmla="*/ 9723 h 10000"/>
              <a:gd name="connsiteX25" fmla="*/ 1502 w 10000"/>
              <a:gd name="connsiteY25" fmla="*/ 9935 h 10000"/>
              <a:gd name="connsiteX26" fmla="*/ 1428 w 10000"/>
              <a:gd name="connsiteY26" fmla="*/ 9460 h 10000"/>
              <a:gd name="connsiteX27" fmla="*/ 1223 w 10000"/>
              <a:gd name="connsiteY27" fmla="*/ 9316 h 10000"/>
              <a:gd name="connsiteX28" fmla="*/ 1120 w 10000"/>
              <a:gd name="connsiteY28" fmla="*/ 8921 h 10000"/>
              <a:gd name="connsiteX29" fmla="*/ 1145 w 10000"/>
              <a:gd name="connsiteY29" fmla="*/ 8439 h 10000"/>
              <a:gd name="connsiteX30" fmla="*/ 1167 w 10000"/>
              <a:gd name="connsiteY30" fmla="*/ 8061 h 10000"/>
              <a:gd name="connsiteX31" fmla="*/ 1246 w 10000"/>
              <a:gd name="connsiteY31" fmla="*/ 7600 h 10000"/>
              <a:gd name="connsiteX32" fmla="*/ 1173 w 10000"/>
              <a:gd name="connsiteY32" fmla="*/ 7178 h 10000"/>
              <a:gd name="connsiteX33" fmla="*/ 1051 w 10000"/>
              <a:gd name="connsiteY33" fmla="*/ 6758 h 10000"/>
              <a:gd name="connsiteX34" fmla="*/ 1062 w 10000"/>
              <a:gd name="connsiteY34" fmla="*/ 6382 h 10000"/>
              <a:gd name="connsiteX35" fmla="*/ 1062 w 10000"/>
              <a:gd name="connsiteY35" fmla="*/ 6277 h 10000"/>
              <a:gd name="connsiteX36" fmla="*/ 838 w 10000"/>
              <a:gd name="connsiteY36" fmla="*/ 5455 h 10000"/>
              <a:gd name="connsiteX37" fmla="*/ 696 w 10000"/>
              <a:gd name="connsiteY37" fmla="*/ 4471 h 10000"/>
              <a:gd name="connsiteX38" fmla="*/ 543 w 10000"/>
              <a:gd name="connsiteY38" fmla="*/ 3858 h 10000"/>
              <a:gd name="connsiteX39" fmla="*/ 521 w 10000"/>
              <a:gd name="connsiteY39" fmla="*/ 3389 h 10000"/>
              <a:gd name="connsiteX40" fmla="*/ 0 w 10000"/>
              <a:gd name="connsiteY40" fmla="*/ 2563 h 10000"/>
              <a:gd name="connsiteX41" fmla="*/ 477 w 10000"/>
              <a:gd name="connsiteY41" fmla="*/ 1977 h 10000"/>
              <a:gd name="connsiteX42" fmla="*/ 477 w 10000"/>
              <a:gd name="connsiteY42" fmla="*/ 1713 h 10000"/>
              <a:gd name="connsiteX43" fmla="*/ 477 w 10000"/>
              <a:gd name="connsiteY43" fmla="*/ 915 h 10000"/>
              <a:gd name="connsiteX44" fmla="*/ 715 w 10000"/>
              <a:gd name="connsiteY44" fmla="*/ 127 h 10000"/>
              <a:gd name="connsiteX45" fmla="*/ 4777 w 10000"/>
              <a:gd name="connsiteY45" fmla="*/ 162 h 10000"/>
              <a:gd name="connsiteX46" fmla="*/ 8448 w 10000"/>
              <a:gd name="connsiteY46" fmla="*/ 0 h 10000"/>
              <a:gd name="connsiteX0" fmla="*/ 8448 w 10000"/>
              <a:gd name="connsiteY0" fmla="*/ 0 h 10000"/>
              <a:gd name="connsiteX1" fmla="*/ 8353 w 10000"/>
              <a:gd name="connsiteY1" fmla="*/ 491 h 10000"/>
              <a:gd name="connsiteX2" fmla="*/ 8682 w 10000"/>
              <a:gd name="connsiteY2" fmla="*/ 915 h 10000"/>
              <a:gd name="connsiteX3" fmla="*/ 8631 w 10000"/>
              <a:gd name="connsiteY3" fmla="*/ 1221 h 10000"/>
              <a:gd name="connsiteX4" fmla="*/ 8426 w 10000"/>
              <a:gd name="connsiteY4" fmla="*/ 1923 h 10000"/>
              <a:gd name="connsiteX5" fmla="*/ 8537 w 10000"/>
              <a:gd name="connsiteY5" fmla="*/ 2189 h 10000"/>
              <a:gd name="connsiteX6" fmla="*/ 8572 w 10000"/>
              <a:gd name="connsiteY6" fmla="*/ 2510 h 10000"/>
              <a:gd name="connsiteX7" fmla="*/ 8976 w 10000"/>
              <a:gd name="connsiteY7" fmla="*/ 3039 h 10000"/>
              <a:gd name="connsiteX8" fmla="*/ 9458 w 10000"/>
              <a:gd name="connsiteY8" fmla="*/ 3370 h 10000"/>
              <a:gd name="connsiteX9" fmla="*/ 9561 w 10000"/>
              <a:gd name="connsiteY9" fmla="*/ 3995 h 10000"/>
              <a:gd name="connsiteX10" fmla="*/ 9743 w 10000"/>
              <a:gd name="connsiteY10" fmla="*/ 4365 h 10000"/>
              <a:gd name="connsiteX11" fmla="*/ 9890 w 10000"/>
              <a:gd name="connsiteY11" fmla="*/ 4632 h 10000"/>
              <a:gd name="connsiteX12" fmla="*/ 10000 w 10000"/>
              <a:gd name="connsiteY12" fmla="*/ 5427 h 10000"/>
              <a:gd name="connsiteX13" fmla="*/ 9781 w 10000"/>
              <a:gd name="connsiteY13" fmla="*/ 5903 h 10000"/>
              <a:gd name="connsiteX14" fmla="*/ 9670 w 10000"/>
              <a:gd name="connsiteY14" fmla="*/ 6170 h 10000"/>
              <a:gd name="connsiteX15" fmla="*/ 9670 w 10000"/>
              <a:gd name="connsiteY15" fmla="*/ 6647 h 10000"/>
              <a:gd name="connsiteX16" fmla="*/ 9233 w 10000"/>
              <a:gd name="connsiteY16" fmla="*/ 6593 h 10000"/>
              <a:gd name="connsiteX17" fmla="*/ 8902 w 10000"/>
              <a:gd name="connsiteY17" fmla="*/ 6859 h 10000"/>
              <a:gd name="connsiteX18" fmla="*/ 8667 w 10000"/>
              <a:gd name="connsiteY18" fmla="*/ 6896 h 10000"/>
              <a:gd name="connsiteX19" fmla="*/ 8813 w 10000"/>
              <a:gd name="connsiteY19" fmla="*/ 7909 h 10000"/>
              <a:gd name="connsiteX20" fmla="*/ 8218 w 10000"/>
              <a:gd name="connsiteY20" fmla="*/ 8974 h 10000"/>
              <a:gd name="connsiteX21" fmla="*/ 8097 w 10000"/>
              <a:gd name="connsiteY21" fmla="*/ 9990 h 10000"/>
              <a:gd name="connsiteX22" fmla="*/ 7766 w 10000"/>
              <a:gd name="connsiteY22" fmla="*/ 9935 h 10000"/>
              <a:gd name="connsiteX23" fmla="*/ 7400 w 10000"/>
              <a:gd name="connsiteY23" fmla="*/ 9723 h 10000"/>
              <a:gd name="connsiteX24" fmla="*/ 1502 w 10000"/>
              <a:gd name="connsiteY24" fmla="*/ 9935 h 10000"/>
              <a:gd name="connsiteX25" fmla="*/ 1428 w 10000"/>
              <a:gd name="connsiteY25" fmla="*/ 9460 h 10000"/>
              <a:gd name="connsiteX26" fmla="*/ 1223 w 10000"/>
              <a:gd name="connsiteY26" fmla="*/ 9316 h 10000"/>
              <a:gd name="connsiteX27" fmla="*/ 1120 w 10000"/>
              <a:gd name="connsiteY27" fmla="*/ 8921 h 10000"/>
              <a:gd name="connsiteX28" fmla="*/ 1145 w 10000"/>
              <a:gd name="connsiteY28" fmla="*/ 8439 h 10000"/>
              <a:gd name="connsiteX29" fmla="*/ 1167 w 10000"/>
              <a:gd name="connsiteY29" fmla="*/ 8061 h 10000"/>
              <a:gd name="connsiteX30" fmla="*/ 1246 w 10000"/>
              <a:gd name="connsiteY30" fmla="*/ 7600 h 10000"/>
              <a:gd name="connsiteX31" fmla="*/ 1173 w 10000"/>
              <a:gd name="connsiteY31" fmla="*/ 7178 h 10000"/>
              <a:gd name="connsiteX32" fmla="*/ 1051 w 10000"/>
              <a:gd name="connsiteY32" fmla="*/ 6758 h 10000"/>
              <a:gd name="connsiteX33" fmla="*/ 1062 w 10000"/>
              <a:gd name="connsiteY33" fmla="*/ 6382 h 10000"/>
              <a:gd name="connsiteX34" fmla="*/ 1062 w 10000"/>
              <a:gd name="connsiteY34" fmla="*/ 6277 h 10000"/>
              <a:gd name="connsiteX35" fmla="*/ 838 w 10000"/>
              <a:gd name="connsiteY35" fmla="*/ 5455 h 10000"/>
              <a:gd name="connsiteX36" fmla="*/ 696 w 10000"/>
              <a:gd name="connsiteY36" fmla="*/ 4471 h 10000"/>
              <a:gd name="connsiteX37" fmla="*/ 543 w 10000"/>
              <a:gd name="connsiteY37" fmla="*/ 3858 h 10000"/>
              <a:gd name="connsiteX38" fmla="*/ 521 w 10000"/>
              <a:gd name="connsiteY38" fmla="*/ 3389 h 10000"/>
              <a:gd name="connsiteX39" fmla="*/ 0 w 10000"/>
              <a:gd name="connsiteY39" fmla="*/ 2563 h 10000"/>
              <a:gd name="connsiteX40" fmla="*/ 477 w 10000"/>
              <a:gd name="connsiteY40" fmla="*/ 1977 h 10000"/>
              <a:gd name="connsiteX41" fmla="*/ 477 w 10000"/>
              <a:gd name="connsiteY41" fmla="*/ 1713 h 10000"/>
              <a:gd name="connsiteX42" fmla="*/ 477 w 10000"/>
              <a:gd name="connsiteY42" fmla="*/ 915 h 10000"/>
              <a:gd name="connsiteX43" fmla="*/ 715 w 10000"/>
              <a:gd name="connsiteY43" fmla="*/ 127 h 10000"/>
              <a:gd name="connsiteX44" fmla="*/ 4777 w 10000"/>
              <a:gd name="connsiteY44" fmla="*/ 162 h 10000"/>
              <a:gd name="connsiteX45" fmla="*/ 8448 w 10000"/>
              <a:gd name="connsiteY45" fmla="*/ 0 h 10000"/>
              <a:gd name="connsiteX0" fmla="*/ 8448 w 10000"/>
              <a:gd name="connsiteY0" fmla="*/ 0 h 10015"/>
              <a:gd name="connsiteX1" fmla="*/ 8353 w 10000"/>
              <a:gd name="connsiteY1" fmla="*/ 491 h 10015"/>
              <a:gd name="connsiteX2" fmla="*/ 8682 w 10000"/>
              <a:gd name="connsiteY2" fmla="*/ 915 h 10015"/>
              <a:gd name="connsiteX3" fmla="*/ 8631 w 10000"/>
              <a:gd name="connsiteY3" fmla="*/ 1221 h 10015"/>
              <a:gd name="connsiteX4" fmla="*/ 8426 w 10000"/>
              <a:gd name="connsiteY4" fmla="*/ 1923 h 10015"/>
              <a:gd name="connsiteX5" fmla="*/ 8537 w 10000"/>
              <a:gd name="connsiteY5" fmla="*/ 2189 h 10015"/>
              <a:gd name="connsiteX6" fmla="*/ 8572 w 10000"/>
              <a:gd name="connsiteY6" fmla="*/ 2510 h 10015"/>
              <a:gd name="connsiteX7" fmla="*/ 8976 w 10000"/>
              <a:gd name="connsiteY7" fmla="*/ 3039 h 10015"/>
              <a:gd name="connsiteX8" fmla="*/ 9458 w 10000"/>
              <a:gd name="connsiteY8" fmla="*/ 3370 h 10015"/>
              <a:gd name="connsiteX9" fmla="*/ 9561 w 10000"/>
              <a:gd name="connsiteY9" fmla="*/ 3995 h 10015"/>
              <a:gd name="connsiteX10" fmla="*/ 9743 w 10000"/>
              <a:gd name="connsiteY10" fmla="*/ 4365 h 10015"/>
              <a:gd name="connsiteX11" fmla="*/ 9890 w 10000"/>
              <a:gd name="connsiteY11" fmla="*/ 4632 h 10015"/>
              <a:gd name="connsiteX12" fmla="*/ 10000 w 10000"/>
              <a:gd name="connsiteY12" fmla="*/ 5427 h 10015"/>
              <a:gd name="connsiteX13" fmla="*/ 9781 w 10000"/>
              <a:gd name="connsiteY13" fmla="*/ 5903 h 10015"/>
              <a:gd name="connsiteX14" fmla="*/ 9670 w 10000"/>
              <a:gd name="connsiteY14" fmla="*/ 6170 h 10015"/>
              <a:gd name="connsiteX15" fmla="*/ 9670 w 10000"/>
              <a:gd name="connsiteY15" fmla="*/ 6647 h 10015"/>
              <a:gd name="connsiteX16" fmla="*/ 9233 w 10000"/>
              <a:gd name="connsiteY16" fmla="*/ 6593 h 10015"/>
              <a:gd name="connsiteX17" fmla="*/ 8902 w 10000"/>
              <a:gd name="connsiteY17" fmla="*/ 6859 h 10015"/>
              <a:gd name="connsiteX18" fmla="*/ 8667 w 10000"/>
              <a:gd name="connsiteY18" fmla="*/ 6896 h 10015"/>
              <a:gd name="connsiteX19" fmla="*/ 8813 w 10000"/>
              <a:gd name="connsiteY19" fmla="*/ 7909 h 10015"/>
              <a:gd name="connsiteX20" fmla="*/ 8218 w 10000"/>
              <a:gd name="connsiteY20" fmla="*/ 8974 h 10015"/>
              <a:gd name="connsiteX21" fmla="*/ 8097 w 10000"/>
              <a:gd name="connsiteY21" fmla="*/ 9990 h 10015"/>
              <a:gd name="connsiteX22" fmla="*/ 7400 w 10000"/>
              <a:gd name="connsiteY22" fmla="*/ 9723 h 10015"/>
              <a:gd name="connsiteX23" fmla="*/ 1502 w 10000"/>
              <a:gd name="connsiteY23" fmla="*/ 9935 h 10015"/>
              <a:gd name="connsiteX24" fmla="*/ 1428 w 10000"/>
              <a:gd name="connsiteY24" fmla="*/ 9460 h 10015"/>
              <a:gd name="connsiteX25" fmla="*/ 1223 w 10000"/>
              <a:gd name="connsiteY25" fmla="*/ 9316 h 10015"/>
              <a:gd name="connsiteX26" fmla="*/ 1120 w 10000"/>
              <a:gd name="connsiteY26" fmla="*/ 8921 h 10015"/>
              <a:gd name="connsiteX27" fmla="*/ 1145 w 10000"/>
              <a:gd name="connsiteY27" fmla="*/ 8439 h 10015"/>
              <a:gd name="connsiteX28" fmla="*/ 1167 w 10000"/>
              <a:gd name="connsiteY28" fmla="*/ 8061 h 10015"/>
              <a:gd name="connsiteX29" fmla="*/ 1246 w 10000"/>
              <a:gd name="connsiteY29" fmla="*/ 7600 h 10015"/>
              <a:gd name="connsiteX30" fmla="*/ 1173 w 10000"/>
              <a:gd name="connsiteY30" fmla="*/ 7178 h 10015"/>
              <a:gd name="connsiteX31" fmla="*/ 1051 w 10000"/>
              <a:gd name="connsiteY31" fmla="*/ 6758 h 10015"/>
              <a:gd name="connsiteX32" fmla="*/ 1062 w 10000"/>
              <a:gd name="connsiteY32" fmla="*/ 6382 h 10015"/>
              <a:gd name="connsiteX33" fmla="*/ 1062 w 10000"/>
              <a:gd name="connsiteY33" fmla="*/ 6277 h 10015"/>
              <a:gd name="connsiteX34" fmla="*/ 838 w 10000"/>
              <a:gd name="connsiteY34" fmla="*/ 5455 h 10015"/>
              <a:gd name="connsiteX35" fmla="*/ 696 w 10000"/>
              <a:gd name="connsiteY35" fmla="*/ 4471 h 10015"/>
              <a:gd name="connsiteX36" fmla="*/ 543 w 10000"/>
              <a:gd name="connsiteY36" fmla="*/ 3858 h 10015"/>
              <a:gd name="connsiteX37" fmla="*/ 521 w 10000"/>
              <a:gd name="connsiteY37" fmla="*/ 3389 h 10015"/>
              <a:gd name="connsiteX38" fmla="*/ 0 w 10000"/>
              <a:gd name="connsiteY38" fmla="*/ 2563 h 10015"/>
              <a:gd name="connsiteX39" fmla="*/ 477 w 10000"/>
              <a:gd name="connsiteY39" fmla="*/ 1977 h 10015"/>
              <a:gd name="connsiteX40" fmla="*/ 477 w 10000"/>
              <a:gd name="connsiteY40" fmla="*/ 1713 h 10015"/>
              <a:gd name="connsiteX41" fmla="*/ 477 w 10000"/>
              <a:gd name="connsiteY41" fmla="*/ 915 h 10015"/>
              <a:gd name="connsiteX42" fmla="*/ 715 w 10000"/>
              <a:gd name="connsiteY42" fmla="*/ 127 h 10015"/>
              <a:gd name="connsiteX43" fmla="*/ 4777 w 10000"/>
              <a:gd name="connsiteY43" fmla="*/ 162 h 10015"/>
              <a:gd name="connsiteX44" fmla="*/ 8448 w 10000"/>
              <a:gd name="connsiteY44" fmla="*/ 0 h 10015"/>
              <a:gd name="connsiteX0" fmla="*/ 8448 w 10000"/>
              <a:gd name="connsiteY0" fmla="*/ 0 h 10015"/>
              <a:gd name="connsiteX1" fmla="*/ 8570 w 10000"/>
              <a:gd name="connsiteY1" fmla="*/ 375 h 10015"/>
              <a:gd name="connsiteX2" fmla="*/ 8682 w 10000"/>
              <a:gd name="connsiteY2" fmla="*/ 915 h 10015"/>
              <a:gd name="connsiteX3" fmla="*/ 8631 w 10000"/>
              <a:gd name="connsiteY3" fmla="*/ 1221 h 10015"/>
              <a:gd name="connsiteX4" fmla="*/ 8426 w 10000"/>
              <a:gd name="connsiteY4" fmla="*/ 1923 h 10015"/>
              <a:gd name="connsiteX5" fmla="*/ 8537 w 10000"/>
              <a:gd name="connsiteY5" fmla="*/ 2189 h 10015"/>
              <a:gd name="connsiteX6" fmla="*/ 8572 w 10000"/>
              <a:gd name="connsiteY6" fmla="*/ 2510 h 10015"/>
              <a:gd name="connsiteX7" fmla="*/ 8976 w 10000"/>
              <a:gd name="connsiteY7" fmla="*/ 3039 h 10015"/>
              <a:gd name="connsiteX8" fmla="*/ 9458 w 10000"/>
              <a:gd name="connsiteY8" fmla="*/ 3370 h 10015"/>
              <a:gd name="connsiteX9" fmla="*/ 9561 w 10000"/>
              <a:gd name="connsiteY9" fmla="*/ 3995 h 10015"/>
              <a:gd name="connsiteX10" fmla="*/ 9743 w 10000"/>
              <a:gd name="connsiteY10" fmla="*/ 4365 h 10015"/>
              <a:gd name="connsiteX11" fmla="*/ 9890 w 10000"/>
              <a:gd name="connsiteY11" fmla="*/ 4632 h 10015"/>
              <a:gd name="connsiteX12" fmla="*/ 10000 w 10000"/>
              <a:gd name="connsiteY12" fmla="*/ 5427 h 10015"/>
              <a:gd name="connsiteX13" fmla="*/ 9781 w 10000"/>
              <a:gd name="connsiteY13" fmla="*/ 5903 h 10015"/>
              <a:gd name="connsiteX14" fmla="*/ 9670 w 10000"/>
              <a:gd name="connsiteY14" fmla="*/ 6170 h 10015"/>
              <a:gd name="connsiteX15" fmla="*/ 9670 w 10000"/>
              <a:gd name="connsiteY15" fmla="*/ 6647 h 10015"/>
              <a:gd name="connsiteX16" fmla="*/ 9233 w 10000"/>
              <a:gd name="connsiteY16" fmla="*/ 6593 h 10015"/>
              <a:gd name="connsiteX17" fmla="*/ 8902 w 10000"/>
              <a:gd name="connsiteY17" fmla="*/ 6859 h 10015"/>
              <a:gd name="connsiteX18" fmla="*/ 8667 w 10000"/>
              <a:gd name="connsiteY18" fmla="*/ 6896 h 10015"/>
              <a:gd name="connsiteX19" fmla="*/ 8813 w 10000"/>
              <a:gd name="connsiteY19" fmla="*/ 7909 h 10015"/>
              <a:gd name="connsiteX20" fmla="*/ 8218 w 10000"/>
              <a:gd name="connsiteY20" fmla="*/ 8974 h 10015"/>
              <a:gd name="connsiteX21" fmla="*/ 8097 w 10000"/>
              <a:gd name="connsiteY21" fmla="*/ 9990 h 10015"/>
              <a:gd name="connsiteX22" fmla="*/ 7400 w 10000"/>
              <a:gd name="connsiteY22" fmla="*/ 9723 h 10015"/>
              <a:gd name="connsiteX23" fmla="*/ 1502 w 10000"/>
              <a:gd name="connsiteY23" fmla="*/ 9935 h 10015"/>
              <a:gd name="connsiteX24" fmla="*/ 1428 w 10000"/>
              <a:gd name="connsiteY24" fmla="*/ 9460 h 10015"/>
              <a:gd name="connsiteX25" fmla="*/ 1223 w 10000"/>
              <a:gd name="connsiteY25" fmla="*/ 9316 h 10015"/>
              <a:gd name="connsiteX26" fmla="*/ 1120 w 10000"/>
              <a:gd name="connsiteY26" fmla="*/ 8921 h 10015"/>
              <a:gd name="connsiteX27" fmla="*/ 1145 w 10000"/>
              <a:gd name="connsiteY27" fmla="*/ 8439 h 10015"/>
              <a:gd name="connsiteX28" fmla="*/ 1167 w 10000"/>
              <a:gd name="connsiteY28" fmla="*/ 8061 h 10015"/>
              <a:gd name="connsiteX29" fmla="*/ 1246 w 10000"/>
              <a:gd name="connsiteY29" fmla="*/ 7600 h 10015"/>
              <a:gd name="connsiteX30" fmla="*/ 1173 w 10000"/>
              <a:gd name="connsiteY30" fmla="*/ 7178 h 10015"/>
              <a:gd name="connsiteX31" fmla="*/ 1051 w 10000"/>
              <a:gd name="connsiteY31" fmla="*/ 6758 h 10015"/>
              <a:gd name="connsiteX32" fmla="*/ 1062 w 10000"/>
              <a:gd name="connsiteY32" fmla="*/ 6382 h 10015"/>
              <a:gd name="connsiteX33" fmla="*/ 1062 w 10000"/>
              <a:gd name="connsiteY33" fmla="*/ 6277 h 10015"/>
              <a:gd name="connsiteX34" fmla="*/ 838 w 10000"/>
              <a:gd name="connsiteY34" fmla="*/ 5455 h 10015"/>
              <a:gd name="connsiteX35" fmla="*/ 696 w 10000"/>
              <a:gd name="connsiteY35" fmla="*/ 4471 h 10015"/>
              <a:gd name="connsiteX36" fmla="*/ 543 w 10000"/>
              <a:gd name="connsiteY36" fmla="*/ 3858 h 10015"/>
              <a:gd name="connsiteX37" fmla="*/ 521 w 10000"/>
              <a:gd name="connsiteY37" fmla="*/ 3389 h 10015"/>
              <a:gd name="connsiteX38" fmla="*/ 0 w 10000"/>
              <a:gd name="connsiteY38" fmla="*/ 2563 h 10015"/>
              <a:gd name="connsiteX39" fmla="*/ 477 w 10000"/>
              <a:gd name="connsiteY39" fmla="*/ 1977 h 10015"/>
              <a:gd name="connsiteX40" fmla="*/ 477 w 10000"/>
              <a:gd name="connsiteY40" fmla="*/ 1713 h 10015"/>
              <a:gd name="connsiteX41" fmla="*/ 477 w 10000"/>
              <a:gd name="connsiteY41" fmla="*/ 915 h 10015"/>
              <a:gd name="connsiteX42" fmla="*/ 715 w 10000"/>
              <a:gd name="connsiteY42" fmla="*/ 127 h 10015"/>
              <a:gd name="connsiteX43" fmla="*/ 4777 w 10000"/>
              <a:gd name="connsiteY43" fmla="*/ 162 h 10015"/>
              <a:gd name="connsiteX44" fmla="*/ 8448 w 10000"/>
              <a:gd name="connsiteY44" fmla="*/ 0 h 10015"/>
              <a:gd name="connsiteX0" fmla="*/ 8448 w 10000"/>
              <a:gd name="connsiteY0" fmla="*/ 0 h 10015"/>
              <a:gd name="connsiteX1" fmla="*/ 8570 w 10000"/>
              <a:gd name="connsiteY1" fmla="*/ 375 h 10015"/>
              <a:gd name="connsiteX2" fmla="*/ 8682 w 10000"/>
              <a:gd name="connsiteY2" fmla="*/ 915 h 10015"/>
              <a:gd name="connsiteX3" fmla="*/ 8631 w 10000"/>
              <a:gd name="connsiteY3" fmla="*/ 1221 h 10015"/>
              <a:gd name="connsiteX4" fmla="*/ 8426 w 10000"/>
              <a:gd name="connsiteY4" fmla="*/ 1923 h 10015"/>
              <a:gd name="connsiteX5" fmla="*/ 8537 w 10000"/>
              <a:gd name="connsiteY5" fmla="*/ 2189 h 10015"/>
              <a:gd name="connsiteX6" fmla="*/ 8572 w 10000"/>
              <a:gd name="connsiteY6" fmla="*/ 2510 h 10015"/>
              <a:gd name="connsiteX7" fmla="*/ 8976 w 10000"/>
              <a:gd name="connsiteY7" fmla="*/ 3039 h 10015"/>
              <a:gd name="connsiteX8" fmla="*/ 9458 w 10000"/>
              <a:gd name="connsiteY8" fmla="*/ 3370 h 10015"/>
              <a:gd name="connsiteX9" fmla="*/ 9561 w 10000"/>
              <a:gd name="connsiteY9" fmla="*/ 3995 h 10015"/>
              <a:gd name="connsiteX10" fmla="*/ 9743 w 10000"/>
              <a:gd name="connsiteY10" fmla="*/ 4365 h 10015"/>
              <a:gd name="connsiteX11" fmla="*/ 9890 w 10000"/>
              <a:gd name="connsiteY11" fmla="*/ 4632 h 10015"/>
              <a:gd name="connsiteX12" fmla="*/ 10000 w 10000"/>
              <a:gd name="connsiteY12" fmla="*/ 5427 h 10015"/>
              <a:gd name="connsiteX13" fmla="*/ 9781 w 10000"/>
              <a:gd name="connsiteY13" fmla="*/ 5903 h 10015"/>
              <a:gd name="connsiteX14" fmla="*/ 9670 w 10000"/>
              <a:gd name="connsiteY14" fmla="*/ 6170 h 10015"/>
              <a:gd name="connsiteX15" fmla="*/ 9670 w 10000"/>
              <a:gd name="connsiteY15" fmla="*/ 6647 h 10015"/>
              <a:gd name="connsiteX16" fmla="*/ 9354 w 10000"/>
              <a:gd name="connsiteY16" fmla="*/ 7012 h 10015"/>
              <a:gd name="connsiteX17" fmla="*/ 8902 w 10000"/>
              <a:gd name="connsiteY17" fmla="*/ 6859 h 10015"/>
              <a:gd name="connsiteX18" fmla="*/ 8667 w 10000"/>
              <a:gd name="connsiteY18" fmla="*/ 6896 h 10015"/>
              <a:gd name="connsiteX19" fmla="*/ 8813 w 10000"/>
              <a:gd name="connsiteY19" fmla="*/ 7909 h 10015"/>
              <a:gd name="connsiteX20" fmla="*/ 8218 w 10000"/>
              <a:gd name="connsiteY20" fmla="*/ 8974 h 10015"/>
              <a:gd name="connsiteX21" fmla="*/ 8097 w 10000"/>
              <a:gd name="connsiteY21" fmla="*/ 9990 h 10015"/>
              <a:gd name="connsiteX22" fmla="*/ 7400 w 10000"/>
              <a:gd name="connsiteY22" fmla="*/ 9723 h 10015"/>
              <a:gd name="connsiteX23" fmla="*/ 1502 w 10000"/>
              <a:gd name="connsiteY23" fmla="*/ 9935 h 10015"/>
              <a:gd name="connsiteX24" fmla="*/ 1428 w 10000"/>
              <a:gd name="connsiteY24" fmla="*/ 9460 h 10015"/>
              <a:gd name="connsiteX25" fmla="*/ 1223 w 10000"/>
              <a:gd name="connsiteY25" fmla="*/ 9316 h 10015"/>
              <a:gd name="connsiteX26" fmla="*/ 1120 w 10000"/>
              <a:gd name="connsiteY26" fmla="*/ 8921 h 10015"/>
              <a:gd name="connsiteX27" fmla="*/ 1145 w 10000"/>
              <a:gd name="connsiteY27" fmla="*/ 8439 h 10015"/>
              <a:gd name="connsiteX28" fmla="*/ 1167 w 10000"/>
              <a:gd name="connsiteY28" fmla="*/ 8061 h 10015"/>
              <a:gd name="connsiteX29" fmla="*/ 1246 w 10000"/>
              <a:gd name="connsiteY29" fmla="*/ 7600 h 10015"/>
              <a:gd name="connsiteX30" fmla="*/ 1173 w 10000"/>
              <a:gd name="connsiteY30" fmla="*/ 7178 h 10015"/>
              <a:gd name="connsiteX31" fmla="*/ 1051 w 10000"/>
              <a:gd name="connsiteY31" fmla="*/ 6758 h 10015"/>
              <a:gd name="connsiteX32" fmla="*/ 1062 w 10000"/>
              <a:gd name="connsiteY32" fmla="*/ 6382 h 10015"/>
              <a:gd name="connsiteX33" fmla="*/ 1062 w 10000"/>
              <a:gd name="connsiteY33" fmla="*/ 6277 h 10015"/>
              <a:gd name="connsiteX34" fmla="*/ 838 w 10000"/>
              <a:gd name="connsiteY34" fmla="*/ 5455 h 10015"/>
              <a:gd name="connsiteX35" fmla="*/ 696 w 10000"/>
              <a:gd name="connsiteY35" fmla="*/ 4471 h 10015"/>
              <a:gd name="connsiteX36" fmla="*/ 543 w 10000"/>
              <a:gd name="connsiteY36" fmla="*/ 3858 h 10015"/>
              <a:gd name="connsiteX37" fmla="*/ 521 w 10000"/>
              <a:gd name="connsiteY37" fmla="*/ 3389 h 10015"/>
              <a:gd name="connsiteX38" fmla="*/ 0 w 10000"/>
              <a:gd name="connsiteY38" fmla="*/ 2563 h 10015"/>
              <a:gd name="connsiteX39" fmla="*/ 477 w 10000"/>
              <a:gd name="connsiteY39" fmla="*/ 1977 h 10015"/>
              <a:gd name="connsiteX40" fmla="*/ 477 w 10000"/>
              <a:gd name="connsiteY40" fmla="*/ 1713 h 10015"/>
              <a:gd name="connsiteX41" fmla="*/ 477 w 10000"/>
              <a:gd name="connsiteY41" fmla="*/ 915 h 10015"/>
              <a:gd name="connsiteX42" fmla="*/ 715 w 10000"/>
              <a:gd name="connsiteY42" fmla="*/ 127 h 10015"/>
              <a:gd name="connsiteX43" fmla="*/ 4777 w 10000"/>
              <a:gd name="connsiteY43" fmla="*/ 162 h 10015"/>
              <a:gd name="connsiteX44" fmla="*/ 8448 w 10000"/>
              <a:gd name="connsiteY44" fmla="*/ 0 h 10015"/>
              <a:gd name="connsiteX0" fmla="*/ 8448 w 10000"/>
              <a:gd name="connsiteY0" fmla="*/ 0 h 10007"/>
              <a:gd name="connsiteX1" fmla="*/ 8570 w 10000"/>
              <a:gd name="connsiteY1" fmla="*/ 375 h 10007"/>
              <a:gd name="connsiteX2" fmla="*/ 8682 w 10000"/>
              <a:gd name="connsiteY2" fmla="*/ 915 h 10007"/>
              <a:gd name="connsiteX3" fmla="*/ 8631 w 10000"/>
              <a:gd name="connsiteY3" fmla="*/ 1221 h 10007"/>
              <a:gd name="connsiteX4" fmla="*/ 8426 w 10000"/>
              <a:gd name="connsiteY4" fmla="*/ 1923 h 10007"/>
              <a:gd name="connsiteX5" fmla="*/ 8537 w 10000"/>
              <a:gd name="connsiteY5" fmla="*/ 2189 h 10007"/>
              <a:gd name="connsiteX6" fmla="*/ 8572 w 10000"/>
              <a:gd name="connsiteY6" fmla="*/ 2510 h 10007"/>
              <a:gd name="connsiteX7" fmla="*/ 8976 w 10000"/>
              <a:gd name="connsiteY7" fmla="*/ 3039 h 10007"/>
              <a:gd name="connsiteX8" fmla="*/ 9458 w 10000"/>
              <a:gd name="connsiteY8" fmla="*/ 3370 h 10007"/>
              <a:gd name="connsiteX9" fmla="*/ 9561 w 10000"/>
              <a:gd name="connsiteY9" fmla="*/ 3995 h 10007"/>
              <a:gd name="connsiteX10" fmla="*/ 9743 w 10000"/>
              <a:gd name="connsiteY10" fmla="*/ 4365 h 10007"/>
              <a:gd name="connsiteX11" fmla="*/ 9890 w 10000"/>
              <a:gd name="connsiteY11" fmla="*/ 4632 h 10007"/>
              <a:gd name="connsiteX12" fmla="*/ 10000 w 10000"/>
              <a:gd name="connsiteY12" fmla="*/ 5427 h 10007"/>
              <a:gd name="connsiteX13" fmla="*/ 9781 w 10000"/>
              <a:gd name="connsiteY13" fmla="*/ 5903 h 10007"/>
              <a:gd name="connsiteX14" fmla="*/ 9670 w 10000"/>
              <a:gd name="connsiteY14" fmla="*/ 6170 h 10007"/>
              <a:gd name="connsiteX15" fmla="*/ 9670 w 10000"/>
              <a:gd name="connsiteY15" fmla="*/ 6647 h 10007"/>
              <a:gd name="connsiteX16" fmla="*/ 9354 w 10000"/>
              <a:gd name="connsiteY16" fmla="*/ 7012 h 10007"/>
              <a:gd name="connsiteX17" fmla="*/ 8902 w 10000"/>
              <a:gd name="connsiteY17" fmla="*/ 6859 h 10007"/>
              <a:gd name="connsiteX18" fmla="*/ 8667 w 10000"/>
              <a:gd name="connsiteY18" fmla="*/ 6896 h 10007"/>
              <a:gd name="connsiteX19" fmla="*/ 8813 w 10000"/>
              <a:gd name="connsiteY19" fmla="*/ 7909 h 10007"/>
              <a:gd name="connsiteX20" fmla="*/ 8218 w 10000"/>
              <a:gd name="connsiteY20" fmla="*/ 8974 h 10007"/>
              <a:gd name="connsiteX21" fmla="*/ 8097 w 10000"/>
              <a:gd name="connsiteY21" fmla="*/ 9990 h 10007"/>
              <a:gd name="connsiteX22" fmla="*/ 7496 w 10000"/>
              <a:gd name="connsiteY22" fmla="*/ 9505 h 10007"/>
              <a:gd name="connsiteX23" fmla="*/ 1502 w 10000"/>
              <a:gd name="connsiteY23" fmla="*/ 9935 h 10007"/>
              <a:gd name="connsiteX24" fmla="*/ 1428 w 10000"/>
              <a:gd name="connsiteY24" fmla="*/ 9460 h 10007"/>
              <a:gd name="connsiteX25" fmla="*/ 1223 w 10000"/>
              <a:gd name="connsiteY25" fmla="*/ 9316 h 10007"/>
              <a:gd name="connsiteX26" fmla="*/ 1120 w 10000"/>
              <a:gd name="connsiteY26" fmla="*/ 8921 h 10007"/>
              <a:gd name="connsiteX27" fmla="*/ 1145 w 10000"/>
              <a:gd name="connsiteY27" fmla="*/ 8439 h 10007"/>
              <a:gd name="connsiteX28" fmla="*/ 1167 w 10000"/>
              <a:gd name="connsiteY28" fmla="*/ 8061 h 10007"/>
              <a:gd name="connsiteX29" fmla="*/ 1246 w 10000"/>
              <a:gd name="connsiteY29" fmla="*/ 7600 h 10007"/>
              <a:gd name="connsiteX30" fmla="*/ 1173 w 10000"/>
              <a:gd name="connsiteY30" fmla="*/ 7178 h 10007"/>
              <a:gd name="connsiteX31" fmla="*/ 1051 w 10000"/>
              <a:gd name="connsiteY31" fmla="*/ 6758 h 10007"/>
              <a:gd name="connsiteX32" fmla="*/ 1062 w 10000"/>
              <a:gd name="connsiteY32" fmla="*/ 6382 h 10007"/>
              <a:gd name="connsiteX33" fmla="*/ 1062 w 10000"/>
              <a:gd name="connsiteY33" fmla="*/ 6277 h 10007"/>
              <a:gd name="connsiteX34" fmla="*/ 838 w 10000"/>
              <a:gd name="connsiteY34" fmla="*/ 5455 h 10007"/>
              <a:gd name="connsiteX35" fmla="*/ 696 w 10000"/>
              <a:gd name="connsiteY35" fmla="*/ 4471 h 10007"/>
              <a:gd name="connsiteX36" fmla="*/ 543 w 10000"/>
              <a:gd name="connsiteY36" fmla="*/ 3858 h 10007"/>
              <a:gd name="connsiteX37" fmla="*/ 521 w 10000"/>
              <a:gd name="connsiteY37" fmla="*/ 3389 h 10007"/>
              <a:gd name="connsiteX38" fmla="*/ 0 w 10000"/>
              <a:gd name="connsiteY38" fmla="*/ 2563 h 10007"/>
              <a:gd name="connsiteX39" fmla="*/ 477 w 10000"/>
              <a:gd name="connsiteY39" fmla="*/ 1977 h 10007"/>
              <a:gd name="connsiteX40" fmla="*/ 477 w 10000"/>
              <a:gd name="connsiteY40" fmla="*/ 1713 h 10007"/>
              <a:gd name="connsiteX41" fmla="*/ 477 w 10000"/>
              <a:gd name="connsiteY41" fmla="*/ 915 h 10007"/>
              <a:gd name="connsiteX42" fmla="*/ 715 w 10000"/>
              <a:gd name="connsiteY42" fmla="*/ 127 h 10007"/>
              <a:gd name="connsiteX43" fmla="*/ 4777 w 10000"/>
              <a:gd name="connsiteY43" fmla="*/ 162 h 10007"/>
              <a:gd name="connsiteX44" fmla="*/ 8448 w 10000"/>
              <a:gd name="connsiteY44" fmla="*/ 0 h 10007"/>
              <a:gd name="connsiteX0" fmla="*/ 8448 w 10000"/>
              <a:gd name="connsiteY0" fmla="*/ 0 h 10007"/>
              <a:gd name="connsiteX1" fmla="*/ 8570 w 10000"/>
              <a:gd name="connsiteY1" fmla="*/ 375 h 10007"/>
              <a:gd name="connsiteX2" fmla="*/ 8682 w 10000"/>
              <a:gd name="connsiteY2" fmla="*/ 915 h 10007"/>
              <a:gd name="connsiteX3" fmla="*/ 8631 w 10000"/>
              <a:gd name="connsiteY3" fmla="*/ 1221 h 10007"/>
              <a:gd name="connsiteX4" fmla="*/ 8426 w 10000"/>
              <a:gd name="connsiteY4" fmla="*/ 1923 h 10007"/>
              <a:gd name="connsiteX5" fmla="*/ 8537 w 10000"/>
              <a:gd name="connsiteY5" fmla="*/ 2189 h 10007"/>
              <a:gd name="connsiteX6" fmla="*/ 8572 w 10000"/>
              <a:gd name="connsiteY6" fmla="*/ 2510 h 10007"/>
              <a:gd name="connsiteX7" fmla="*/ 8976 w 10000"/>
              <a:gd name="connsiteY7" fmla="*/ 3039 h 10007"/>
              <a:gd name="connsiteX8" fmla="*/ 9458 w 10000"/>
              <a:gd name="connsiteY8" fmla="*/ 3370 h 10007"/>
              <a:gd name="connsiteX9" fmla="*/ 9561 w 10000"/>
              <a:gd name="connsiteY9" fmla="*/ 3995 h 10007"/>
              <a:gd name="connsiteX10" fmla="*/ 9743 w 10000"/>
              <a:gd name="connsiteY10" fmla="*/ 4365 h 10007"/>
              <a:gd name="connsiteX11" fmla="*/ 9890 w 10000"/>
              <a:gd name="connsiteY11" fmla="*/ 4632 h 10007"/>
              <a:gd name="connsiteX12" fmla="*/ 10000 w 10000"/>
              <a:gd name="connsiteY12" fmla="*/ 5427 h 10007"/>
              <a:gd name="connsiteX13" fmla="*/ 9781 w 10000"/>
              <a:gd name="connsiteY13" fmla="*/ 5903 h 10007"/>
              <a:gd name="connsiteX14" fmla="*/ 9670 w 10000"/>
              <a:gd name="connsiteY14" fmla="*/ 6170 h 10007"/>
              <a:gd name="connsiteX15" fmla="*/ 9670 w 10000"/>
              <a:gd name="connsiteY15" fmla="*/ 6647 h 10007"/>
              <a:gd name="connsiteX16" fmla="*/ 9354 w 10000"/>
              <a:gd name="connsiteY16" fmla="*/ 7012 h 10007"/>
              <a:gd name="connsiteX17" fmla="*/ 8902 w 10000"/>
              <a:gd name="connsiteY17" fmla="*/ 6859 h 10007"/>
              <a:gd name="connsiteX18" fmla="*/ 8667 w 10000"/>
              <a:gd name="connsiteY18" fmla="*/ 6896 h 10007"/>
              <a:gd name="connsiteX19" fmla="*/ 8813 w 10000"/>
              <a:gd name="connsiteY19" fmla="*/ 7909 h 10007"/>
              <a:gd name="connsiteX20" fmla="*/ 8218 w 10000"/>
              <a:gd name="connsiteY20" fmla="*/ 8974 h 10007"/>
              <a:gd name="connsiteX21" fmla="*/ 8097 w 10000"/>
              <a:gd name="connsiteY21" fmla="*/ 9990 h 10007"/>
              <a:gd name="connsiteX22" fmla="*/ 7496 w 10000"/>
              <a:gd name="connsiteY22" fmla="*/ 9505 h 10007"/>
              <a:gd name="connsiteX23" fmla="*/ 3102 w 10000"/>
              <a:gd name="connsiteY23" fmla="*/ 9416 h 10007"/>
              <a:gd name="connsiteX24" fmla="*/ 1428 w 10000"/>
              <a:gd name="connsiteY24" fmla="*/ 9460 h 10007"/>
              <a:gd name="connsiteX25" fmla="*/ 1223 w 10000"/>
              <a:gd name="connsiteY25" fmla="*/ 9316 h 10007"/>
              <a:gd name="connsiteX26" fmla="*/ 1120 w 10000"/>
              <a:gd name="connsiteY26" fmla="*/ 8921 h 10007"/>
              <a:gd name="connsiteX27" fmla="*/ 1145 w 10000"/>
              <a:gd name="connsiteY27" fmla="*/ 8439 h 10007"/>
              <a:gd name="connsiteX28" fmla="*/ 1167 w 10000"/>
              <a:gd name="connsiteY28" fmla="*/ 8061 h 10007"/>
              <a:gd name="connsiteX29" fmla="*/ 1246 w 10000"/>
              <a:gd name="connsiteY29" fmla="*/ 7600 h 10007"/>
              <a:gd name="connsiteX30" fmla="*/ 1173 w 10000"/>
              <a:gd name="connsiteY30" fmla="*/ 7178 h 10007"/>
              <a:gd name="connsiteX31" fmla="*/ 1051 w 10000"/>
              <a:gd name="connsiteY31" fmla="*/ 6758 h 10007"/>
              <a:gd name="connsiteX32" fmla="*/ 1062 w 10000"/>
              <a:gd name="connsiteY32" fmla="*/ 6382 h 10007"/>
              <a:gd name="connsiteX33" fmla="*/ 1062 w 10000"/>
              <a:gd name="connsiteY33" fmla="*/ 6277 h 10007"/>
              <a:gd name="connsiteX34" fmla="*/ 838 w 10000"/>
              <a:gd name="connsiteY34" fmla="*/ 5455 h 10007"/>
              <a:gd name="connsiteX35" fmla="*/ 696 w 10000"/>
              <a:gd name="connsiteY35" fmla="*/ 4471 h 10007"/>
              <a:gd name="connsiteX36" fmla="*/ 543 w 10000"/>
              <a:gd name="connsiteY36" fmla="*/ 3858 h 10007"/>
              <a:gd name="connsiteX37" fmla="*/ 521 w 10000"/>
              <a:gd name="connsiteY37" fmla="*/ 3389 h 10007"/>
              <a:gd name="connsiteX38" fmla="*/ 0 w 10000"/>
              <a:gd name="connsiteY38" fmla="*/ 2563 h 10007"/>
              <a:gd name="connsiteX39" fmla="*/ 477 w 10000"/>
              <a:gd name="connsiteY39" fmla="*/ 1977 h 10007"/>
              <a:gd name="connsiteX40" fmla="*/ 477 w 10000"/>
              <a:gd name="connsiteY40" fmla="*/ 1713 h 10007"/>
              <a:gd name="connsiteX41" fmla="*/ 477 w 10000"/>
              <a:gd name="connsiteY41" fmla="*/ 915 h 10007"/>
              <a:gd name="connsiteX42" fmla="*/ 715 w 10000"/>
              <a:gd name="connsiteY42" fmla="*/ 127 h 10007"/>
              <a:gd name="connsiteX43" fmla="*/ 4777 w 10000"/>
              <a:gd name="connsiteY43" fmla="*/ 162 h 10007"/>
              <a:gd name="connsiteX44" fmla="*/ 8448 w 10000"/>
              <a:gd name="connsiteY44" fmla="*/ 0 h 10007"/>
              <a:gd name="connsiteX0" fmla="*/ 8448 w 10000"/>
              <a:gd name="connsiteY0" fmla="*/ 0 h 10007"/>
              <a:gd name="connsiteX1" fmla="*/ 8570 w 10000"/>
              <a:gd name="connsiteY1" fmla="*/ 375 h 10007"/>
              <a:gd name="connsiteX2" fmla="*/ 8682 w 10000"/>
              <a:gd name="connsiteY2" fmla="*/ 915 h 10007"/>
              <a:gd name="connsiteX3" fmla="*/ 8631 w 10000"/>
              <a:gd name="connsiteY3" fmla="*/ 1221 h 10007"/>
              <a:gd name="connsiteX4" fmla="*/ 8426 w 10000"/>
              <a:gd name="connsiteY4" fmla="*/ 1923 h 10007"/>
              <a:gd name="connsiteX5" fmla="*/ 8537 w 10000"/>
              <a:gd name="connsiteY5" fmla="*/ 2189 h 10007"/>
              <a:gd name="connsiteX6" fmla="*/ 8572 w 10000"/>
              <a:gd name="connsiteY6" fmla="*/ 2510 h 10007"/>
              <a:gd name="connsiteX7" fmla="*/ 8976 w 10000"/>
              <a:gd name="connsiteY7" fmla="*/ 3039 h 10007"/>
              <a:gd name="connsiteX8" fmla="*/ 9458 w 10000"/>
              <a:gd name="connsiteY8" fmla="*/ 3370 h 10007"/>
              <a:gd name="connsiteX9" fmla="*/ 9561 w 10000"/>
              <a:gd name="connsiteY9" fmla="*/ 3995 h 10007"/>
              <a:gd name="connsiteX10" fmla="*/ 9743 w 10000"/>
              <a:gd name="connsiteY10" fmla="*/ 4365 h 10007"/>
              <a:gd name="connsiteX11" fmla="*/ 9890 w 10000"/>
              <a:gd name="connsiteY11" fmla="*/ 4632 h 10007"/>
              <a:gd name="connsiteX12" fmla="*/ 10000 w 10000"/>
              <a:gd name="connsiteY12" fmla="*/ 5427 h 10007"/>
              <a:gd name="connsiteX13" fmla="*/ 9781 w 10000"/>
              <a:gd name="connsiteY13" fmla="*/ 5903 h 10007"/>
              <a:gd name="connsiteX14" fmla="*/ 9670 w 10000"/>
              <a:gd name="connsiteY14" fmla="*/ 6170 h 10007"/>
              <a:gd name="connsiteX15" fmla="*/ 9670 w 10000"/>
              <a:gd name="connsiteY15" fmla="*/ 6647 h 10007"/>
              <a:gd name="connsiteX16" fmla="*/ 9354 w 10000"/>
              <a:gd name="connsiteY16" fmla="*/ 7012 h 10007"/>
              <a:gd name="connsiteX17" fmla="*/ 8902 w 10000"/>
              <a:gd name="connsiteY17" fmla="*/ 6859 h 10007"/>
              <a:gd name="connsiteX18" fmla="*/ 8667 w 10000"/>
              <a:gd name="connsiteY18" fmla="*/ 6896 h 10007"/>
              <a:gd name="connsiteX19" fmla="*/ 8813 w 10000"/>
              <a:gd name="connsiteY19" fmla="*/ 7909 h 10007"/>
              <a:gd name="connsiteX20" fmla="*/ 8218 w 10000"/>
              <a:gd name="connsiteY20" fmla="*/ 8974 h 10007"/>
              <a:gd name="connsiteX21" fmla="*/ 8097 w 10000"/>
              <a:gd name="connsiteY21" fmla="*/ 9990 h 10007"/>
              <a:gd name="connsiteX22" fmla="*/ 7496 w 10000"/>
              <a:gd name="connsiteY22" fmla="*/ 9505 h 10007"/>
              <a:gd name="connsiteX23" fmla="*/ 3102 w 10000"/>
              <a:gd name="connsiteY23" fmla="*/ 9416 h 10007"/>
              <a:gd name="connsiteX24" fmla="*/ 1223 w 10000"/>
              <a:gd name="connsiteY24" fmla="*/ 9316 h 10007"/>
              <a:gd name="connsiteX25" fmla="*/ 1120 w 10000"/>
              <a:gd name="connsiteY25" fmla="*/ 8921 h 10007"/>
              <a:gd name="connsiteX26" fmla="*/ 1145 w 10000"/>
              <a:gd name="connsiteY26" fmla="*/ 8439 h 10007"/>
              <a:gd name="connsiteX27" fmla="*/ 1167 w 10000"/>
              <a:gd name="connsiteY27" fmla="*/ 8061 h 10007"/>
              <a:gd name="connsiteX28" fmla="*/ 1246 w 10000"/>
              <a:gd name="connsiteY28" fmla="*/ 7600 h 10007"/>
              <a:gd name="connsiteX29" fmla="*/ 1173 w 10000"/>
              <a:gd name="connsiteY29" fmla="*/ 7178 h 10007"/>
              <a:gd name="connsiteX30" fmla="*/ 1051 w 10000"/>
              <a:gd name="connsiteY30" fmla="*/ 6758 h 10007"/>
              <a:gd name="connsiteX31" fmla="*/ 1062 w 10000"/>
              <a:gd name="connsiteY31" fmla="*/ 6382 h 10007"/>
              <a:gd name="connsiteX32" fmla="*/ 1062 w 10000"/>
              <a:gd name="connsiteY32" fmla="*/ 6277 h 10007"/>
              <a:gd name="connsiteX33" fmla="*/ 838 w 10000"/>
              <a:gd name="connsiteY33" fmla="*/ 5455 h 10007"/>
              <a:gd name="connsiteX34" fmla="*/ 696 w 10000"/>
              <a:gd name="connsiteY34" fmla="*/ 4471 h 10007"/>
              <a:gd name="connsiteX35" fmla="*/ 543 w 10000"/>
              <a:gd name="connsiteY35" fmla="*/ 3858 h 10007"/>
              <a:gd name="connsiteX36" fmla="*/ 521 w 10000"/>
              <a:gd name="connsiteY36" fmla="*/ 3389 h 10007"/>
              <a:gd name="connsiteX37" fmla="*/ 0 w 10000"/>
              <a:gd name="connsiteY37" fmla="*/ 2563 h 10007"/>
              <a:gd name="connsiteX38" fmla="*/ 477 w 10000"/>
              <a:gd name="connsiteY38" fmla="*/ 1977 h 10007"/>
              <a:gd name="connsiteX39" fmla="*/ 477 w 10000"/>
              <a:gd name="connsiteY39" fmla="*/ 1713 h 10007"/>
              <a:gd name="connsiteX40" fmla="*/ 477 w 10000"/>
              <a:gd name="connsiteY40" fmla="*/ 915 h 10007"/>
              <a:gd name="connsiteX41" fmla="*/ 715 w 10000"/>
              <a:gd name="connsiteY41" fmla="*/ 127 h 10007"/>
              <a:gd name="connsiteX42" fmla="*/ 4777 w 10000"/>
              <a:gd name="connsiteY42" fmla="*/ 162 h 10007"/>
              <a:gd name="connsiteX43" fmla="*/ 8448 w 10000"/>
              <a:gd name="connsiteY43" fmla="*/ 0 h 10007"/>
              <a:gd name="connsiteX0" fmla="*/ 8448 w 10000"/>
              <a:gd name="connsiteY0" fmla="*/ 0 h 9505"/>
              <a:gd name="connsiteX1" fmla="*/ 8570 w 10000"/>
              <a:gd name="connsiteY1" fmla="*/ 375 h 9505"/>
              <a:gd name="connsiteX2" fmla="*/ 8682 w 10000"/>
              <a:gd name="connsiteY2" fmla="*/ 915 h 9505"/>
              <a:gd name="connsiteX3" fmla="*/ 8631 w 10000"/>
              <a:gd name="connsiteY3" fmla="*/ 1221 h 9505"/>
              <a:gd name="connsiteX4" fmla="*/ 8426 w 10000"/>
              <a:gd name="connsiteY4" fmla="*/ 1923 h 9505"/>
              <a:gd name="connsiteX5" fmla="*/ 8537 w 10000"/>
              <a:gd name="connsiteY5" fmla="*/ 2189 h 9505"/>
              <a:gd name="connsiteX6" fmla="*/ 8572 w 10000"/>
              <a:gd name="connsiteY6" fmla="*/ 2510 h 9505"/>
              <a:gd name="connsiteX7" fmla="*/ 8976 w 10000"/>
              <a:gd name="connsiteY7" fmla="*/ 3039 h 9505"/>
              <a:gd name="connsiteX8" fmla="*/ 9458 w 10000"/>
              <a:gd name="connsiteY8" fmla="*/ 3370 h 9505"/>
              <a:gd name="connsiteX9" fmla="*/ 9561 w 10000"/>
              <a:gd name="connsiteY9" fmla="*/ 3995 h 9505"/>
              <a:gd name="connsiteX10" fmla="*/ 9743 w 10000"/>
              <a:gd name="connsiteY10" fmla="*/ 4365 h 9505"/>
              <a:gd name="connsiteX11" fmla="*/ 9890 w 10000"/>
              <a:gd name="connsiteY11" fmla="*/ 4632 h 9505"/>
              <a:gd name="connsiteX12" fmla="*/ 10000 w 10000"/>
              <a:gd name="connsiteY12" fmla="*/ 5427 h 9505"/>
              <a:gd name="connsiteX13" fmla="*/ 9781 w 10000"/>
              <a:gd name="connsiteY13" fmla="*/ 5903 h 9505"/>
              <a:gd name="connsiteX14" fmla="*/ 9670 w 10000"/>
              <a:gd name="connsiteY14" fmla="*/ 6170 h 9505"/>
              <a:gd name="connsiteX15" fmla="*/ 9670 w 10000"/>
              <a:gd name="connsiteY15" fmla="*/ 6647 h 9505"/>
              <a:gd name="connsiteX16" fmla="*/ 9354 w 10000"/>
              <a:gd name="connsiteY16" fmla="*/ 7012 h 9505"/>
              <a:gd name="connsiteX17" fmla="*/ 8902 w 10000"/>
              <a:gd name="connsiteY17" fmla="*/ 6859 h 9505"/>
              <a:gd name="connsiteX18" fmla="*/ 8667 w 10000"/>
              <a:gd name="connsiteY18" fmla="*/ 6896 h 9505"/>
              <a:gd name="connsiteX19" fmla="*/ 8813 w 10000"/>
              <a:gd name="connsiteY19" fmla="*/ 7909 h 9505"/>
              <a:gd name="connsiteX20" fmla="*/ 8218 w 10000"/>
              <a:gd name="connsiteY20" fmla="*/ 8974 h 9505"/>
              <a:gd name="connsiteX21" fmla="*/ 7496 w 10000"/>
              <a:gd name="connsiteY21" fmla="*/ 9505 h 9505"/>
              <a:gd name="connsiteX22" fmla="*/ 3102 w 10000"/>
              <a:gd name="connsiteY22" fmla="*/ 9416 h 9505"/>
              <a:gd name="connsiteX23" fmla="*/ 1223 w 10000"/>
              <a:gd name="connsiteY23" fmla="*/ 9316 h 9505"/>
              <a:gd name="connsiteX24" fmla="*/ 1120 w 10000"/>
              <a:gd name="connsiteY24" fmla="*/ 8921 h 9505"/>
              <a:gd name="connsiteX25" fmla="*/ 1145 w 10000"/>
              <a:gd name="connsiteY25" fmla="*/ 8439 h 9505"/>
              <a:gd name="connsiteX26" fmla="*/ 1167 w 10000"/>
              <a:gd name="connsiteY26" fmla="*/ 8061 h 9505"/>
              <a:gd name="connsiteX27" fmla="*/ 1246 w 10000"/>
              <a:gd name="connsiteY27" fmla="*/ 7600 h 9505"/>
              <a:gd name="connsiteX28" fmla="*/ 1173 w 10000"/>
              <a:gd name="connsiteY28" fmla="*/ 7178 h 9505"/>
              <a:gd name="connsiteX29" fmla="*/ 1051 w 10000"/>
              <a:gd name="connsiteY29" fmla="*/ 6758 h 9505"/>
              <a:gd name="connsiteX30" fmla="*/ 1062 w 10000"/>
              <a:gd name="connsiteY30" fmla="*/ 6382 h 9505"/>
              <a:gd name="connsiteX31" fmla="*/ 1062 w 10000"/>
              <a:gd name="connsiteY31" fmla="*/ 6277 h 9505"/>
              <a:gd name="connsiteX32" fmla="*/ 838 w 10000"/>
              <a:gd name="connsiteY32" fmla="*/ 5455 h 9505"/>
              <a:gd name="connsiteX33" fmla="*/ 696 w 10000"/>
              <a:gd name="connsiteY33" fmla="*/ 4471 h 9505"/>
              <a:gd name="connsiteX34" fmla="*/ 543 w 10000"/>
              <a:gd name="connsiteY34" fmla="*/ 3858 h 9505"/>
              <a:gd name="connsiteX35" fmla="*/ 521 w 10000"/>
              <a:gd name="connsiteY35" fmla="*/ 3389 h 9505"/>
              <a:gd name="connsiteX36" fmla="*/ 0 w 10000"/>
              <a:gd name="connsiteY36" fmla="*/ 2563 h 9505"/>
              <a:gd name="connsiteX37" fmla="*/ 477 w 10000"/>
              <a:gd name="connsiteY37" fmla="*/ 1977 h 9505"/>
              <a:gd name="connsiteX38" fmla="*/ 477 w 10000"/>
              <a:gd name="connsiteY38" fmla="*/ 1713 h 9505"/>
              <a:gd name="connsiteX39" fmla="*/ 477 w 10000"/>
              <a:gd name="connsiteY39" fmla="*/ 915 h 9505"/>
              <a:gd name="connsiteX40" fmla="*/ 715 w 10000"/>
              <a:gd name="connsiteY40" fmla="*/ 127 h 9505"/>
              <a:gd name="connsiteX41" fmla="*/ 4777 w 10000"/>
              <a:gd name="connsiteY41" fmla="*/ 162 h 9505"/>
              <a:gd name="connsiteX42" fmla="*/ 8448 w 10000"/>
              <a:gd name="connsiteY42" fmla="*/ 0 h 9505"/>
              <a:gd name="connsiteX0" fmla="*/ 8448 w 10000"/>
              <a:gd name="connsiteY0" fmla="*/ 0 h 10000"/>
              <a:gd name="connsiteX1" fmla="*/ 8570 w 10000"/>
              <a:gd name="connsiteY1" fmla="*/ 395 h 10000"/>
              <a:gd name="connsiteX2" fmla="*/ 8682 w 10000"/>
              <a:gd name="connsiteY2" fmla="*/ 963 h 10000"/>
              <a:gd name="connsiteX3" fmla="*/ 8631 w 10000"/>
              <a:gd name="connsiteY3" fmla="*/ 1285 h 10000"/>
              <a:gd name="connsiteX4" fmla="*/ 8426 w 10000"/>
              <a:gd name="connsiteY4" fmla="*/ 2023 h 10000"/>
              <a:gd name="connsiteX5" fmla="*/ 8537 w 10000"/>
              <a:gd name="connsiteY5" fmla="*/ 2303 h 10000"/>
              <a:gd name="connsiteX6" fmla="*/ 8572 w 10000"/>
              <a:gd name="connsiteY6" fmla="*/ 2641 h 10000"/>
              <a:gd name="connsiteX7" fmla="*/ 8976 w 10000"/>
              <a:gd name="connsiteY7" fmla="*/ 3197 h 10000"/>
              <a:gd name="connsiteX8" fmla="*/ 9458 w 10000"/>
              <a:gd name="connsiteY8" fmla="*/ 3546 h 10000"/>
              <a:gd name="connsiteX9" fmla="*/ 9561 w 10000"/>
              <a:gd name="connsiteY9" fmla="*/ 4203 h 10000"/>
              <a:gd name="connsiteX10" fmla="*/ 9743 w 10000"/>
              <a:gd name="connsiteY10" fmla="*/ 4592 h 10000"/>
              <a:gd name="connsiteX11" fmla="*/ 9890 w 10000"/>
              <a:gd name="connsiteY11" fmla="*/ 4873 h 10000"/>
              <a:gd name="connsiteX12" fmla="*/ 10000 w 10000"/>
              <a:gd name="connsiteY12" fmla="*/ 5710 h 10000"/>
              <a:gd name="connsiteX13" fmla="*/ 9781 w 10000"/>
              <a:gd name="connsiteY13" fmla="*/ 6210 h 10000"/>
              <a:gd name="connsiteX14" fmla="*/ 9670 w 10000"/>
              <a:gd name="connsiteY14" fmla="*/ 6491 h 10000"/>
              <a:gd name="connsiteX15" fmla="*/ 9670 w 10000"/>
              <a:gd name="connsiteY15" fmla="*/ 6993 h 10000"/>
              <a:gd name="connsiteX16" fmla="*/ 9354 w 10000"/>
              <a:gd name="connsiteY16" fmla="*/ 7377 h 10000"/>
              <a:gd name="connsiteX17" fmla="*/ 8902 w 10000"/>
              <a:gd name="connsiteY17" fmla="*/ 7216 h 10000"/>
              <a:gd name="connsiteX18" fmla="*/ 8667 w 10000"/>
              <a:gd name="connsiteY18" fmla="*/ 7255 h 10000"/>
              <a:gd name="connsiteX19" fmla="*/ 8813 w 10000"/>
              <a:gd name="connsiteY19" fmla="*/ 8321 h 10000"/>
              <a:gd name="connsiteX20" fmla="*/ 8218 w 10000"/>
              <a:gd name="connsiteY20" fmla="*/ 9441 h 10000"/>
              <a:gd name="connsiteX21" fmla="*/ 7965 w 10000"/>
              <a:gd name="connsiteY21" fmla="*/ 9894 h 10000"/>
              <a:gd name="connsiteX22" fmla="*/ 7496 w 10000"/>
              <a:gd name="connsiteY22" fmla="*/ 10000 h 10000"/>
              <a:gd name="connsiteX23" fmla="*/ 3102 w 10000"/>
              <a:gd name="connsiteY23" fmla="*/ 9906 h 10000"/>
              <a:gd name="connsiteX24" fmla="*/ 1223 w 10000"/>
              <a:gd name="connsiteY24" fmla="*/ 9801 h 10000"/>
              <a:gd name="connsiteX25" fmla="*/ 1120 w 10000"/>
              <a:gd name="connsiteY25" fmla="*/ 9386 h 10000"/>
              <a:gd name="connsiteX26" fmla="*/ 1145 w 10000"/>
              <a:gd name="connsiteY26" fmla="*/ 8878 h 10000"/>
              <a:gd name="connsiteX27" fmla="*/ 1167 w 10000"/>
              <a:gd name="connsiteY27" fmla="*/ 8481 h 10000"/>
              <a:gd name="connsiteX28" fmla="*/ 1246 w 10000"/>
              <a:gd name="connsiteY28" fmla="*/ 7996 h 10000"/>
              <a:gd name="connsiteX29" fmla="*/ 1173 w 10000"/>
              <a:gd name="connsiteY29" fmla="*/ 7552 h 10000"/>
              <a:gd name="connsiteX30" fmla="*/ 1051 w 10000"/>
              <a:gd name="connsiteY30" fmla="*/ 7110 h 10000"/>
              <a:gd name="connsiteX31" fmla="*/ 1062 w 10000"/>
              <a:gd name="connsiteY31" fmla="*/ 6714 h 10000"/>
              <a:gd name="connsiteX32" fmla="*/ 1062 w 10000"/>
              <a:gd name="connsiteY32" fmla="*/ 6604 h 10000"/>
              <a:gd name="connsiteX33" fmla="*/ 838 w 10000"/>
              <a:gd name="connsiteY33" fmla="*/ 5739 h 10000"/>
              <a:gd name="connsiteX34" fmla="*/ 696 w 10000"/>
              <a:gd name="connsiteY34" fmla="*/ 4704 h 10000"/>
              <a:gd name="connsiteX35" fmla="*/ 543 w 10000"/>
              <a:gd name="connsiteY35" fmla="*/ 4059 h 10000"/>
              <a:gd name="connsiteX36" fmla="*/ 521 w 10000"/>
              <a:gd name="connsiteY36" fmla="*/ 3565 h 10000"/>
              <a:gd name="connsiteX37" fmla="*/ 0 w 10000"/>
              <a:gd name="connsiteY37" fmla="*/ 2696 h 10000"/>
              <a:gd name="connsiteX38" fmla="*/ 477 w 10000"/>
              <a:gd name="connsiteY38" fmla="*/ 2080 h 10000"/>
              <a:gd name="connsiteX39" fmla="*/ 477 w 10000"/>
              <a:gd name="connsiteY39" fmla="*/ 1802 h 10000"/>
              <a:gd name="connsiteX40" fmla="*/ 477 w 10000"/>
              <a:gd name="connsiteY40" fmla="*/ 963 h 10000"/>
              <a:gd name="connsiteX41" fmla="*/ 715 w 10000"/>
              <a:gd name="connsiteY41" fmla="*/ 134 h 10000"/>
              <a:gd name="connsiteX42" fmla="*/ 4777 w 10000"/>
              <a:gd name="connsiteY42" fmla="*/ 170 h 10000"/>
              <a:gd name="connsiteX43" fmla="*/ 8448 w 10000"/>
              <a:gd name="connsiteY43" fmla="*/ 0 h 10000"/>
              <a:gd name="connsiteX0" fmla="*/ 8448 w 10000"/>
              <a:gd name="connsiteY0" fmla="*/ 0 h 10603"/>
              <a:gd name="connsiteX1" fmla="*/ 8570 w 10000"/>
              <a:gd name="connsiteY1" fmla="*/ 395 h 10603"/>
              <a:gd name="connsiteX2" fmla="*/ 8682 w 10000"/>
              <a:gd name="connsiteY2" fmla="*/ 963 h 10603"/>
              <a:gd name="connsiteX3" fmla="*/ 8631 w 10000"/>
              <a:gd name="connsiteY3" fmla="*/ 1285 h 10603"/>
              <a:gd name="connsiteX4" fmla="*/ 8426 w 10000"/>
              <a:gd name="connsiteY4" fmla="*/ 2023 h 10603"/>
              <a:gd name="connsiteX5" fmla="*/ 8537 w 10000"/>
              <a:gd name="connsiteY5" fmla="*/ 2303 h 10603"/>
              <a:gd name="connsiteX6" fmla="*/ 8572 w 10000"/>
              <a:gd name="connsiteY6" fmla="*/ 2641 h 10603"/>
              <a:gd name="connsiteX7" fmla="*/ 8976 w 10000"/>
              <a:gd name="connsiteY7" fmla="*/ 3197 h 10603"/>
              <a:gd name="connsiteX8" fmla="*/ 9458 w 10000"/>
              <a:gd name="connsiteY8" fmla="*/ 3546 h 10603"/>
              <a:gd name="connsiteX9" fmla="*/ 9561 w 10000"/>
              <a:gd name="connsiteY9" fmla="*/ 4203 h 10603"/>
              <a:gd name="connsiteX10" fmla="*/ 9743 w 10000"/>
              <a:gd name="connsiteY10" fmla="*/ 4592 h 10603"/>
              <a:gd name="connsiteX11" fmla="*/ 9890 w 10000"/>
              <a:gd name="connsiteY11" fmla="*/ 4873 h 10603"/>
              <a:gd name="connsiteX12" fmla="*/ 10000 w 10000"/>
              <a:gd name="connsiteY12" fmla="*/ 5710 h 10603"/>
              <a:gd name="connsiteX13" fmla="*/ 9781 w 10000"/>
              <a:gd name="connsiteY13" fmla="*/ 6210 h 10603"/>
              <a:gd name="connsiteX14" fmla="*/ 9670 w 10000"/>
              <a:gd name="connsiteY14" fmla="*/ 6491 h 10603"/>
              <a:gd name="connsiteX15" fmla="*/ 9670 w 10000"/>
              <a:gd name="connsiteY15" fmla="*/ 6993 h 10603"/>
              <a:gd name="connsiteX16" fmla="*/ 9354 w 10000"/>
              <a:gd name="connsiteY16" fmla="*/ 7377 h 10603"/>
              <a:gd name="connsiteX17" fmla="*/ 8902 w 10000"/>
              <a:gd name="connsiteY17" fmla="*/ 7216 h 10603"/>
              <a:gd name="connsiteX18" fmla="*/ 8667 w 10000"/>
              <a:gd name="connsiteY18" fmla="*/ 7255 h 10603"/>
              <a:gd name="connsiteX19" fmla="*/ 8813 w 10000"/>
              <a:gd name="connsiteY19" fmla="*/ 8321 h 10603"/>
              <a:gd name="connsiteX20" fmla="*/ 8218 w 10000"/>
              <a:gd name="connsiteY20" fmla="*/ 9441 h 10603"/>
              <a:gd name="connsiteX21" fmla="*/ 8143 w 10000"/>
              <a:gd name="connsiteY21" fmla="*/ 10595 h 10603"/>
              <a:gd name="connsiteX22" fmla="*/ 7496 w 10000"/>
              <a:gd name="connsiteY22" fmla="*/ 10000 h 10603"/>
              <a:gd name="connsiteX23" fmla="*/ 3102 w 10000"/>
              <a:gd name="connsiteY23" fmla="*/ 9906 h 10603"/>
              <a:gd name="connsiteX24" fmla="*/ 1223 w 10000"/>
              <a:gd name="connsiteY24" fmla="*/ 9801 h 10603"/>
              <a:gd name="connsiteX25" fmla="*/ 1120 w 10000"/>
              <a:gd name="connsiteY25" fmla="*/ 9386 h 10603"/>
              <a:gd name="connsiteX26" fmla="*/ 1145 w 10000"/>
              <a:gd name="connsiteY26" fmla="*/ 8878 h 10603"/>
              <a:gd name="connsiteX27" fmla="*/ 1167 w 10000"/>
              <a:gd name="connsiteY27" fmla="*/ 8481 h 10603"/>
              <a:gd name="connsiteX28" fmla="*/ 1246 w 10000"/>
              <a:gd name="connsiteY28" fmla="*/ 7996 h 10603"/>
              <a:gd name="connsiteX29" fmla="*/ 1173 w 10000"/>
              <a:gd name="connsiteY29" fmla="*/ 7552 h 10603"/>
              <a:gd name="connsiteX30" fmla="*/ 1051 w 10000"/>
              <a:gd name="connsiteY30" fmla="*/ 7110 h 10603"/>
              <a:gd name="connsiteX31" fmla="*/ 1062 w 10000"/>
              <a:gd name="connsiteY31" fmla="*/ 6714 h 10603"/>
              <a:gd name="connsiteX32" fmla="*/ 1062 w 10000"/>
              <a:gd name="connsiteY32" fmla="*/ 6604 h 10603"/>
              <a:gd name="connsiteX33" fmla="*/ 838 w 10000"/>
              <a:gd name="connsiteY33" fmla="*/ 5739 h 10603"/>
              <a:gd name="connsiteX34" fmla="*/ 696 w 10000"/>
              <a:gd name="connsiteY34" fmla="*/ 4704 h 10603"/>
              <a:gd name="connsiteX35" fmla="*/ 543 w 10000"/>
              <a:gd name="connsiteY35" fmla="*/ 4059 h 10603"/>
              <a:gd name="connsiteX36" fmla="*/ 521 w 10000"/>
              <a:gd name="connsiteY36" fmla="*/ 3565 h 10603"/>
              <a:gd name="connsiteX37" fmla="*/ 0 w 10000"/>
              <a:gd name="connsiteY37" fmla="*/ 2696 h 10603"/>
              <a:gd name="connsiteX38" fmla="*/ 477 w 10000"/>
              <a:gd name="connsiteY38" fmla="*/ 2080 h 10603"/>
              <a:gd name="connsiteX39" fmla="*/ 477 w 10000"/>
              <a:gd name="connsiteY39" fmla="*/ 1802 h 10603"/>
              <a:gd name="connsiteX40" fmla="*/ 477 w 10000"/>
              <a:gd name="connsiteY40" fmla="*/ 963 h 10603"/>
              <a:gd name="connsiteX41" fmla="*/ 715 w 10000"/>
              <a:gd name="connsiteY41" fmla="*/ 134 h 10603"/>
              <a:gd name="connsiteX42" fmla="*/ 4777 w 10000"/>
              <a:gd name="connsiteY42" fmla="*/ 170 h 10603"/>
              <a:gd name="connsiteX43" fmla="*/ 8448 w 10000"/>
              <a:gd name="connsiteY43" fmla="*/ 0 h 10603"/>
              <a:gd name="connsiteX0" fmla="*/ 8448 w 10000"/>
              <a:gd name="connsiteY0" fmla="*/ 0 h 10603"/>
              <a:gd name="connsiteX1" fmla="*/ 8570 w 10000"/>
              <a:gd name="connsiteY1" fmla="*/ 395 h 10603"/>
              <a:gd name="connsiteX2" fmla="*/ 8682 w 10000"/>
              <a:gd name="connsiteY2" fmla="*/ 963 h 10603"/>
              <a:gd name="connsiteX3" fmla="*/ 8631 w 10000"/>
              <a:gd name="connsiteY3" fmla="*/ 1285 h 10603"/>
              <a:gd name="connsiteX4" fmla="*/ 8426 w 10000"/>
              <a:gd name="connsiteY4" fmla="*/ 2023 h 10603"/>
              <a:gd name="connsiteX5" fmla="*/ 8537 w 10000"/>
              <a:gd name="connsiteY5" fmla="*/ 2303 h 10603"/>
              <a:gd name="connsiteX6" fmla="*/ 8572 w 10000"/>
              <a:gd name="connsiteY6" fmla="*/ 2641 h 10603"/>
              <a:gd name="connsiteX7" fmla="*/ 8976 w 10000"/>
              <a:gd name="connsiteY7" fmla="*/ 3197 h 10603"/>
              <a:gd name="connsiteX8" fmla="*/ 9458 w 10000"/>
              <a:gd name="connsiteY8" fmla="*/ 3546 h 10603"/>
              <a:gd name="connsiteX9" fmla="*/ 9561 w 10000"/>
              <a:gd name="connsiteY9" fmla="*/ 4203 h 10603"/>
              <a:gd name="connsiteX10" fmla="*/ 9743 w 10000"/>
              <a:gd name="connsiteY10" fmla="*/ 4592 h 10603"/>
              <a:gd name="connsiteX11" fmla="*/ 9890 w 10000"/>
              <a:gd name="connsiteY11" fmla="*/ 4873 h 10603"/>
              <a:gd name="connsiteX12" fmla="*/ 10000 w 10000"/>
              <a:gd name="connsiteY12" fmla="*/ 5710 h 10603"/>
              <a:gd name="connsiteX13" fmla="*/ 9781 w 10000"/>
              <a:gd name="connsiteY13" fmla="*/ 6210 h 10603"/>
              <a:gd name="connsiteX14" fmla="*/ 9670 w 10000"/>
              <a:gd name="connsiteY14" fmla="*/ 6491 h 10603"/>
              <a:gd name="connsiteX15" fmla="*/ 9670 w 10000"/>
              <a:gd name="connsiteY15" fmla="*/ 6993 h 10603"/>
              <a:gd name="connsiteX16" fmla="*/ 9354 w 10000"/>
              <a:gd name="connsiteY16" fmla="*/ 7377 h 10603"/>
              <a:gd name="connsiteX17" fmla="*/ 8902 w 10000"/>
              <a:gd name="connsiteY17" fmla="*/ 7216 h 10603"/>
              <a:gd name="connsiteX18" fmla="*/ 8667 w 10000"/>
              <a:gd name="connsiteY18" fmla="*/ 7255 h 10603"/>
              <a:gd name="connsiteX19" fmla="*/ 8813 w 10000"/>
              <a:gd name="connsiteY19" fmla="*/ 8321 h 10603"/>
              <a:gd name="connsiteX20" fmla="*/ 8218 w 10000"/>
              <a:gd name="connsiteY20" fmla="*/ 9441 h 10603"/>
              <a:gd name="connsiteX21" fmla="*/ 8143 w 10000"/>
              <a:gd name="connsiteY21" fmla="*/ 10595 h 10603"/>
              <a:gd name="connsiteX22" fmla="*/ 7496 w 10000"/>
              <a:gd name="connsiteY22" fmla="*/ 10000 h 10603"/>
              <a:gd name="connsiteX23" fmla="*/ 3102 w 10000"/>
              <a:gd name="connsiteY23" fmla="*/ 9906 h 10603"/>
              <a:gd name="connsiteX24" fmla="*/ 1223 w 10000"/>
              <a:gd name="connsiteY24" fmla="*/ 9801 h 10603"/>
              <a:gd name="connsiteX25" fmla="*/ 1120 w 10000"/>
              <a:gd name="connsiteY25" fmla="*/ 9386 h 10603"/>
              <a:gd name="connsiteX26" fmla="*/ 1145 w 10000"/>
              <a:gd name="connsiteY26" fmla="*/ 8878 h 10603"/>
              <a:gd name="connsiteX27" fmla="*/ 1167 w 10000"/>
              <a:gd name="connsiteY27" fmla="*/ 8481 h 10603"/>
              <a:gd name="connsiteX28" fmla="*/ 1246 w 10000"/>
              <a:gd name="connsiteY28" fmla="*/ 7996 h 10603"/>
              <a:gd name="connsiteX29" fmla="*/ 1173 w 10000"/>
              <a:gd name="connsiteY29" fmla="*/ 7552 h 10603"/>
              <a:gd name="connsiteX30" fmla="*/ 1051 w 10000"/>
              <a:gd name="connsiteY30" fmla="*/ 7110 h 10603"/>
              <a:gd name="connsiteX31" fmla="*/ 1062 w 10000"/>
              <a:gd name="connsiteY31" fmla="*/ 6714 h 10603"/>
              <a:gd name="connsiteX32" fmla="*/ 1062 w 10000"/>
              <a:gd name="connsiteY32" fmla="*/ 6604 h 10603"/>
              <a:gd name="connsiteX33" fmla="*/ 838 w 10000"/>
              <a:gd name="connsiteY33" fmla="*/ 5739 h 10603"/>
              <a:gd name="connsiteX34" fmla="*/ 696 w 10000"/>
              <a:gd name="connsiteY34" fmla="*/ 4704 h 10603"/>
              <a:gd name="connsiteX35" fmla="*/ 543 w 10000"/>
              <a:gd name="connsiteY35" fmla="*/ 4059 h 10603"/>
              <a:gd name="connsiteX36" fmla="*/ 521 w 10000"/>
              <a:gd name="connsiteY36" fmla="*/ 3565 h 10603"/>
              <a:gd name="connsiteX37" fmla="*/ 0 w 10000"/>
              <a:gd name="connsiteY37" fmla="*/ 2696 h 10603"/>
              <a:gd name="connsiteX38" fmla="*/ 477 w 10000"/>
              <a:gd name="connsiteY38" fmla="*/ 2080 h 10603"/>
              <a:gd name="connsiteX39" fmla="*/ 477 w 10000"/>
              <a:gd name="connsiteY39" fmla="*/ 1802 h 10603"/>
              <a:gd name="connsiteX40" fmla="*/ 477 w 10000"/>
              <a:gd name="connsiteY40" fmla="*/ 963 h 10603"/>
              <a:gd name="connsiteX41" fmla="*/ 715 w 10000"/>
              <a:gd name="connsiteY41" fmla="*/ 134 h 10603"/>
              <a:gd name="connsiteX42" fmla="*/ 4777 w 10000"/>
              <a:gd name="connsiteY42" fmla="*/ 170 h 10603"/>
              <a:gd name="connsiteX43" fmla="*/ 8448 w 10000"/>
              <a:gd name="connsiteY43" fmla="*/ 0 h 10603"/>
              <a:gd name="connsiteX0" fmla="*/ 8448 w 10000"/>
              <a:gd name="connsiteY0" fmla="*/ 0 h 10614"/>
              <a:gd name="connsiteX1" fmla="*/ 8570 w 10000"/>
              <a:gd name="connsiteY1" fmla="*/ 395 h 10614"/>
              <a:gd name="connsiteX2" fmla="*/ 8682 w 10000"/>
              <a:gd name="connsiteY2" fmla="*/ 963 h 10614"/>
              <a:gd name="connsiteX3" fmla="*/ 8631 w 10000"/>
              <a:gd name="connsiteY3" fmla="*/ 1285 h 10614"/>
              <a:gd name="connsiteX4" fmla="*/ 8426 w 10000"/>
              <a:gd name="connsiteY4" fmla="*/ 2023 h 10614"/>
              <a:gd name="connsiteX5" fmla="*/ 8537 w 10000"/>
              <a:gd name="connsiteY5" fmla="*/ 2303 h 10614"/>
              <a:gd name="connsiteX6" fmla="*/ 8572 w 10000"/>
              <a:gd name="connsiteY6" fmla="*/ 2641 h 10614"/>
              <a:gd name="connsiteX7" fmla="*/ 8976 w 10000"/>
              <a:gd name="connsiteY7" fmla="*/ 3197 h 10614"/>
              <a:gd name="connsiteX8" fmla="*/ 9458 w 10000"/>
              <a:gd name="connsiteY8" fmla="*/ 3546 h 10614"/>
              <a:gd name="connsiteX9" fmla="*/ 9561 w 10000"/>
              <a:gd name="connsiteY9" fmla="*/ 4203 h 10614"/>
              <a:gd name="connsiteX10" fmla="*/ 9743 w 10000"/>
              <a:gd name="connsiteY10" fmla="*/ 4592 h 10614"/>
              <a:gd name="connsiteX11" fmla="*/ 9890 w 10000"/>
              <a:gd name="connsiteY11" fmla="*/ 4873 h 10614"/>
              <a:gd name="connsiteX12" fmla="*/ 10000 w 10000"/>
              <a:gd name="connsiteY12" fmla="*/ 5710 h 10614"/>
              <a:gd name="connsiteX13" fmla="*/ 9781 w 10000"/>
              <a:gd name="connsiteY13" fmla="*/ 6210 h 10614"/>
              <a:gd name="connsiteX14" fmla="*/ 9670 w 10000"/>
              <a:gd name="connsiteY14" fmla="*/ 6491 h 10614"/>
              <a:gd name="connsiteX15" fmla="*/ 9670 w 10000"/>
              <a:gd name="connsiteY15" fmla="*/ 6993 h 10614"/>
              <a:gd name="connsiteX16" fmla="*/ 9354 w 10000"/>
              <a:gd name="connsiteY16" fmla="*/ 7377 h 10614"/>
              <a:gd name="connsiteX17" fmla="*/ 8902 w 10000"/>
              <a:gd name="connsiteY17" fmla="*/ 7216 h 10614"/>
              <a:gd name="connsiteX18" fmla="*/ 8667 w 10000"/>
              <a:gd name="connsiteY18" fmla="*/ 7255 h 10614"/>
              <a:gd name="connsiteX19" fmla="*/ 8813 w 10000"/>
              <a:gd name="connsiteY19" fmla="*/ 8321 h 10614"/>
              <a:gd name="connsiteX20" fmla="*/ 8218 w 10000"/>
              <a:gd name="connsiteY20" fmla="*/ 9441 h 10614"/>
              <a:gd name="connsiteX21" fmla="*/ 8143 w 10000"/>
              <a:gd name="connsiteY21" fmla="*/ 10595 h 10614"/>
              <a:gd name="connsiteX22" fmla="*/ 7496 w 10000"/>
              <a:gd name="connsiteY22" fmla="*/ 10000 h 10614"/>
              <a:gd name="connsiteX23" fmla="*/ 3102 w 10000"/>
              <a:gd name="connsiteY23" fmla="*/ 9906 h 10614"/>
              <a:gd name="connsiteX24" fmla="*/ 1223 w 10000"/>
              <a:gd name="connsiteY24" fmla="*/ 9801 h 10614"/>
              <a:gd name="connsiteX25" fmla="*/ 1120 w 10000"/>
              <a:gd name="connsiteY25" fmla="*/ 9386 h 10614"/>
              <a:gd name="connsiteX26" fmla="*/ 1145 w 10000"/>
              <a:gd name="connsiteY26" fmla="*/ 8878 h 10614"/>
              <a:gd name="connsiteX27" fmla="*/ 1167 w 10000"/>
              <a:gd name="connsiteY27" fmla="*/ 8481 h 10614"/>
              <a:gd name="connsiteX28" fmla="*/ 1246 w 10000"/>
              <a:gd name="connsiteY28" fmla="*/ 7996 h 10614"/>
              <a:gd name="connsiteX29" fmla="*/ 1173 w 10000"/>
              <a:gd name="connsiteY29" fmla="*/ 7552 h 10614"/>
              <a:gd name="connsiteX30" fmla="*/ 1051 w 10000"/>
              <a:gd name="connsiteY30" fmla="*/ 7110 h 10614"/>
              <a:gd name="connsiteX31" fmla="*/ 1062 w 10000"/>
              <a:gd name="connsiteY31" fmla="*/ 6714 h 10614"/>
              <a:gd name="connsiteX32" fmla="*/ 1062 w 10000"/>
              <a:gd name="connsiteY32" fmla="*/ 6604 h 10614"/>
              <a:gd name="connsiteX33" fmla="*/ 838 w 10000"/>
              <a:gd name="connsiteY33" fmla="*/ 5739 h 10614"/>
              <a:gd name="connsiteX34" fmla="*/ 696 w 10000"/>
              <a:gd name="connsiteY34" fmla="*/ 4704 h 10614"/>
              <a:gd name="connsiteX35" fmla="*/ 543 w 10000"/>
              <a:gd name="connsiteY35" fmla="*/ 4059 h 10614"/>
              <a:gd name="connsiteX36" fmla="*/ 521 w 10000"/>
              <a:gd name="connsiteY36" fmla="*/ 3565 h 10614"/>
              <a:gd name="connsiteX37" fmla="*/ 0 w 10000"/>
              <a:gd name="connsiteY37" fmla="*/ 2696 h 10614"/>
              <a:gd name="connsiteX38" fmla="*/ 477 w 10000"/>
              <a:gd name="connsiteY38" fmla="*/ 2080 h 10614"/>
              <a:gd name="connsiteX39" fmla="*/ 477 w 10000"/>
              <a:gd name="connsiteY39" fmla="*/ 1802 h 10614"/>
              <a:gd name="connsiteX40" fmla="*/ 477 w 10000"/>
              <a:gd name="connsiteY40" fmla="*/ 963 h 10614"/>
              <a:gd name="connsiteX41" fmla="*/ 715 w 10000"/>
              <a:gd name="connsiteY41" fmla="*/ 134 h 10614"/>
              <a:gd name="connsiteX42" fmla="*/ 4777 w 10000"/>
              <a:gd name="connsiteY42" fmla="*/ 170 h 10614"/>
              <a:gd name="connsiteX43" fmla="*/ 8448 w 10000"/>
              <a:gd name="connsiteY43" fmla="*/ 0 h 10614"/>
              <a:gd name="connsiteX0" fmla="*/ 8448 w 10000"/>
              <a:gd name="connsiteY0" fmla="*/ 0 h 10614"/>
              <a:gd name="connsiteX1" fmla="*/ 8570 w 10000"/>
              <a:gd name="connsiteY1" fmla="*/ 395 h 10614"/>
              <a:gd name="connsiteX2" fmla="*/ 8682 w 10000"/>
              <a:gd name="connsiteY2" fmla="*/ 963 h 10614"/>
              <a:gd name="connsiteX3" fmla="*/ 8631 w 10000"/>
              <a:gd name="connsiteY3" fmla="*/ 1285 h 10614"/>
              <a:gd name="connsiteX4" fmla="*/ 8426 w 10000"/>
              <a:gd name="connsiteY4" fmla="*/ 2023 h 10614"/>
              <a:gd name="connsiteX5" fmla="*/ 8537 w 10000"/>
              <a:gd name="connsiteY5" fmla="*/ 2303 h 10614"/>
              <a:gd name="connsiteX6" fmla="*/ 8572 w 10000"/>
              <a:gd name="connsiteY6" fmla="*/ 2641 h 10614"/>
              <a:gd name="connsiteX7" fmla="*/ 8976 w 10000"/>
              <a:gd name="connsiteY7" fmla="*/ 3197 h 10614"/>
              <a:gd name="connsiteX8" fmla="*/ 9458 w 10000"/>
              <a:gd name="connsiteY8" fmla="*/ 3546 h 10614"/>
              <a:gd name="connsiteX9" fmla="*/ 9561 w 10000"/>
              <a:gd name="connsiteY9" fmla="*/ 4203 h 10614"/>
              <a:gd name="connsiteX10" fmla="*/ 9743 w 10000"/>
              <a:gd name="connsiteY10" fmla="*/ 4592 h 10614"/>
              <a:gd name="connsiteX11" fmla="*/ 9890 w 10000"/>
              <a:gd name="connsiteY11" fmla="*/ 4873 h 10614"/>
              <a:gd name="connsiteX12" fmla="*/ 10000 w 10000"/>
              <a:gd name="connsiteY12" fmla="*/ 5710 h 10614"/>
              <a:gd name="connsiteX13" fmla="*/ 9781 w 10000"/>
              <a:gd name="connsiteY13" fmla="*/ 6210 h 10614"/>
              <a:gd name="connsiteX14" fmla="*/ 9670 w 10000"/>
              <a:gd name="connsiteY14" fmla="*/ 6491 h 10614"/>
              <a:gd name="connsiteX15" fmla="*/ 9670 w 10000"/>
              <a:gd name="connsiteY15" fmla="*/ 6993 h 10614"/>
              <a:gd name="connsiteX16" fmla="*/ 9354 w 10000"/>
              <a:gd name="connsiteY16" fmla="*/ 7377 h 10614"/>
              <a:gd name="connsiteX17" fmla="*/ 8902 w 10000"/>
              <a:gd name="connsiteY17" fmla="*/ 7216 h 10614"/>
              <a:gd name="connsiteX18" fmla="*/ 8667 w 10000"/>
              <a:gd name="connsiteY18" fmla="*/ 7255 h 10614"/>
              <a:gd name="connsiteX19" fmla="*/ 8813 w 10000"/>
              <a:gd name="connsiteY19" fmla="*/ 8321 h 10614"/>
              <a:gd name="connsiteX20" fmla="*/ 8218 w 10000"/>
              <a:gd name="connsiteY20" fmla="*/ 9441 h 10614"/>
              <a:gd name="connsiteX21" fmla="*/ 8143 w 10000"/>
              <a:gd name="connsiteY21" fmla="*/ 10595 h 10614"/>
              <a:gd name="connsiteX22" fmla="*/ 7496 w 10000"/>
              <a:gd name="connsiteY22" fmla="*/ 10000 h 10614"/>
              <a:gd name="connsiteX23" fmla="*/ 3102 w 10000"/>
              <a:gd name="connsiteY23" fmla="*/ 9906 h 10614"/>
              <a:gd name="connsiteX24" fmla="*/ 1223 w 10000"/>
              <a:gd name="connsiteY24" fmla="*/ 9801 h 10614"/>
              <a:gd name="connsiteX25" fmla="*/ 1120 w 10000"/>
              <a:gd name="connsiteY25" fmla="*/ 9386 h 10614"/>
              <a:gd name="connsiteX26" fmla="*/ 1145 w 10000"/>
              <a:gd name="connsiteY26" fmla="*/ 8878 h 10614"/>
              <a:gd name="connsiteX27" fmla="*/ 1167 w 10000"/>
              <a:gd name="connsiteY27" fmla="*/ 8481 h 10614"/>
              <a:gd name="connsiteX28" fmla="*/ 1246 w 10000"/>
              <a:gd name="connsiteY28" fmla="*/ 7996 h 10614"/>
              <a:gd name="connsiteX29" fmla="*/ 1173 w 10000"/>
              <a:gd name="connsiteY29" fmla="*/ 7552 h 10614"/>
              <a:gd name="connsiteX30" fmla="*/ 1051 w 10000"/>
              <a:gd name="connsiteY30" fmla="*/ 7110 h 10614"/>
              <a:gd name="connsiteX31" fmla="*/ 1062 w 10000"/>
              <a:gd name="connsiteY31" fmla="*/ 6714 h 10614"/>
              <a:gd name="connsiteX32" fmla="*/ 1062 w 10000"/>
              <a:gd name="connsiteY32" fmla="*/ 6604 h 10614"/>
              <a:gd name="connsiteX33" fmla="*/ 838 w 10000"/>
              <a:gd name="connsiteY33" fmla="*/ 5739 h 10614"/>
              <a:gd name="connsiteX34" fmla="*/ 696 w 10000"/>
              <a:gd name="connsiteY34" fmla="*/ 4704 h 10614"/>
              <a:gd name="connsiteX35" fmla="*/ 543 w 10000"/>
              <a:gd name="connsiteY35" fmla="*/ 4059 h 10614"/>
              <a:gd name="connsiteX36" fmla="*/ 521 w 10000"/>
              <a:gd name="connsiteY36" fmla="*/ 3565 h 10614"/>
              <a:gd name="connsiteX37" fmla="*/ 0 w 10000"/>
              <a:gd name="connsiteY37" fmla="*/ 2696 h 10614"/>
              <a:gd name="connsiteX38" fmla="*/ 477 w 10000"/>
              <a:gd name="connsiteY38" fmla="*/ 2080 h 10614"/>
              <a:gd name="connsiteX39" fmla="*/ 477 w 10000"/>
              <a:gd name="connsiteY39" fmla="*/ 1802 h 10614"/>
              <a:gd name="connsiteX40" fmla="*/ 477 w 10000"/>
              <a:gd name="connsiteY40" fmla="*/ 963 h 10614"/>
              <a:gd name="connsiteX41" fmla="*/ 715 w 10000"/>
              <a:gd name="connsiteY41" fmla="*/ 134 h 10614"/>
              <a:gd name="connsiteX42" fmla="*/ 4777 w 10000"/>
              <a:gd name="connsiteY42" fmla="*/ 170 h 10614"/>
              <a:gd name="connsiteX43" fmla="*/ 8448 w 10000"/>
              <a:gd name="connsiteY43" fmla="*/ 0 h 10614"/>
              <a:gd name="connsiteX0" fmla="*/ 8448 w 10000"/>
              <a:gd name="connsiteY0" fmla="*/ 0 h 10614"/>
              <a:gd name="connsiteX1" fmla="*/ 8570 w 10000"/>
              <a:gd name="connsiteY1" fmla="*/ 395 h 10614"/>
              <a:gd name="connsiteX2" fmla="*/ 8682 w 10000"/>
              <a:gd name="connsiteY2" fmla="*/ 963 h 10614"/>
              <a:gd name="connsiteX3" fmla="*/ 8631 w 10000"/>
              <a:gd name="connsiteY3" fmla="*/ 1285 h 10614"/>
              <a:gd name="connsiteX4" fmla="*/ 8426 w 10000"/>
              <a:gd name="connsiteY4" fmla="*/ 2023 h 10614"/>
              <a:gd name="connsiteX5" fmla="*/ 8537 w 10000"/>
              <a:gd name="connsiteY5" fmla="*/ 2303 h 10614"/>
              <a:gd name="connsiteX6" fmla="*/ 8572 w 10000"/>
              <a:gd name="connsiteY6" fmla="*/ 2641 h 10614"/>
              <a:gd name="connsiteX7" fmla="*/ 8976 w 10000"/>
              <a:gd name="connsiteY7" fmla="*/ 3197 h 10614"/>
              <a:gd name="connsiteX8" fmla="*/ 9458 w 10000"/>
              <a:gd name="connsiteY8" fmla="*/ 3546 h 10614"/>
              <a:gd name="connsiteX9" fmla="*/ 9561 w 10000"/>
              <a:gd name="connsiteY9" fmla="*/ 4203 h 10614"/>
              <a:gd name="connsiteX10" fmla="*/ 9743 w 10000"/>
              <a:gd name="connsiteY10" fmla="*/ 4592 h 10614"/>
              <a:gd name="connsiteX11" fmla="*/ 9890 w 10000"/>
              <a:gd name="connsiteY11" fmla="*/ 4873 h 10614"/>
              <a:gd name="connsiteX12" fmla="*/ 10000 w 10000"/>
              <a:gd name="connsiteY12" fmla="*/ 5710 h 10614"/>
              <a:gd name="connsiteX13" fmla="*/ 9781 w 10000"/>
              <a:gd name="connsiteY13" fmla="*/ 6210 h 10614"/>
              <a:gd name="connsiteX14" fmla="*/ 9670 w 10000"/>
              <a:gd name="connsiteY14" fmla="*/ 6491 h 10614"/>
              <a:gd name="connsiteX15" fmla="*/ 9670 w 10000"/>
              <a:gd name="connsiteY15" fmla="*/ 6993 h 10614"/>
              <a:gd name="connsiteX16" fmla="*/ 9354 w 10000"/>
              <a:gd name="connsiteY16" fmla="*/ 7377 h 10614"/>
              <a:gd name="connsiteX17" fmla="*/ 8902 w 10000"/>
              <a:gd name="connsiteY17" fmla="*/ 7216 h 10614"/>
              <a:gd name="connsiteX18" fmla="*/ 8667 w 10000"/>
              <a:gd name="connsiteY18" fmla="*/ 7255 h 10614"/>
              <a:gd name="connsiteX19" fmla="*/ 8813 w 10000"/>
              <a:gd name="connsiteY19" fmla="*/ 8321 h 10614"/>
              <a:gd name="connsiteX20" fmla="*/ 8218 w 10000"/>
              <a:gd name="connsiteY20" fmla="*/ 9441 h 10614"/>
              <a:gd name="connsiteX21" fmla="*/ 8143 w 10000"/>
              <a:gd name="connsiteY21" fmla="*/ 10595 h 10614"/>
              <a:gd name="connsiteX22" fmla="*/ 7496 w 10000"/>
              <a:gd name="connsiteY22" fmla="*/ 10000 h 10614"/>
              <a:gd name="connsiteX23" fmla="*/ 3102 w 10000"/>
              <a:gd name="connsiteY23" fmla="*/ 9906 h 10614"/>
              <a:gd name="connsiteX24" fmla="*/ 1223 w 10000"/>
              <a:gd name="connsiteY24" fmla="*/ 9801 h 10614"/>
              <a:gd name="connsiteX25" fmla="*/ 1120 w 10000"/>
              <a:gd name="connsiteY25" fmla="*/ 9386 h 10614"/>
              <a:gd name="connsiteX26" fmla="*/ 1145 w 10000"/>
              <a:gd name="connsiteY26" fmla="*/ 8878 h 10614"/>
              <a:gd name="connsiteX27" fmla="*/ 1167 w 10000"/>
              <a:gd name="connsiteY27" fmla="*/ 8481 h 10614"/>
              <a:gd name="connsiteX28" fmla="*/ 1246 w 10000"/>
              <a:gd name="connsiteY28" fmla="*/ 7996 h 10614"/>
              <a:gd name="connsiteX29" fmla="*/ 1173 w 10000"/>
              <a:gd name="connsiteY29" fmla="*/ 7552 h 10614"/>
              <a:gd name="connsiteX30" fmla="*/ 1051 w 10000"/>
              <a:gd name="connsiteY30" fmla="*/ 7110 h 10614"/>
              <a:gd name="connsiteX31" fmla="*/ 1062 w 10000"/>
              <a:gd name="connsiteY31" fmla="*/ 6714 h 10614"/>
              <a:gd name="connsiteX32" fmla="*/ 1062 w 10000"/>
              <a:gd name="connsiteY32" fmla="*/ 6604 h 10614"/>
              <a:gd name="connsiteX33" fmla="*/ 838 w 10000"/>
              <a:gd name="connsiteY33" fmla="*/ 5739 h 10614"/>
              <a:gd name="connsiteX34" fmla="*/ 696 w 10000"/>
              <a:gd name="connsiteY34" fmla="*/ 4704 h 10614"/>
              <a:gd name="connsiteX35" fmla="*/ 543 w 10000"/>
              <a:gd name="connsiteY35" fmla="*/ 4059 h 10614"/>
              <a:gd name="connsiteX36" fmla="*/ 521 w 10000"/>
              <a:gd name="connsiteY36" fmla="*/ 3565 h 10614"/>
              <a:gd name="connsiteX37" fmla="*/ 0 w 10000"/>
              <a:gd name="connsiteY37" fmla="*/ 2696 h 10614"/>
              <a:gd name="connsiteX38" fmla="*/ 477 w 10000"/>
              <a:gd name="connsiteY38" fmla="*/ 2080 h 10614"/>
              <a:gd name="connsiteX39" fmla="*/ 477 w 10000"/>
              <a:gd name="connsiteY39" fmla="*/ 1802 h 10614"/>
              <a:gd name="connsiteX40" fmla="*/ 477 w 10000"/>
              <a:gd name="connsiteY40" fmla="*/ 963 h 10614"/>
              <a:gd name="connsiteX41" fmla="*/ 715 w 10000"/>
              <a:gd name="connsiteY41" fmla="*/ 134 h 10614"/>
              <a:gd name="connsiteX42" fmla="*/ 4777 w 10000"/>
              <a:gd name="connsiteY42" fmla="*/ 170 h 10614"/>
              <a:gd name="connsiteX43" fmla="*/ 8448 w 10000"/>
              <a:gd name="connsiteY43" fmla="*/ 0 h 10614"/>
              <a:gd name="connsiteX0" fmla="*/ 8448 w 10179"/>
              <a:gd name="connsiteY0" fmla="*/ 0 h 10614"/>
              <a:gd name="connsiteX1" fmla="*/ 8570 w 10179"/>
              <a:gd name="connsiteY1" fmla="*/ 395 h 10614"/>
              <a:gd name="connsiteX2" fmla="*/ 8682 w 10179"/>
              <a:gd name="connsiteY2" fmla="*/ 963 h 10614"/>
              <a:gd name="connsiteX3" fmla="*/ 8631 w 10179"/>
              <a:gd name="connsiteY3" fmla="*/ 1285 h 10614"/>
              <a:gd name="connsiteX4" fmla="*/ 8426 w 10179"/>
              <a:gd name="connsiteY4" fmla="*/ 2023 h 10614"/>
              <a:gd name="connsiteX5" fmla="*/ 8537 w 10179"/>
              <a:gd name="connsiteY5" fmla="*/ 2303 h 10614"/>
              <a:gd name="connsiteX6" fmla="*/ 8572 w 10179"/>
              <a:gd name="connsiteY6" fmla="*/ 2641 h 10614"/>
              <a:gd name="connsiteX7" fmla="*/ 8976 w 10179"/>
              <a:gd name="connsiteY7" fmla="*/ 3197 h 10614"/>
              <a:gd name="connsiteX8" fmla="*/ 9458 w 10179"/>
              <a:gd name="connsiteY8" fmla="*/ 3546 h 10614"/>
              <a:gd name="connsiteX9" fmla="*/ 9561 w 10179"/>
              <a:gd name="connsiteY9" fmla="*/ 4203 h 10614"/>
              <a:gd name="connsiteX10" fmla="*/ 9743 w 10179"/>
              <a:gd name="connsiteY10" fmla="*/ 4592 h 10614"/>
              <a:gd name="connsiteX11" fmla="*/ 9890 w 10179"/>
              <a:gd name="connsiteY11" fmla="*/ 4873 h 10614"/>
              <a:gd name="connsiteX12" fmla="*/ 10179 w 10179"/>
              <a:gd name="connsiteY12" fmla="*/ 5747 h 10614"/>
              <a:gd name="connsiteX13" fmla="*/ 9781 w 10179"/>
              <a:gd name="connsiteY13" fmla="*/ 6210 h 10614"/>
              <a:gd name="connsiteX14" fmla="*/ 9670 w 10179"/>
              <a:gd name="connsiteY14" fmla="*/ 6491 h 10614"/>
              <a:gd name="connsiteX15" fmla="*/ 9670 w 10179"/>
              <a:gd name="connsiteY15" fmla="*/ 6993 h 10614"/>
              <a:gd name="connsiteX16" fmla="*/ 9354 w 10179"/>
              <a:gd name="connsiteY16" fmla="*/ 7377 h 10614"/>
              <a:gd name="connsiteX17" fmla="*/ 8902 w 10179"/>
              <a:gd name="connsiteY17" fmla="*/ 7216 h 10614"/>
              <a:gd name="connsiteX18" fmla="*/ 8667 w 10179"/>
              <a:gd name="connsiteY18" fmla="*/ 7255 h 10614"/>
              <a:gd name="connsiteX19" fmla="*/ 8813 w 10179"/>
              <a:gd name="connsiteY19" fmla="*/ 8321 h 10614"/>
              <a:gd name="connsiteX20" fmla="*/ 8218 w 10179"/>
              <a:gd name="connsiteY20" fmla="*/ 9441 h 10614"/>
              <a:gd name="connsiteX21" fmla="*/ 8143 w 10179"/>
              <a:gd name="connsiteY21" fmla="*/ 10595 h 10614"/>
              <a:gd name="connsiteX22" fmla="*/ 7496 w 10179"/>
              <a:gd name="connsiteY22" fmla="*/ 10000 h 10614"/>
              <a:gd name="connsiteX23" fmla="*/ 3102 w 10179"/>
              <a:gd name="connsiteY23" fmla="*/ 9906 h 10614"/>
              <a:gd name="connsiteX24" fmla="*/ 1223 w 10179"/>
              <a:gd name="connsiteY24" fmla="*/ 9801 h 10614"/>
              <a:gd name="connsiteX25" fmla="*/ 1120 w 10179"/>
              <a:gd name="connsiteY25" fmla="*/ 9386 h 10614"/>
              <a:gd name="connsiteX26" fmla="*/ 1145 w 10179"/>
              <a:gd name="connsiteY26" fmla="*/ 8878 h 10614"/>
              <a:gd name="connsiteX27" fmla="*/ 1167 w 10179"/>
              <a:gd name="connsiteY27" fmla="*/ 8481 h 10614"/>
              <a:gd name="connsiteX28" fmla="*/ 1246 w 10179"/>
              <a:gd name="connsiteY28" fmla="*/ 7996 h 10614"/>
              <a:gd name="connsiteX29" fmla="*/ 1173 w 10179"/>
              <a:gd name="connsiteY29" fmla="*/ 7552 h 10614"/>
              <a:gd name="connsiteX30" fmla="*/ 1051 w 10179"/>
              <a:gd name="connsiteY30" fmla="*/ 7110 h 10614"/>
              <a:gd name="connsiteX31" fmla="*/ 1062 w 10179"/>
              <a:gd name="connsiteY31" fmla="*/ 6714 h 10614"/>
              <a:gd name="connsiteX32" fmla="*/ 1062 w 10179"/>
              <a:gd name="connsiteY32" fmla="*/ 6604 h 10614"/>
              <a:gd name="connsiteX33" fmla="*/ 838 w 10179"/>
              <a:gd name="connsiteY33" fmla="*/ 5739 h 10614"/>
              <a:gd name="connsiteX34" fmla="*/ 696 w 10179"/>
              <a:gd name="connsiteY34" fmla="*/ 4704 h 10614"/>
              <a:gd name="connsiteX35" fmla="*/ 543 w 10179"/>
              <a:gd name="connsiteY35" fmla="*/ 4059 h 10614"/>
              <a:gd name="connsiteX36" fmla="*/ 521 w 10179"/>
              <a:gd name="connsiteY36" fmla="*/ 3565 h 10614"/>
              <a:gd name="connsiteX37" fmla="*/ 0 w 10179"/>
              <a:gd name="connsiteY37" fmla="*/ 2696 h 10614"/>
              <a:gd name="connsiteX38" fmla="*/ 477 w 10179"/>
              <a:gd name="connsiteY38" fmla="*/ 2080 h 10614"/>
              <a:gd name="connsiteX39" fmla="*/ 477 w 10179"/>
              <a:gd name="connsiteY39" fmla="*/ 1802 h 10614"/>
              <a:gd name="connsiteX40" fmla="*/ 477 w 10179"/>
              <a:gd name="connsiteY40" fmla="*/ 963 h 10614"/>
              <a:gd name="connsiteX41" fmla="*/ 715 w 10179"/>
              <a:gd name="connsiteY41" fmla="*/ 134 h 10614"/>
              <a:gd name="connsiteX42" fmla="*/ 4777 w 10179"/>
              <a:gd name="connsiteY42" fmla="*/ 170 h 10614"/>
              <a:gd name="connsiteX43" fmla="*/ 8448 w 10179"/>
              <a:gd name="connsiteY43" fmla="*/ 0 h 10614"/>
              <a:gd name="connsiteX0" fmla="*/ 8448 w 10179"/>
              <a:gd name="connsiteY0" fmla="*/ 0 h 10614"/>
              <a:gd name="connsiteX1" fmla="*/ 8570 w 10179"/>
              <a:gd name="connsiteY1" fmla="*/ 395 h 10614"/>
              <a:gd name="connsiteX2" fmla="*/ 8682 w 10179"/>
              <a:gd name="connsiteY2" fmla="*/ 963 h 10614"/>
              <a:gd name="connsiteX3" fmla="*/ 8631 w 10179"/>
              <a:gd name="connsiteY3" fmla="*/ 1285 h 10614"/>
              <a:gd name="connsiteX4" fmla="*/ 8426 w 10179"/>
              <a:gd name="connsiteY4" fmla="*/ 2023 h 10614"/>
              <a:gd name="connsiteX5" fmla="*/ 8537 w 10179"/>
              <a:gd name="connsiteY5" fmla="*/ 2303 h 10614"/>
              <a:gd name="connsiteX6" fmla="*/ 8572 w 10179"/>
              <a:gd name="connsiteY6" fmla="*/ 2641 h 10614"/>
              <a:gd name="connsiteX7" fmla="*/ 8976 w 10179"/>
              <a:gd name="connsiteY7" fmla="*/ 3197 h 10614"/>
              <a:gd name="connsiteX8" fmla="*/ 9458 w 10179"/>
              <a:gd name="connsiteY8" fmla="*/ 3546 h 10614"/>
              <a:gd name="connsiteX9" fmla="*/ 9561 w 10179"/>
              <a:gd name="connsiteY9" fmla="*/ 4203 h 10614"/>
              <a:gd name="connsiteX10" fmla="*/ 9743 w 10179"/>
              <a:gd name="connsiteY10" fmla="*/ 4592 h 10614"/>
              <a:gd name="connsiteX11" fmla="*/ 9890 w 10179"/>
              <a:gd name="connsiteY11" fmla="*/ 4873 h 10614"/>
              <a:gd name="connsiteX12" fmla="*/ 10179 w 10179"/>
              <a:gd name="connsiteY12" fmla="*/ 5747 h 10614"/>
              <a:gd name="connsiteX13" fmla="*/ 9924 w 10179"/>
              <a:gd name="connsiteY13" fmla="*/ 6364 h 10614"/>
              <a:gd name="connsiteX14" fmla="*/ 9670 w 10179"/>
              <a:gd name="connsiteY14" fmla="*/ 6491 h 10614"/>
              <a:gd name="connsiteX15" fmla="*/ 9670 w 10179"/>
              <a:gd name="connsiteY15" fmla="*/ 6993 h 10614"/>
              <a:gd name="connsiteX16" fmla="*/ 9354 w 10179"/>
              <a:gd name="connsiteY16" fmla="*/ 7377 h 10614"/>
              <a:gd name="connsiteX17" fmla="*/ 8902 w 10179"/>
              <a:gd name="connsiteY17" fmla="*/ 7216 h 10614"/>
              <a:gd name="connsiteX18" fmla="*/ 8667 w 10179"/>
              <a:gd name="connsiteY18" fmla="*/ 7255 h 10614"/>
              <a:gd name="connsiteX19" fmla="*/ 8813 w 10179"/>
              <a:gd name="connsiteY19" fmla="*/ 8321 h 10614"/>
              <a:gd name="connsiteX20" fmla="*/ 8218 w 10179"/>
              <a:gd name="connsiteY20" fmla="*/ 9441 h 10614"/>
              <a:gd name="connsiteX21" fmla="*/ 8143 w 10179"/>
              <a:gd name="connsiteY21" fmla="*/ 10595 h 10614"/>
              <a:gd name="connsiteX22" fmla="*/ 7496 w 10179"/>
              <a:gd name="connsiteY22" fmla="*/ 10000 h 10614"/>
              <a:gd name="connsiteX23" fmla="*/ 3102 w 10179"/>
              <a:gd name="connsiteY23" fmla="*/ 9906 h 10614"/>
              <a:gd name="connsiteX24" fmla="*/ 1223 w 10179"/>
              <a:gd name="connsiteY24" fmla="*/ 9801 h 10614"/>
              <a:gd name="connsiteX25" fmla="*/ 1120 w 10179"/>
              <a:gd name="connsiteY25" fmla="*/ 9386 h 10614"/>
              <a:gd name="connsiteX26" fmla="*/ 1145 w 10179"/>
              <a:gd name="connsiteY26" fmla="*/ 8878 h 10614"/>
              <a:gd name="connsiteX27" fmla="*/ 1167 w 10179"/>
              <a:gd name="connsiteY27" fmla="*/ 8481 h 10614"/>
              <a:gd name="connsiteX28" fmla="*/ 1246 w 10179"/>
              <a:gd name="connsiteY28" fmla="*/ 7996 h 10614"/>
              <a:gd name="connsiteX29" fmla="*/ 1173 w 10179"/>
              <a:gd name="connsiteY29" fmla="*/ 7552 h 10614"/>
              <a:gd name="connsiteX30" fmla="*/ 1051 w 10179"/>
              <a:gd name="connsiteY30" fmla="*/ 7110 h 10614"/>
              <a:gd name="connsiteX31" fmla="*/ 1062 w 10179"/>
              <a:gd name="connsiteY31" fmla="*/ 6714 h 10614"/>
              <a:gd name="connsiteX32" fmla="*/ 1062 w 10179"/>
              <a:gd name="connsiteY32" fmla="*/ 6604 h 10614"/>
              <a:gd name="connsiteX33" fmla="*/ 838 w 10179"/>
              <a:gd name="connsiteY33" fmla="*/ 5739 h 10614"/>
              <a:gd name="connsiteX34" fmla="*/ 696 w 10179"/>
              <a:gd name="connsiteY34" fmla="*/ 4704 h 10614"/>
              <a:gd name="connsiteX35" fmla="*/ 543 w 10179"/>
              <a:gd name="connsiteY35" fmla="*/ 4059 h 10614"/>
              <a:gd name="connsiteX36" fmla="*/ 521 w 10179"/>
              <a:gd name="connsiteY36" fmla="*/ 3565 h 10614"/>
              <a:gd name="connsiteX37" fmla="*/ 0 w 10179"/>
              <a:gd name="connsiteY37" fmla="*/ 2696 h 10614"/>
              <a:gd name="connsiteX38" fmla="*/ 477 w 10179"/>
              <a:gd name="connsiteY38" fmla="*/ 2080 h 10614"/>
              <a:gd name="connsiteX39" fmla="*/ 477 w 10179"/>
              <a:gd name="connsiteY39" fmla="*/ 1802 h 10614"/>
              <a:gd name="connsiteX40" fmla="*/ 477 w 10179"/>
              <a:gd name="connsiteY40" fmla="*/ 963 h 10614"/>
              <a:gd name="connsiteX41" fmla="*/ 715 w 10179"/>
              <a:gd name="connsiteY41" fmla="*/ 134 h 10614"/>
              <a:gd name="connsiteX42" fmla="*/ 4777 w 10179"/>
              <a:gd name="connsiteY42" fmla="*/ 170 h 10614"/>
              <a:gd name="connsiteX43" fmla="*/ 8448 w 10179"/>
              <a:gd name="connsiteY43" fmla="*/ 0 h 10614"/>
              <a:gd name="connsiteX0" fmla="*/ 8448 w 10179"/>
              <a:gd name="connsiteY0" fmla="*/ 0 h 10614"/>
              <a:gd name="connsiteX1" fmla="*/ 8570 w 10179"/>
              <a:gd name="connsiteY1" fmla="*/ 395 h 10614"/>
              <a:gd name="connsiteX2" fmla="*/ 8682 w 10179"/>
              <a:gd name="connsiteY2" fmla="*/ 963 h 10614"/>
              <a:gd name="connsiteX3" fmla="*/ 8631 w 10179"/>
              <a:gd name="connsiteY3" fmla="*/ 1285 h 10614"/>
              <a:gd name="connsiteX4" fmla="*/ 8426 w 10179"/>
              <a:gd name="connsiteY4" fmla="*/ 2023 h 10614"/>
              <a:gd name="connsiteX5" fmla="*/ 8537 w 10179"/>
              <a:gd name="connsiteY5" fmla="*/ 2303 h 10614"/>
              <a:gd name="connsiteX6" fmla="*/ 8572 w 10179"/>
              <a:gd name="connsiteY6" fmla="*/ 2641 h 10614"/>
              <a:gd name="connsiteX7" fmla="*/ 8976 w 10179"/>
              <a:gd name="connsiteY7" fmla="*/ 3197 h 10614"/>
              <a:gd name="connsiteX8" fmla="*/ 9458 w 10179"/>
              <a:gd name="connsiteY8" fmla="*/ 3546 h 10614"/>
              <a:gd name="connsiteX9" fmla="*/ 9561 w 10179"/>
              <a:gd name="connsiteY9" fmla="*/ 4203 h 10614"/>
              <a:gd name="connsiteX10" fmla="*/ 9743 w 10179"/>
              <a:gd name="connsiteY10" fmla="*/ 4592 h 10614"/>
              <a:gd name="connsiteX11" fmla="*/ 9890 w 10179"/>
              <a:gd name="connsiteY11" fmla="*/ 4873 h 10614"/>
              <a:gd name="connsiteX12" fmla="*/ 10179 w 10179"/>
              <a:gd name="connsiteY12" fmla="*/ 5747 h 10614"/>
              <a:gd name="connsiteX13" fmla="*/ 9924 w 10179"/>
              <a:gd name="connsiteY13" fmla="*/ 6364 h 10614"/>
              <a:gd name="connsiteX14" fmla="*/ 9670 w 10179"/>
              <a:gd name="connsiteY14" fmla="*/ 6993 h 10614"/>
              <a:gd name="connsiteX15" fmla="*/ 9354 w 10179"/>
              <a:gd name="connsiteY15" fmla="*/ 7377 h 10614"/>
              <a:gd name="connsiteX16" fmla="*/ 8902 w 10179"/>
              <a:gd name="connsiteY16" fmla="*/ 7216 h 10614"/>
              <a:gd name="connsiteX17" fmla="*/ 8667 w 10179"/>
              <a:gd name="connsiteY17" fmla="*/ 7255 h 10614"/>
              <a:gd name="connsiteX18" fmla="*/ 8813 w 10179"/>
              <a:gd name="connsiteY18" fmla="*/ 8321 h 10614"/>
              <a:gd name="connsiteX19" fmla="*/ 8218 w 10179"/>
              <a:gd name="connsiteY19" fmla="*/ 9441 h 10614"/>
              <a:gd name="connsiteX20" fmla="*/ 8143 w 10179"/>
              <a:gd name="connsiteY20" fmla="*/ 10595 h 10614"/>
              <a:gd name="connsiteX21" fmla="*/ 7496 w 10179"/>
              <a:gd name="connsiteY21" fmla="*/ 10000 h 10614"/>
              <a:gd name="connsiteX22" fmla="*/ 3102 w 10179"/>
              <a:gd name="connsiteY22" fmla="*/ 9906 h 10614"/>
              <a:gd name="connsiteX23" fmla="*/ 1223 w 10179"/>
              <a:gd name="connsiteY23" fmla="*/ 9801 h 10614"/>
              <a:gd name="connsiteX24" fmla="*/ 1120 w 10179"/>
              <a:gd name="connsiteY24" fmla="*/ 9386 h 10614"/>
              <a:gd name="connsiteX25" fmla="*/ 1145 w 10179"/>
              <a:gd name="connsiteY25" fmla="*/ 8878 h 10614"/>
              <a:gd name="connsiteX26" fmla="*/ 1167 w 10179"/>
              <a:gd name="connsiteY26" fmla="*/ 8481 h 10614"/>
              <a:gd name="connsiteX27" fmla="*/ 1246 w 10179"/>
              <a:gd name="connsiteY27" fmla="*/ 7996 h 10614"/>
              <a:gd name="connsiteX28" fmla="*/ 1173 w 10179"/>
              <a:gd name="connsiteY28" fmla="*/ 7552 h 10614"/>
              <a:gd name="connsiteX29" fmla="*/ 1051 w 10179"/>
              <a:gd name="connsiteY29" fmla="*/ 7110 h 10614"/>
              <a:gd name="connsiteX30" fmla="*/ 1062 w 10179"/>
              <a:gd name="connsiteY30" fmla="*/ 6714 h 10614"/>
              <a:gd name="connsiteX31" fmla="*/ 1062 w 10179"/>
              <a:gd name="connsiteY31" fmla="*/ 6604 h 10614"/>
              <a:gd name="connsiteX32" fmla="*/ 838 w 10179"/>
              <a:gd name="connsiteY32" fmla="*/ 5739 h 10614"/>
              <a:gd name="connsiteX33" fmla="*/ 696 w 10179"/>
              <a:gd name="connsiteY33" fmla="*/ 4704 h 10614"/>
              <a:gd name="connsiteX34" fmla="*/ 543 w 10179"/>
              <a:gd name="connsiteY34" fmla="*/ 4059 h 10614"/>
              <a:gd name="connsiteX35" fmla="*/ 521 w 10179"/>
              <a:gd name="connsiteY35" fmla="*/ 3565 h 10614"/>
              <a:gd name="connsiteX36" fmla="*/ 0 w 10179"/>
              <a:gd name="connsiteY36" fmla="*/ 2696 h 10614"/>
              <a:gd name="connsiteX37" fmla="*/ 477 w 10179"/>
              <a:gd name="connsiteY37" fmla="*/ 2080 h 10614"/>
              <a:gd name="connsiteX38" fmla="*/ 477 w 10179"/>
              <a:gd name="connsiteY38" fmla="*/ 1802 h 10614"/>
              <a:gd name="connsiteX39" fmla="*/ 477 w 10179"/>
              <a:gd name="connsiteY39" fmla="*/ 963 h 10614"/>
              <a:gd name="connsiteX40" fmla="*/ 715 w 10179"/>
              <a:gd name="connsiteY40" fmla="*/ 134 h 10614"/>
              <a:gd name="connsiteX41" fmla="*/ 4777 w 10179"/>
              <a:gd name="connsiteY41" fmla="*/ 170 h 10614"/>
              <a:gd name="connsiteX42" fmla="*/ 8448 w 10179"/>
              <a:gd name="connsiteY42" fmla="*/ 0 h 106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0179" h="10614">
                <a:moveTo>
                  <a:pt x="8448" y="0"/>
                </a:moveTo>
                <a:cubicBezTo>
                  <a:pt x="8416" y="173"/>
                  <a:pt x="8602" y="222"/>
                  <a:pt x="8570" y="395"/>
                </a:cubicBezTo>
                <a:cubicBezTo>
                  <a:pt x="8607" y="584"/>
                  <a:pt x="8645" y="773"/>
                  <a:pt x="8682" y="963"/>
                </a:cubicBezTo>
                <a:cubicBezTo>
                  <a:pt x="8665" y="1069"/>
                  <a:pt x="8648" y="1178"/>
                  <a:pt x="8631" y="1285"/>
                </a:cubicBezTo>
                <a:cubicBezTo>
                  <a:pt x="8563" y="1531"/>
                  <a:pt x="8494" y="1778"/>
                  <a:pt x="8426" y="2023"/>
                </a:cubicBezTo>
                <a:lnTo>
                  <a:pt x="8537" y="2303"/>
                </a:lnTo>
                <a:cubicBezTo>
                  <a:pt x="8549" y="2415"/>
                  <a:pt x="8560" y="2527"/>
                  <a:pt x="8572" y="2641"/>
                </a:cubicBezTo>
                <a:lnTo>
                  <a:pt x="8976" y="3197"/>
                </a:lnTo>
                <a:lnTo>
                  <a:pt x="9458" y="3546"/>
                </a:lnTo>
                <a:cubicBezTo>
                  <a:pt x="9492" y="3764"/>
                  <a:pt x="9527" y="3984"/>
                  <a:pt x="9561" y="4203"/>
                </a:cubicBezTo>
                <a:cubicBezTo>
                  <a:pt x="9622" y="4332"/>
                  <a:pt x="9682" y="4463"/>
                  <a:pt x="9743" y="4592"/>
                </a:cubicBezTo>
                <a:lnTo>
                  <a:pt x="9890" y="4873"/>
                </a:lnTo>
                <a:cubicBezTo>
                  <a:pt x="9927" y="5151"/>
                  <a:pt x="10142" y="5467"/>
                  <a:pt x="10179" y="5747"/>
                </a:cubicBezTo>
                <a:lnTo>
                  <a:pt x="9924" y="6364"/>
                </a:lnTo>
                <a:lnTo>
                  <a:pt x="9670" y="6993"/>
                </a:lnTo>
                <a:cubicBezTo>
                  <a:pt x="9670" y="6993"/>
                  <a:pt x="9499" y="7211"/>
                  <a:pt x="9354" y="7377"/>
                </a:cubicBezTo>
                <a:cubicBezTo>
                  <a:pt x="9206" y="7544"/>
                  <a:pt x="9017" y="7236"/>
                  <a:pt x="8902" y="7216"/>
                </a:cubicBezTo>
                <a:cubicBezTo>
                  <a:pt x="8788" y="7196"/>
                  <a:pt x="8682" y="7071"/>
                  <a:pt x="8667" y="7255"/>
                </a:cubicBezTo>
                <a:cubicBezTo>
                  <a:pt x="8652" y="7439"/>
                  <a:pt x="8888" y="7957"/>
                  <a:pt x="8813" y="8321"/>
                </a:cubicBezTo>
                <a:cubicBezTo>
                  <a:pt x="8738" y="8685"/>
                  <a:pt x="8359" y="9179"/>
                  <a:pt x="8218" y="9441"/>
                </a:cubicBezTo>
                <a:cubicBezTo>
                  <a:pt x="8077" y="9703"/>
                  <a:pt x="8263" y="10502"/>
                  <a:pt x="8143" y="10595"/>
                </a:cubicBezTo>
                <a:cubicBezTo>
                  <a:pt x="8023" y="10688"/>
                  <a:pt x="8324" y="10436"/>
                  <a:pt x="7496" y="10000"/>
                </a:cubicBezTo>
                <a:cubicBezTo>
                  <a:pt x="6303" y="9962"/>
                  <a:pt x="4567" y="9937"/>
                  <a:pt x="3102" y="9906"/>
                </a:cubicBezTo>
                <a:cubicBezTo>
                  <a:pt x="2057" y="9874"/>
                  <a:pt x="1553" y="9888"/>
                  <a:pt x="1223" y="9801"/>
                </a:cubicBezTo>
                <a:cubicBezTo>
                  <a:pt x="1189" y="9662"/>
                  <a:pt x="1154" y="9523"/>
                  <a:pt x="1120" y="9386"/>
                </a:cubicBezTo>
                <a:cubicBezTo>
                  <a:pt x="1133" y="9273"/>
                  <a:pt x="1132" y="8991"/>
                  <a:pt x="1145" y="8878"/>
                </a:cubicBezTo>
                <a:cubicBezTo>
                  <a:pt x="1120" y="8711"/>
                  <a:pt x="1192" y="8649"/>
                  <a:pt x="1167" y="8481"/>
                </a:cubicBezTo>
                <a:cubicBezTo>
                  <a:pt x="1118" y="8275"/>
                  <a:pt x="1295" y="8203"/>
                  <a:pt x="1246" y="7996"/>
                </a:cubicBezTo>
                <a:cubicBezTo>
                  <a:pt x="1222" y="7849"/>
                  <a:pt x="1197" y="7699"/>
                  <a:pt x="1173" y="7552"/>
                </a:cubicBezTo>
                <a:cubicBezTo>
                  <a:pt x="1173" y="7552"/>
                  <a:pt x="1197" y="7277"/>
                  <a:pt x="1051" y="7110"/>
                </a:cubicBezTo>
                <a:cubicBezTo>
                  <a:pt x="906" y="6943"/>
                  <a:pt x="1062" y="6714"/>
                  <a:pt x="1062" y="6714"/>
                </a:cubicBezTo>
                <a:lnTo>
                  <a:pt x="1062" y="6604"/>
                </a:lnTo>
                <a:cubicBezTo>
                  <a:pt x="1044" y="6418"/>
                  <a:pt x="899" y="6056"/>
                  <a:pt x="838" y="5739"/>
                </a:cubicBezTo>
                <a:cubicBezTo>
                  <a:pt x="691" y="5349"/>
                  <a:pt x="771" y="4984"/>
                  <a:pt x="696" y="4704"/>
                </a:cubicBezTo>
                <a:cubicBezTo>
                  <a:pt x="623" y="4426"/>
                  <a:pt x="543" y="4059"/>
                  <a:pt x="543" y="4059"/>
                </a:cubicBezTo>
                <a:cubicBezTo>
                  <a:pt x="536" y="3895"/>
                  <a:pt x="528" y="3730"/>
                  <a:pt x="521" y="3565"/>
                </a:cubicBezTo>
                <a:lnTo>
                  <a:pt x="0" y="2696"/>
                </a:lnTo>
                <a:lnTo>
                  <a:pt x="477" y="2080"/>
                </a:lnTo>
                <a:lnTo>
                  <a:pt x="477" y="1802"/>
                </a:lnTo>
                <a:lnTo>
                  <a:pt x="477" y="963"/>
                </a:lnTo>
                <a:cubicBezTo>
                  <a:pt x="495" y="804"/>
                  <a:pt x="697" y="294"/>
                  <a:pt x="715" y="134"/>
                </a:cubicBezTo>
                <a:cubicBezTo>
                  <a:pt x="752" y="-33"/>
                  <a:pt x="4740" y="338"/>
                  <a:pt x="4777" y="170"/>
                </a:cubicBezTo>
                <a:lnTo>
                  <a:pt x="8448"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US" sz="1800">
              <a:ea typeface="ＭＳ Ｐゴシック" charset="-128"/>
            </a:endParaRPr>
          </a:p>
        </p:txBody>
      </p:sp>
      <p:sp>
        <p:nvSpPr>
          <p:cNvPr id="121" name="Rectangle 120"/>
          <p:cNvSpPr/>
          <p:nvPr/>
        </p:nvSpPr>
        <p:spPr>
          <a:xfrm>
            <a:off x="5550592" y="1069698"/>
            <a:ext cx="1120679" cy="936212"/>
          </a:xfrm>
          <a:prstGeom prst="rect">
            <a:avLst/>
          </a:prstGeom>
          <a:ln/>
          <a:effectLst>
            <a:outerShdw blurRad="50800" dist="38100" dir="3600000" algn="ctr" rotWithShape="0">
              <a:schemeClr val="tx2">
                <a:lumMod val="50000"/>
                <a:alpha val="60000"/>
              </a:scheme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a:solidFill>
                <a:schemeClr val="accent6"/>
              </a:solidFill>
            </a:endParaRPr>
          </a:p>
        </p:txBody>
      </p:sp>
      <p:sp>
        <p:nvSpPr>
          <p:cNvPr id="6" name="Freeform 5"/>
          <p:cNvSpPr/>
          <p:nvPr/>
        </p:nvSpPr>
        <p:spPr>
          <a:xfrm>
            <a:off x="1924312" y="1847755"/>
            <a:ext cx="885176" cy="1414730"/>
          </a:xfrm>
          <a:custGeom>
            <a:avLst/>
            <a:gdLst>
              <a:gd name="connsiteX0" fmla="*/ 238328 w 890081"/>
              <a:gd name="connsiteY0" fmla="*/ 0 h 1449421"/>
              <a:gd name="connsiteX1" fmla="*/ 141052 w 890081"/>
              <a:gd name="connsiteY1" fmla="*/ 549613 h 1449421"/>
              <a:gd name="connsiteX2" fmla="*/ 160507 w 890081"/>
              <a:gd name="connsiteY2" fmla="*/ 569068 h 1449421"/>
              <a:gd name="connsiteX3" fmla="*/ 175098 w 890081"/>
              <a:gd name="connsiteY3" fmla="*/ 593387 h 1449421"/>
              <a:gd name="connsiteX4" fmla="*/ 175098 w 890081"/>
              <a:gd name="connsiteY4" fmla="*/ 671208 h 1449421"/>
              <a:gd name="connsiteX5" fmla="*/ 126460 w 890081"/>
              <a:gd name="connsiteY5" fmla="*/ 700391 h 1449421"/>
              <a:gd name="connsiteX6" fmla="*/ 107005 w 890081"/>
              <a:gd name="connsiteY6" fmla="*/ 792804 h 1449421"/>
              <a:gd name="connsiteX7" fmla="*/ 58366 w 890081"/>
              <a:gd name="connsiteY7" fmla="*/ 817123 h 1449421"/>
              <a:gd name="connsiteX8" fmla="*/ 53503 w 890081"/>
              <a:gd name="connsiteY8" fmla="*/ 880353 h 1449421"/>
              <a:gd name="connsiteX9" fmla="*/ 58366 w 890081"/>
              <a:gd name="connsiteY9" fmla="*/ 899808 h 1449421"/>
              <a:gd name="connsiteX10" fmla="*/ 72958 w 890081"/>
              <a:gd name="connsiteY10" fmla="*/ 894944 h 1449421"/>
              <a:gd name="connsiteX11" fmla="*/ 82686 w 890081"/>
              <a:gd name="connsiteY11" fmla="*/ 919264 h 1449421"/>
              <a:gd name="connsiteX12" fmla="*/ 43775 w 890081"/>
              <a:gd name="connsiteY12" fmla="*/ 997085 h 1449421"/>
              <a:gd name="connsiteX13" fmla="*/ 0 w 890081"/>
              <a:gd name="connsiteY13" fmla="*/ 1293779 h 1449421"/>
              <a:gd name="connsiteX14" fmla="*/ 846307 w 890081"/>
              <a:gd name="connsiteY14" fmla="*/ 1449421 h 1449421"/>
              <a:gd name="connsiteX15" fmla="*/ 890081 w 890081"/>
              <a:gd name="connsiteY15" fmla="*/ 967902 h 1449421"/>
              <a:gd name="connsiteX16" fmla="*/ 851171 w 890081"/>
              <a:gd name="connsiteY16" fmla="*/ 933855 h 1449421"/>
              <a:gd name="connsiteX17" fmla="*/ 821988 w 890081"/>
              <a:gd name="connsiteY17" fmla="*/ 963038 h 1449421"/>
              <a:gd name="connsiteX18" fmla="*/ 783077 w 890081"/>
              <a:gd name="connsiteY18" fmla="*/ 972766 h 1449421"/>
              <a:gd name="connsiteX19" fmla="*/ 749030 w 890081"/>
              <a:gd name="connsiteY19" fmla="*/ 953310 h 1449421"/>
              <a:gd name="connsiteX20" fmla="*/ 666345 w 890081"/>
              <a:gd name="connsiteY20" fmla="*/ 967902 h 1449421"/>
              <a:gd name="connsiteX21" fmla="*/ 607979 w 890081"/>
              <a:gd name="connsiteY21" fmla="*/ 914400 h 1449421"/>
              <a:gd name="connsiteX22" fmla="*/ 583660 w 890081"/>
              <a:gd name="connsiteY22" fmla="*/ 890081 h 1449421"/>
              <a:gd name="connsiteX23" fmla="*/ 588524 w 890081"/>
              <a:gd name="connsiteY23" fmla="*/ 841442 h 1449421"/>
              <a:gd name="connsiteX24" fmla="*/ 564205 w 890081"/>
              <a:gd name="connsiteY24" fmla="*/ 792804 h 1449421"/>
              <a:gd name="connsiteX25" fmla="*/ 564205 w 890081"/>
              <a:gd name="connsiteY25" fmla="*/ 763621 h 1449421"/>
              <a:gd name="connsiteX26" fmla="*/ 544749 w 890081"/>
              <a:gd name="connsiteY26" fmla="*/ 700391 h 1449421"/>
              <a:gd name="connsiteX27" fmla="*/ 466928 w 890081"/>
              <a:gd name="connsiteY27" fmla="*/ 705255 h 1449421"/>
              <a:gd name="connsiteX28" fmla="*/ 462064 w 890081"/>
              <a:gd name="connsiteY28" fmla="*/ 661481 h 1449421"/>
              <a:gd name="connsiteX29" fmla="*/ 491247 w 890081"/>
              <a:gd name="connsiteY29" fmla="*/ 646889 h 1449421"/>
              <a:gd name="connsiteX30" fmla="*/ 481520 w 890081"/>
              <a:gd name="connsiteY30" fmla="*/ 588523 h 1449421"/>
              <a:gd name="connsiteX31" fmla="*/ 505839 w 890081"/>
              <a:gd name="connsiteY31" fmla="*/ 510702 h 1449421"/>
              <a:gd name="connsiteX32" fmla="*/ 428018 w 890081"/>
              <a:gd name="connsiteY32" fmla="*/ 432881 h 1449421"/>
              <a:gd name="connsiteX33" fmla="*/ 384243 w 890081"/>
              <a:gd name="connsiteY33" fmla="*/ 364787 h 1449421"/>
              <a:gd name="connsiteX34" fmla="*/ 355060 w 890081"/>
              <a:gd name="connsiteY34" fmla="*/ 325876 h 1449421"/>
              <a:gd name="connsiteX35" fmla="*/ 355060 w 890081"/>
              <a:gd name="connsiteY35" fmla="*/ 218872 h 1449421"/>
              <a:gd name="connsiteX36" fmla="*/ 350196 w 890081"/>
              <a:gd name="connsiteY36" fmla="*/ 179961 h 1449421"/>
              <a:gd name="connsiteX37" fmla="*/ 369652 w 890081"/>
              <a:gd name="connsiteY37" fmla="*/ 102140 h 1449421"/>
              <a:gd name="connsiteX38" fmla="*/ 364788 w 890081"/>
              <a:gd name="connsiteY38" fmla="*/ 34047 h 1449421"/>
              <a:gd name="connsiteX39" fmla="*/ 238328 w 890081"/>
              <a:gd name="connsiteY39" fmla="*/ 0 h 1449421"/>
              <a:gd name="connsiteX0" fmla="*/ 238328 w 915754"/>
              <a:gd name="connsiteY0" fmla="*/ 0 h 1449421"/>
              <a:gd name="connsiteX1" fmla="*/ 141052 w 915754"/>
              <a:gd name="connsiteY1" fmla="*/ 549613 h 1449421"/>
              <a:gd name="connsiteX2" fmla="*/ 160507 w 915754"/>
              <a:gd name="connsiteY2" fmla="*/ 569068 h 1449421"/>
              <a:gd name="connsiteX3" fmla="*/ 175098 w 915754"/>
              <a:gd name="connsiteY3" fmla="*/ 593387 h 1449421"/>
              <a:gd name="connsiteX4" fmla="*/ 175098 w 915754"/>
              <a:gd name="connsiteY4" fmla="*/ 671208 h 1449421"/>
              <a:gd name="connsiteX5" fmla="*/ 126460 w 915754"/>
              <a:gd name="connsiteY5" fmla="*/ 700391 h 1449421"/>
              <a:gd name="connsiteX6" fmla="*/ 107005 w 915754"/>
              <a:gd name="connsiteY6" fmla="*/ 792804 h 1449421"/>
              <a:gd name="connsiteX7" fmla="*/ 58366 w 915754"/>
              <a:gd name="connsiteY7" fmla="*/ 817123 h 1449421"/>
              <a:gd name="connsiteX8" fmla="*/ 53503 w 915754"/>
              <a:gd name="connsiteY8" fmla="*/ 880353 h 1449421"/>
              <a:gd name="connsiteX9" fmla="*/ 58366 w 915754"/>
              <a:gd name="connsiteY9" fmla="*/ 899808 h 1449421"/>
              <a:gd name="connsiteX10" fmla="*/ 72958 w 915754"/>
              <a:gd name="connsiteY10" fmla="*/ 894944 h 1449421"/>
              <a:gd name="connsiteX11" fmla="*/ 82686 w 915754"/>
              <a:gd name="connsiteY11" fmla="*/ 919264 h 1449421"/>
              <a:gd name="connsiteX12" fmla="*/ 43775 w 915754"/>
              <a:gd name="connsiteY12" fmla="*/ 997085 h 1449421"/>
              <a:gd name="connsiteX13" fmla="*/ 0 w 915754"/>
              <a:gd name="connsiteY13" fmla="*/ 1293779 h 1449421"/>
              <a:gd name="connsiteX14" fmla="*/ 846307 w 915754"/>
              <a:gd name="connsiteY14" fmla="*/ 1449421 h 1449421"/>
              <a:gd name="connsiteX15" fmla="*/ 915754 w 915754"/>
              <a:gd name="connsiteY15" fmla="*/ 970305 h 1449421"/>
              <a:gd name="connsiteX16" fmla="*/ 851171 w 915754"/>
              <a:gd name="connsiteY16" fmla="*/ 933855 h 1449421"/>
              <a:gd name="connsiteX17" fmla="*/ 821988 w 915754"/>
              <a:gd name="connsiteY17" fmla="*/ 963038 h 1449421"/>
              <a:gd name="connsiteX18" fmla="*/ 783077 w 915754"/>
              <a:gd name="connsiteY18" fmla="*/ 972766 h 1449421"/>
              <a:gd name="connsiteX19" fmla="*/ 749030 w 915754"/>
              <a:gd name="connsiteY19" fmla="*/ 953310 h 1449421"/>
              <a:gd name="connsiteX20" fmla="*/ 666345 w 915754"/>
              <a:gd name="connsiteY20" fmla="*/ 967902 h 1449421"/>
              <a:gd name="connsiteX21" fmla="*/ 607979 w 915754"/>
              <a:gd name="connsiteY21" fmla="*/ 914400 h 1449421"/>
              <a:gd name="connsiteX22" fmla="*/ 583660 w 915754"/>
              <a:gd name="connsiteY22" fmla="*/ 890081 h 1449421"/>
              <a:gd name="connsiteX23" fmla="*/ 588524 w 915754"/>
              <a:gd name="connsiteY23" fmla="*/ 841442 h 1449421"/>
              <a:gd name="connsiteX24" fmla="*/ 564205 w 915754"/>
              <a:gd name="connsiteY24" fmla="*/ 792804 h 1449421"/>
              <a:gd name="connsiteX25" fmla="*/ 564205 w 915754"/>
              <a:gd name="connsiteY25" fmla="*/ 763621 h 1449421"/>
              <a:gd name="connsiteX26" fmla="*/ 544749 w 915754"/>
              <a:gd name="connsiteY26" fmla="*/ 700391 h 1449421"/>
              <a:gd name="connsiteX27" fmla="*/ 466928 w 915754"/>
              <a:gd name="connsiteY27" fmla="*/ 705255 h 1449421"/>
              <a:gd name="connsiteX28" fmla="*/ 462064 w 915754"/>
              <a:gd name="connsiteY28" fmla="*/ 661481 h 1449421"/>
              <a:gd name="connsiteX29" fmla="*/ 491247 w 915754"/>
              <a:gd name="connsiteY29" fmla="*/ 646889 h 1449421"/>
              <a:gd name="connsiteX30" fmla="*/ 481520 w 915754"/>
              <a:gd name="connsiteY30" fmla="*/ 588523 h 1449421"/>
              <a:gd name="connsiteX31" fmla="*/ 505839 w 915754"/>
              <a:gd name="connsiteY31" fmla="*/ 510702 h 1449421"/>
              <a:gd name="connsiteX32" fmla="*/ 428018 w 915754"/>
              <a:gd name="connsiteY32" fmla="*/ 432881 h 1449421"/>
              <a:gd name="connsiteX33" fmla="*/ 384243 w 915754"/>
              <a:gd name="connsiteY33" fmla="*/ 364787 h 1449421"/>
              <a:gd name="connsiteX34" fmla="*/ 355060 w 915754"/>
              <a:gd name="connsiteY34" fmla="*/ 325876 h 1449421"/>
              <a:gd name="connsiteX35" fmla="*/ 355060 w 915754"/>
              <a:gd name="connsiteY35" fmla="*/ 218872 h 1449421"/>
              <a:gd name="connsiteX36" fmla="*/ 350196 w 915754"/>
              <a:gd name="connsiteY36" fmla="*/ 179961 h 1449421"/>
              <a:gd name="connsiteX37" fmla="*/ 369652 w 915754"/>
              <a:gd name="connsiteY37" fmla="*/ 102140 h 1449421"/>
              <a:gd name="connsiteX38" fmla="*/ 364788 w 915754"/>
              <a:gd name="connsiteY38" fmla="*/ 34047 h 1449421"/>
              <a:gd name="connsiteX39" fmla="*/ 238328 w 915754"/>
              <a:gd name="connsiteY39" fmla="*/ 0 h 1449421"/>
              <a:gd name="connsiteX0" fmla="*/ 238328 w 915754"/>
              <a:gd name="connsiteY0" fmla="*/ 0 h 1449421"/>
              <a:gd name="connsiteX1" fmla="*/ 141052 w 915754"/>
              <a:gd name="connsiteY1" fmla="*/ 549613 h 1449421"/>
              <a:gd name="connsiteX2" fmla="*/ 160507 w 915754"/>
              <a:gd name="connsiteY2" fmla="*/ 569068 h 1449421"/>
              <a:gd name="connsiteX3" fmla="*/ 175098 w 915754"/>
              <a:gd name="connsiteY3" fmla="*/ 593387 h 1449421"/>
              <a:gd name="connsiteX4" fmla="*/ 175098 w 915754"/>
              <a:gd name="connsiteY4" fmla="*/ 671208 h 1449421"/>
              <a:gd name="connsiteX5" fmla="*/ 126460 w 915754"/>
              <a:gd name="connsiteY5" fmla="*/ 700391 h 1449421"/>
              <a:gd name="connsiteX6" fmla="*/ 107005 w 915754"/>
              <a:gd name="connsiteY6" fmla="*/ 792804 h 1449421"/>
              <a:gd name="connsiteX7" fmla="*/ 58366 w 915754"/>
              <a:gd name="connsiteY7" fmla="*/ 817123 h 1449421"/>
              <a:gd name="connsiteX8" fmla="*/ 53503 w 915754"/>
              <a:gd name="connsiteY8" fmla="*/ 880353 h 1449421"/>
              <a:gd name="connsiteX9" fmla="*/ 58366 w 915754"/>
              <a:gd name="connsiteY9" fmla="*/ 899808 h 1449421"/>
              <a:gd name="connsiteX10" fmla="*/ 72958 w 915754"/>
              <a:gd name="connsiteY10" fmla="*/ 894944 h 1449421"/>
              <a:gd name="connsiteX11" fmla="*/ 82686 w 915754"/>
              <a:gd name="connsiteY11" fmla="*/ 919264 h 1449421"/>
              <a:gd name="connsiteX12" fmla="*/ 43775 w 915754"/>
              <a:gd name="connsiteY12" fmla="*/ 997085 h 1449421"/>
              <a:gd name="connsiteX13" fmla="*/ 0 w 915754"/>
              <a:gd name="connsiteY13" fmla="*/ 1293779 h 1449421"/>
              <a:gd name="connsiteX14" fmla="*/ 846307 w 915754"/>
              <a:gd name="connsiteY14" fmla="*/ 1449421 h 1449421"/>
              <a:gd name="connsiteX15" fmla="*/ 915754 w 915754"/>
              <a:gd name="connsiteY15" fmla="*/ 970305 h 1449421"/>
              <a:gd name="connsiteX16" fmla="*/ 875802 w 915754"/>
              <a:gd name="connsiteY16" fmla="*/ 924740 h 1449421"/>
              <a:gd name="connsiteX17" fmla="*/ 851171 w 915754"/>
              <a:gd name="connsiteY17" fmla="*/ 933855 h 1449421"/>
              <a:gd name="connsiteX18" fmla="*/ 821988 w 915754"/>
              <a:gd name="connsiteY18" fmla="*/ 963038 h 1449421"/>
              <a:gd name="connsiteX19" fmla="*/ 783077 w 915754"/>
              <a:gd name="connsiteY19" fmla="*/ 972766 h 1449421"/>
              <a:gd name="connsiteX20" fmla="*/ 749030 w 915754"/>
              <a:gd name="connsiteY20" fmla="*/ 953310 h 1449421"/>
              <a:gd name="connsiteX21" fmla="*/ 666345 w 915754"/>
              <a:gd name="connsiteY21" fmla="*/ 967902 h 1449421"/>
              <a:gd name="connsiteX22" fmla="*/ 607979 w 915754"/>
              <a:gd name="connsiteY22" fmla="*/ 914400 h 1449421"/>
              <a:gd name="connsiteX23" fmla="*/ 583660 w 915754"/>
              <a:gd name="connsiteY23" fmla="*/ 890081 h 1449421"/>
              <a:gd name="connsiteX24" fmla="*/ 588524 w 915754"/>
              <a:gd name="connsiteY24" fmla="*/ 841442 h 1449421"/>
              <a:gd name="connsiteX25" fmla="*/ 564205 w 915754"/>
              <a:gd name="connsiteY25" fmla="*/ 792804 h 1449421"/>
              <a:gd name="connsiteX26" fmla="*/ 564205 w 915754"/>
              <a:gd name="connsiteY26" fmla="*/ 763621 h 1449421"/>
              <a:gd name="connsiteX27" fmla="*/ 544749 w 915754"/>
              <a:gd name="connsiteY27" fmla="*/ 700391 h 1449421"/>
              <a:gd name="connsiteX28" fmla="*/ 466928 w 915754"/>
              <a:gd name="connsiteY28" fmla="*/ 705255 h 1449421"/>
              <a:gd name="connsiteX29" fmla="*/ 462064 w 915754"/>
              <a:gd name="connsiteY29" fmla="*/ 661481 h 1449421"/>
              <a:gd name="connsiteX30" fmla="*/ 491247 w 915754"/>
              <a:gd name="connsiteY30" fmla="*/ 646889 h 1449421"/>
              <a:gd name="connsiteX31" fmla="*/ 481520 w 915754"/>
              <a:gd name="connsiteY31" fmla="*/ 588523 h 1449421"/>
              <a:gd name="connsiteX32" fmla="*/ 505839 w 915754"/>
              <a:gd name="connsiteY32" fmla="*/ 510702 h 1449421"/>
              <a:gd name="connsiteX33" fmla="*/ 428018 w 915754"/>
              <a:gd name="connsiteY33" fmla="*/ 432881 h 1449421"/>
              <a:gd name="connsiteX34" fmla="*/ 384243 w 915754"/>
              <a:gd name="connsiteY34" fmla="*/ 364787 h 1449421"/>
              <a:gd name="connsiteX35" fmla="*/ 355060 w 915754"/>
              <a:gd name="connsiteY35" fmla="*/ 325876 h 1449421"/>
              <a:gd name="connsiteX36" fmla="*/ 355060 w 915754"/>
              <a:gd name="connsiteY36" fmla="*/ 218872 h 1449421"/>
              <a:gd name="connsiteX37" fmla="*/ 350196 w 915754"/>
              <a:gd name="connsiteY37" fmla="*/ 179961 h 1449421"/>
              <a:gd name="connsiteX38" fmla="*/ 369652 w 915754"/>
              <a:gd name="connsiteY38" fmla="*/ 102140 h 1449421"/>
              <a:gd name="connsiteX39" fmla="*/ 364788 w 915754"/>
              <a:gd name="connsiteY39" fmla="*/ 34047 h 1449421"/>
              <a:gd name="connsiteX40" fmla="*/ 238328 w 915754"/>
              <a:gd name="connsiteY40" fmla="*/ 0 h 1449421"/>
              <a:gd name="connsiteX0" fmla="*/ 238328 w 915754"/>
              <a:gd name="connsiteY0" fmla="*/ 0 h 1458979"/>
              <a:gd name="connsiteX1" fmla="*/ 141052 w 915754"/>
              <a:gd name="connsiteY1" fmla="*/ 549613 h 1458979"/>
              <a:gd name="connsiteX2" fmla="*/ 160507 w 915754"/>
              <a:gd name="connsiteY2" fmla="*/ 569068 h 1458979"/>
              <a:gd name="connsiteX3" fmla="*/ 175098 w 915754"/>
              <a:gd name="connsiteY3" fmla="*/ 593387 h 1458979"/>
              <a:gd name="connsiteX4" fmla="*/ 175098 w 915754"/>
              <a:gd name="connsiteY4" fmla="*/ 671208 h 1458979"/>
              <a:gd name="connsiteX5" fmla="*/ 126460 w 915754"/>
              <a:gd name="connsiteY5" fmla="*/ 700391 h 1458979"/>
              <a:gd name="connsiteX6" fmla="*/ 107005 w 915754"/>
              <a:gd name="connsiteY6" fmla="*/ 792804 h 1458979"/>
              <a:gd name="connsiteX7" fmla="*/ 58366 w 915754"/>
              <a:gd name="connsiteY7" fmla="*/ 817123 h 1458979"/>
              <a:gd name="connsiteX8" fmla="*/ 53503 w 915754"/>
              <a:gd name="connsiteY8" fmla="*/ 880353 h 1458979"/>
              <a:gd name="connsiteX9" fmla="*/ 58366 w 915754"/>
              <a:gd name="connsiteY9" fmla="*/ 899808 h 1458979"/>
              <a:gd name="connsiteX10" fmla="*/ 72958 w 915754"/>
              <a:gd name="connsiteY10" fmla="*/ 894944 h 1458979"/>
              <a:gd name="connsiteX11" fmla="*/ 82686 w 915754"/>
              <a:gd name="connsiteY11" fmla="*/ 919264 h 1458979"/>
              <a:gd name="connsiteX12" fmla="*/ 43775 w 915754"/>
              <a:gd name="connsiteY12" fmla="*/ 997085 h 1458979"/>
              <a:gd name="connsiteX13" fmla="*/ 0 w 915754"/>
              <a:gd name="connsiteY13" fmla="*/ 1293779 h 1458979"/>
              <a:gd name="connsiteX14" fmla="*/ 852966 w 915754"/>
              <a:gd name="connsiteY14" fmla="*/ 1458979 h 1458979"/>
              <a:gd name="connsiteX15" fmla="*/ 915754 w 915754"/>
              <a:gd name="connsiteY15" fmla="*/ 970305 h 1458979"/>
              <a:gd name="connsiteX16" fmla="*/ 875802 w 915754"/>
              <a:gd name="connsiteY16" fmla="*/ 924740 h 1458979"/>
              <a:gd name="connsiteX17" fmla="*/ 851171 w 915754"/>
              <a:gd name="connsiteY17" fmla="*/ 933855 h 1458979"/>
              <a:gd name="connsiteX18" fmla="*/ 821988 w 915754"/>
              <a:gd name="connsiteY18" fmla="*/ 963038 h 1458979"/>
              <a:gd name="connsiteX19" fmla="*/ 783077 w 915754"/>
              <a:gd name="connsiteY19" fmla="*/ 972766 h 1458979"/>
              <a:gd name="connsiteX20" fmla="*/ 749030 w 915754"/>
              <a:gd name="connsiteY20" fmla="*/ 953310 h 1458979"/>
              <a:gd name="connsiteX21" fmla="*/ 666345 w 915754"/>
              <a:gd name="connsiteY21" fmla="*/ 967902 h 1458979"/>
              <a:gd name="connsiteX22" fmla="*/ 607979 w 915754"/>
              <a:gd name="connsiteY22" fmla="*/ 914400 h 1458979"/>
              <a:gd name="connsiteX23" fmla="*/ 583660 w 915754"/>
              <a:gd name="connsiteY23" fmla="*/ 890081 h 1458979"/>
              <a:gd name="connsiteX24" fmla="*/ 588524 w 915754"/>
              <a:gd name="connsiteY24" fmla="*/ 841442 h 1458979"/>
              <a:gd name="connsiteX25" fmla="*/ 564205 w 915754"/>
              <a:gd name="connsiteY25" fmla="*/ 792804 h 1458979"/>
              <a:gd name="connsiteX26" fmla="*/ 564205 w 915754"/>
              <a:gd name="connsiteY26" fmla="*/ 763621 h 1458979"/>
              <a:gd name="connsiteX27" fmla="*/ 544749 w 915754"/>
              <a:gd name="connsiteY27" fmla="*/ 700391 h 1458979"/>
              <a:gd name="connsiteX28" fmla="*/ 466928 w 915754"/>
              <a:gd name="connsiteY28" fmla="*/ 705255 h 1458979"/>
              <a:gd name="connsiteX29" fmla="*/ 462064 w 915754"/>
              <a:gd name="connsiteY29" fmla="*/ 661481 h 1458979"/>
              <a:gd name="connsiteX30" fmla="*/ 491247 w 915754"/>
              <a:gd name="connsiteY30" fmla="*/ 646889 h 1458979"/>
              <a:gd name="connsiteX31" fmla="*/ 481520 w 915754"/>
              <a:gd name="connsiteY31" fmla="*/ 588523 h 1458979"/>
              <a:gd name="connsiteX32" fmla="*/ 505839 w 915754"/>
              <a:gd name="connsiteY32" fmla="*/ 510702 h 1458979"/>
              <a:gd name="connsiteX33" fmla="*/ 428018 w 915754"/>
              <a:gd name="connsiteY33" fmla="*/ 432881 h 1458979"/>
              <a:gd name="connsiteX34" fmla="*/ 384243 w 915754"/>
              <a:gd name="connsiteY34" fmla="*/ 364787 h 1458979"/>
              <a:gd name="connsiteX35" fmla="*/ 355060 w 915754"/>
              <a:gd name="connsiteY35" fmla="*/ 325876 h 1458979"/>
              <a:gd name="connsiteX36" fmla="*/ 355060 w 915754"/>
              <a:gd name="connsiteY36" fmla="*/ 218872 h 1458979"/>
              <a:gd name="connsiteX37" fmla="*/ 350196 w 915754"/>
              <a:gd name="connsiteY37" fmla="*/ 179961 h 1458979"/>
              <a:gd name="connsiteX38" fmla="*/ 369652 w 915754"/>
              <a:gd name="connsiteY38" fmla="*/ 102140 h 1458979"/>
              <a:gd name="connsiteX39" fmla="*/ 364788 w 915754"/>
              <a:gd name="connsiteY39" fmla="*/ 34047 h 1458979"/>
              <a:gd name="connsiteX40" fmla="*/ 238328 w 915754"/>
              <a:gd name="connsiteY40" fmla="*/ 0 h 1458979"/>
              <a:gd name="connsiteX0" fmla="*/ 238328 w 915754"/>
              <a:gd name="connsiteY0" fmla="*/ 0 h 1458979"/>
              <a:gd name="connsiteX1" fmla="*/ 141052 w 915754"/>
              <a:gd name="connsiteY1" fmla="*/ 549613 h 1458979"/>
              <a:gd name="connsiteX2" fmla="*/ 160507 w 915754"/>
              <a:gd name="connsiteY2" fmla="*/ 569068 h 1458979"/>
              <a:gd name="connsiteX3" fmla="*/ 175098 w 915754"/>
              <a:gd name="connsiteY3" fmla="*/ 593387 h 1458979"/>
              <a:gd name="connsiteX4" fmla="*/ 175098 w 915754"/>
              <a:gd name="connsiteY4" fmla="*/ 671208 h 1458979"/>
              <a:gd name="connsiteX5" fmla="*/ 126460 w 915754"/>
              <a:gd name="connsiteY5" fmla="*/ 700391 h 1458979"/>
              <a:gd name="connsiteX6" fmla="*/ 107005 w 915754"/>
              <a:gd name="connsiteY6" fmla="*/ 792804 h 1458979"/>
              <a:gd name="connsiteX7" fmla="*/ 58366 w 915754"/>
              <a:gd name="connsiteY7" fmla="*/ 817123 h 1458979"/>
              <a:gd name="connsiteX8" fmla="*/ 53503 w 915754"/>
              <a:gd name="connsiteY8" fmla="*/ 880353 h 1458979"/>
              <a:gd name="connsiteX9" fmla="*/ 58366 w 915754"/>
              <a:gd name="connsiteY9" fmla="*/ 899808 h 1458979"/>
              <a:gd name="connsiteX10" fmla="*/ 72958 w 915754"/>
              <a:gd name="connsiteY10" fmla="*/ 894944 h 1458979"/>
              <a:gd name="connsiteX11" fmla="*/ 82686 w 915754"/>
              <a:gd name="connsiteY11" fmla="*/ 919264 h 1458979"/>
              <a:gd name="connsiteX12" fmla="*/ 43775 w 915754"/>
              <a:gd name="connsiteY12" fmla="*/ 997085 h 1458979"/>
              <a:gd name="connsiteX13" fmla="*/ 0 w 915754"/>
              <a:gd name="connsiteY13" fmla="*/ 1293779 h 1458979"/>
              <a:gd name="connsiteX14" fmla="*/ 852966 w 915754"/>
              <a:gd name="connsiteY14" fmla="*/ 1458979 h 1458979"/>
              <a:gd name="connsiteX15" fmla="*/ 915754 w 915754"/>
              <a:gd name="connsiteY15" fmla="*/ 970305 h 1458979"/>
              <a:gd name="connsiteX16" fmla="*/ 875802 w 915754"/>
              <a:gd name="connsiteY16" fmla="*/ 924740 h 1458979"/>
              <a:gd name="connsiteX17" fmla="*/ 851171 w 915754"/>
              <a:gd name="connsiteY17" fmla="*/ 933855 h 1458979"/>
              <a:gd name="connsiteX18" fmla="*/ 821988 w 915754"/>
              <a:gd name="connsiteY18" fmla="*/ 963038 h 1458979"/>
              <a:gd name="connsiteX19" fmla="*/ 783077 w 915754"/>
              <a:gd name="connsiteY19" fmla="*/ 972766 h 1458979"/>
              <a:gd name="connsiteX20" fmla="*/ 749030 w 915754"/>
              <a:gd name="connsiteY20" fmla="*/ 953310 h 1458979"/>
              <a:gd name="connsiteX21" fmla="*/ 666345 w 915754"/>
              <a:gd name="connsiteY21" fmla="*/ 967902 h 1458979"/>
              <a:gd name="connsiteX22" fmla="*/ 607979 w 915754"/>
              <a:gd name="connsiteY22" fmla="*/ 914400 h 1458979"/>
              <a:gd name="connsiteX23" fmla="*/ 583660 w 915754"/>
              <a:gd name="connsiteY23" fmla="*/ 890081 h 1458979"/>
              <a:gd name="connsiteX24" fmla="*/ 588524 w 915754"/>
              <a:gd name="connsiteY24" fmla="*/ 841442 h 1458979"/>
              <a:gd name="connsiteX25" fmla="*/ 564205 w 915754"/>
              <a:gd name="connsiteY25" fmla="*/ 792804 h 1458979"/>
              <a:gd name="connsiteX26" fmla="*/ 564205 w 915754"/>
              <a:gd name="connsiteY26" fmla="*/ 763621 h 1458979"/>
              <a:gd name="connsiteX27" fmla="*/ 544749 w 915754"/>
              <a:gd name="connsiteY27" fmla="*/ 700391 h 1458979"/>
              <a:gd name="connsiteX28" fmla="*/ 466928 w 915754"/>
              <a:gd name="connsiteY28" fmla="*/ 705255 h 1458979"/>
              <a:gd name="connsiteX29" fmla="*/ 462064 w 915754"/>
              <a:gd name="connsiteY29" fmla="*/ 661481 h 1458979"/>
              <a:gd name="connsiteX30" fmla="*/ 491247 w 915754"/>
              <a:gd name="connsiteY30" fmla="*/ 646889 h 1458979"/>
              <a:gd name="connsiteX31" fmla="*/ 481520 w 915754"/>
              <a:gd name="connsiteY31" fmla="*/ 588523 h 1458979"/>
              <a:gd name="connsiteX32" fmla="*/ 505839 w 915754"/>
              <a:gd name="connsiteY32" fmla="*/ 510702 h 1458979"/>
              <a:gd name="connsiteX33" fmla="*/ 428018 w 915754"/>
              <a:gd name="connsiteY33" fmla="*/ 432881 h 1458979"/>
              <a:gd name="connsiteX34" fmla="*/ 384243 w 915754"/>
              <a:gd name="connsiteY34" fmla="*/ 364787 h 1458979"/>
              <a:gd name="connsiteX35" fmla="*/ 355060 w 915754"/>
              <a:gd name="connsiteY35" fmla="*/ 325876 h 1458979"/>
              <a:gd name="connsiteX36" fmla="*/ 355060 w 915754"/>
              <a:gd name="connsiteY36" fmla="*/ 218872 h 1458979"/>
              <a:gd name="connsiteX37" fmla="*/ 350196 w 915754"/>
              <a:gd name="connsiteY37" fmla="*/ 179961 h 1458979"/>
              <a:gd name="connsiteX38" fmla="*/ 369652 w 915754"/>
              <a:gd name="connsiteY38" fmla="*/ 102140 h 1458979"/>
              <a:gd name="connsiteX39" fmla="*/ 388379 w 915754"/>
              <a:gd name="connsiteY39" fmla="*/ 29286 h 1458979"/>
              <a:gd name="connsiteX40" fmla="*/ 238328 w 915754"/>
              <a:gd name="connsiteY40" fmla="*/ 0 h 14589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915754" h="1458979">
                <a:moveTo>
                  <a:pt x="238328" y="0"/>
                </a:moveTo>
                <a:lnTo>
                  <a:pt x="141052" y="549613"/>
                </a:lnTo>
                <a:lnTo>
                  <a:pt x="160507" y="569068"/>
                </a:lnTo>
                <a:lnTo>
                  <a:pt x="175098" y="593387"/>
                </a:lnTo>
                <a:lnTo>
                  <a:pt x="175098" y="671208"/>
                </a:lnTo>
                <a:lnTo>
                  <a:pt x="126460" y="700391"/>
                </a:lnTo>
                <a:lnTo>
                  <a:pt x="107005" y="792804"/>
                </a:lnTo>
                <a:lnTo>
                  <a:pt x="58366" y="817123"/>
                </a:lnTo>
                <a:lnTo>
                  <a:pt x="53503" y="880353"/>
                </a:lnTo>
                <a:lnTo>
                  <a:pt x="58366" y="899808"/>
                </a:lnTo>
                <a:lnTo>
                  <a:pt x="72958" y="894944"/>
                </a:lnTo>
                <a:lnTo>
                  <a:pt x="82686" y="919264"/>
                </a:lnTo>
                <a:lnTo>
                  <a:pt x="43775" y="997085"/>
                </a:lnTo>
                <a:lnTo>
                  <a:pt x="0" y="1293779"/>
                </a:lnTo>
                <a:lnTo>
                  <a:pt x="852966" y="1458979"/>
                </a:lnTo>
                <a:lnTo>
                  <a:pt x="915754" y="970305"/>
                </a:lnTo>
                <a:cubicBezTo>
                  <a:pt x="897677" y="959085"/>
                  <a:pt x="893879" y="935960"/>
                  <a:pt x="875802" y="924740"/>
                </a:cubicBezTo>
                <a:lnTo>
                  <a:pt x="851171" y="933855"/>
                </a:lnTo>
                <a:lnTo>
                  <a:pt x="821988" y="963038"/>
                </a:lnTo>
                <a:lnTo>
                  <a:pt x="783077" y="972766"/>
                </a:lnTo>
                <a:lnTo>
                  <a:pt x="749030" y="953310"/>
                </a:lnTo>
                <a:lnTo>
                  <a:pt x="666345" y="967902"/>
                </a:lnTo>
                <a:lnTo>
                  <a:pt x="607979" y="914400"/>
                </a:lnTo>
                <a:lnTo>
                  <a:pt x="583660" y="890081"/>
                </a:lnTo>
                <a:lnTo>
                  <a:pt x="588524" y="841442"/>
                </a:lnTo>
                <a:lnTo>
                  <a:pt x="564205" y="792804"/>
                </a:lnTo>
                <a:lnTo>
                  <a:pt x="564205" y="763621"/>
                </a:lnTo>
                <a:lnTo>
                  <a:pt x="544749" y="700391"/>
                </a:lnTo>
                <a:lnTo>
                  <a:pt x="466928" y="705255"/>
                </a:lnTo>
                <a:lnTo>
                  <a:pt x="462064" y="661481"/>
                </a:lnTo>
                <a:lnTo>
                  <a:pt x="491247" y="646889"/>
                </a:lnTo>
                <a:lnTo>
                  <a:pt x="481520" y="588523"/>
                </a:lnTo>
                <a:lnTo>
                  <a:pt x="505839" y="510702"/>
                </a:lnTo>
                <a:lnTo>
                  <a:pt x="428018" y="432881"/>
                </a:lnTo>
                <a:lnTo>
                  <a:pt x="384243" y="364787"/>
                </a:lnTo>
                <a:lnTo>
                  <a:pt x="355060" y="325876"/>
                </a:lnTo>
                <a:lnTo>
                  <a:pt x="355060" y="218872"/>
                </a:lnTo>
                <a:lnTo>
                  <a:pt x="350196" y="179961"/>
                </a:lnTo>
                <a:lnTo>
                  <a:pt x="369652" y="102140"/>
                </a:lnTo>
                <a:lnTo>
                  <a:pt x="388379" y="29286"/>
                </a:lnTo>
                <a:lnTo>
                  <a:pt x="238328"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eaLnBrk="1" hangingPunct="1">
              <a:defRPr/>
            </a:pPr>
            <a:endParaRPr lang="en-GB" sz="1800"/>
          </a:p>
        </p:txBody>
      </p:sp>
      <p:sp>
        <p:nvSpPr>
          <p:cNvPr id="7" name="Freeform 6"/>
          <p:cNvSpPr/>
          <p:nvPr/>
        </p:nvSpPr>
        <p:spPr>
          <a:xfrm>
            <a:off x="1186408" y="1672259"/>
            <a:ext cx="972620" cy="726607"/>
          </a:xfrm>
          <a:custGeom>
            <a:avLst/>
            <a:gdLst>
              <a:gd name="connsiteX0" fmla="*/ 992221 w 992221"/>
              <a:gd name="connsiteY0" fmla="*/ 184826 h 749030"/>
              <a:gd name="connsiteX1" fmla="*/ 262647 w 992221"/>
              <a:gd name="connsiteY1" fmla="*/ 0 h 749030"/>
              <a:gd name="connsiteX2" fmla="*/ 291830 w 992221"/>
              <a:gd name="connsiteY2" fmla="*/ 24319 h 749030"/>
              <a:gd name="connsiteX3" fmla="*/ 325877 w 992221"/>
              <a:gd name="connsiteY3" fmla="*/ 63230 h 749030"/>
              <a:gd name="connsiteX4" fmla="*/ 296694 w 992221"/>
              <a:gd name="connsiteY4" fmla="*/ 102141 h 749030"/>
              <a:gd name="connsiteX5" fmla="*/ 316149 w 992221"/>
              <a:gd name="connsiteY5" fmla="*/ 136187 h 749030"/>
              <a:gd name="connsiteX6" fmla="*/ 296694 w 992221"/>
              <a:gd name="connsiteY6" fmla="*/ 160506 h 749030"/>
              <a:gd name="connsiteX7" fmla="*/ 321013 w 992221"/>
              <a:gd name="connsiteY7" fmla="*/ 189689 h 749030"/>
              <a:gd name="connsiteX8" fmla="*/ 321013 w 992221"/>
              <a:gd name="connsiteY8" fmla="*/ 233464 h 749030"/>
              <a:gd name="connsiteX9" fmla="*/ 282102 w 992221"/>
              <a:gd name="connsiteY9" fmla="*/ 243192 h 749030"/>
              <a:gd name="connsiteX10" fmla="*/ 277239 w 992221"/>
              <a:gd name="connsiteY10" fmla="*/ 291830 h 749030"/>
              <a:gd name="connsiteX11" fmla="*/ 218873 w 992221"/>
              <a:gd name="connsiteY11" fmla="*/ 350196 h 749030"/>
              <a:gd name="connsiteX12" fmla="*/ 189690 w 992221"/>
              <a:gd name="connsiteY12" fmla="*/ 335604 h 749030"/>
              <a:gd name="connsiteX13" fmla="*/ 189690 w 992221"/>
              <a:gd name="connsiteY13" fmla="*/ 335604 h 749030"/>
              <a:gd name="connsiteX14" fmla="*/ 238328 w 992221"/>
              <a:gd name="connsiteY14" fmla="*/ 291830 h 749030"/>
              <a:gd name="connsiteX15" fmla="*/ 248056 w 992221"/>
              <a:gd name="connsiteY15" fmla="*/ 262647 h 749030"/>
              <a:gd name="connsiteX16" fmla="*/ 218873 w 992221"/>
              <a:gd name="connsiteY16" fmla="*/ 233464 h 749030"/>
              <a:gd name="connsiteX17" fmla="*/ 252919 w 992221"/>
              <a:gd name="connsiteY17" fmla="*/ 204281 h 749030"/>
              <a:gd name="connsiteX18" fmla="*/ 238328 w 992221"/>
              <a:gd name="connsiteY18" fmla="*/ 175098 h 749030"/>
              <a:gd name="connsiteX19" fmla="*/ 199417 w 992221"/>
              <a:gd name="connsiteY19" fmla="*/ 145915 h 749030"/>
              <a:gd name="connsiteX20" fmla="*/ 34047 w 992221"/>
              <a:gd name="connsiteY20" fmla="*/ 63230 h 749030"/>
              <a:gd name="connsiteX21" fmla="*/ 0 w 992221"/>
              <a:gd name="connsiteY21" fmla="*/ 92413 h 749030"/>
              <a:gd name="connsiteX22" fmla="*/ 29183 w 992221"/>
              <a:gd name="connsiteY22" fmla="*/ 189689 h 749030"/>
              <a:gd name="connsiteX23" fmla="*/ 24319 w 992221"/>
              <a:gd name="connsiteY23" fmla="*/ 223736 h 749030"/>
              <a:gd name="connsiteX24" fmla="*/ 9728 w 992221"/>
              <a:gd name="connsiteY24" fmla="*/ 286966 h 749030"/>
              <a:gd name="connsiteX25" fmla="*/ 14592 w 992221"/>
              <a:gd name="connsiteY25" fmla="*/ 306421 h 749030"/>
              <a:gd name="connsiteX26" fmla="*/ 34047 w 992221"/>
              <a:gd name="connsiteY26" fmla="*/ 306421 h 749030"/>
              <a:gd name="connsiteX27" fmla="*/ 48639 w 992221"/>
              <a:gd name="connsiteY27" fmla="*/ 325877 h 749030"/>
              <a:gd name="connsiteX28" fmla="*/ 43775 w 992221"/>
              <a:gd name="connsiteY28" fmla="*/ 345332 h 749030"/>
              <a:gd name="connsiteX29" fmla="*/ 14592 w 992221"/>
              <a:gd name="connsiteY29" fmla="*/ 345332 h 749030"/>
              <a:gd name="connsiteX30" fmla="*/ 29183 w 992221"/>
              <a:gd name="connsiteY30" fmla="*/ 379379 h 749030"/>
              <a:gd name="connsiteX31" fmla="*/ 0 w 992221"/>
              <a:gd name="connsiteY31" fmla="*/ 413426 h 749030"/>
              <a:gd name="connsiteX32" fmla="*/ 4864 w 992221"/>
              <a:gd name="connsiteY32" fmla="*/ 452336 h 749030"/>
              <a:gd name="connsiteX33" fmla="*/ 43775 w 992221"/>
              <a:gd name="connsiteY33" fmla="*/ 457200 h 749030"/>
              <a:gd name="connsiteX34" fmla="*/ 58366 w 992221"/>
              <a:gd name="connsiteY34" fmla="*/ 476655 h 749030"/>
              <a:gd name="connsiteX35" fmla="*/ 136187 w 992221"/>
              <a:gd name="connsiteY35" fmla="*/ 515566 h 749030"/>
              <a:gd name="connsiteX36" fmla="*/ 145915 w 992221"/>
              <a:gd name="connsiteY36" fmla="*/ 627434 h 749030"/>
              <a:gd name="connsiteX37" fmla="*/ 145915 w 992221"/>
              <a:gd name="connsiteY37" fmla="*/ 627434 h 749030"/>
              <a:gd name="connsiteX38" fmla="*/ 199417 w 992221"/>
              <a:gd name="connsiteY38" fmla="*/ 622570 h 749030"/>
              <a:gd name="connsiteX39" fmla="*/ 223736 w 992221"/>
              <a:gd name="connsiteY39" fmla="*/ 617706 h 749030"/>
              <a:gd name="connsiteX40" fmla="*/ 248056 w 992221"/>
              <a:gd name="connsiteY40" fmla="*/ 617706 h 749030"/>
              <a:gd name="connsiteX41" fmla="*/ 272375 w 992221"/>
              <a:gd name="connsiteY41" fmla="*/ 603115 h 749030"/>
              <a:gd name="connsiteX42" fmla="*/ 330741 w 992221"/>
              <a:gd name="connsiteY42" fmla="*/ 661481 h 749030"/>
              <a:gd name="connsiteX43" fmla="*/ 389107 w 992221"/>
              <a:gd name="connsiteY43" fmla="*/ 637162 h 749030"/>
              <a:gd name="connsiteX44" fmla="*/ 452336 w 992221"/>
              <a:gd name="connsiteY44" fmla="*/ 680936 h 749030"/>
              <a:gd name="connsiteX45" fmla="*/ 515566 w 992221"/>
              <a:gd name="connsiteY45" fmla="*/ 676072 h 749030"/>
              <a:gd name="connsiteX46" fmla="*/ 569068 w 992221"/>
              <a:gd name="connsiteY46" fmla="*/ 680936 h 749030"/>
              <a:gd name="connsiteX47" fmla="*/ 598251 w 992221"/>
              <a:gd name="connsiteY47" fmla="*/ 690664 h 749030"/>
              <a:gd name="connsiteX48" fmla="*/ 642026 w 992221"/>
              <a:gd name="connsiteY48" fmla="*/ 676072 h 749030"/>
              <a:gd name="connsiteX49" fmla="*/ 710119 w 992221"/>
              <a:gd name="connsiteY49" fmla="*/ 700392 h 749030"/>
              <a:gd name="connsiteX50" fmla="*/ 749030 w 992221"/>
              <a:gd name="connsiteY50" fmla="*/ 695528 h 749030"/>
              <a:gd name="connsiteX51" fmla="*/ 797668 w 992221"/>
              <a:gd name="connsiteY51" fmla="*/ 719847 h 749030"/>
              <a:gd name="connsiteX52" fmla="*/ 846307 w 992221"/>
              <a:gd name="connsiteY52" fmla="*/ 729575 h 749030"/>
              <a:gd name="connsiteX53" fmla="*/ 870626 w 992221"/>
              <a:gd name="connsiteY53" fmla="*/ 724711 h 749030"/>
              <a:gd name="connsiteX54" fmla="*/ 894945 w 992221"/>
              <a:gd name="connsiteY54" fmla="*/ 739302 h 749030"/>
              <a:gd name="connsiteX55" fmla="*/ 919264 w 992221"/>
              <a:gd name="connsiteY55" fmla="*/ 749030 h 749030"/>
              <a:gd name="connsiteX56" fmla="*/ 992221 w 992221"/>
              <a:gd name="connsiteY56" fmla="*/ 184826 h 749030"/>
              <a:gd name="connsiteX0" fmla="*/ 1006541 w 1006541"/>
              <a:gd name="connsiteY0" fmla="*/ 182379 h 749030"/>
              <a:gd name="connsiteX1" fmla="*/ 262647 w 1006541"/>
              <a:gd name="connsiteY1" fmla="*/ 0 h 749030"/>
              <a:gd name="connsiteX2" fmla="*/ 291830 w 1006541"/>
              <a:gd name="connsiteY2" fmla="*/ 24319 h 749030"/>
              <a:gd name="connsiteX3" fmla="*/ 325877 w 1006541"/>
              <a:gd name="connsiteY3" fmla="*/ 63230 h 749030"/>
              <a:gd name="connsiteX4" fmla="*/ 296694 w 1006541"/>
              <a:gd name="connsiteY4" fmla="*/ 102141 h 749030"/>
              <a:gd name="connsiteX5" fmla="*/ 316149 w 1006541"/>
              <a:gd name="connsiteY5" fmla="*/ 136187 h 749030"/>
              <a:gd name="connsiteX6" fmla="*/ 296694 w 1006541"/>
              <a:gd name="connsiteY6" fmla="*/ 160506 h 749030"/>
              <a:gd name="connsiteX7" fmla="*/ 321013 w 1006541"/>
              <a:gd name="connsiteY7" fmla="*/ 189689 h 749030"/>
              <a:gd name="connsiteX8" fmla="*/ 321013 w 1006541"/>
              <a:gd name="connsiteY8" fmla="*/ 233464 h 749030"/>
              <a:gd name="connsiteX9" fmla="*/ 282102 w 1006541"/>
              <a:gd name="connsiteY9" fmla="*/ 243192 h 749030"/>
              <a:gd name="connsiteX10" fmla="*/ 277239 w 1006541"/>
              <a:gd name="connsiteY10" fmla="*/ 291830 h 749030"/>
              <a:gd name="connsiteX11" fmla="*/ 218873 w 1006541"/>
              <a:gd name="connsiteY11" fmla="*/ 350196 h 749030"/>
              <a:gd name="connsiteX12" fmla="*/ 189690 w 1006541"/>
              <a:gd name="connsiteY12" fmla="*/ 335604 h 749030"/>
              <a:gd name="connsiteX13" fmla="*/ 189690 w 1006541"/>
              <a:gd name="connsiteY13" fmla="*/ 335604 h 749030"/>
              <a:gd name="connsiteX14" fmla="*/ 238328 w 1006541"/>
              <a:gd name="connsiteY14" fmla="*/ 291830 h 749030"/>
              <a:gd name="connsiteX15" fmla="*/ 248056 w 1006541"/>
              <a:gd name="connsiteY15" fmla="*/ 262647 h 749030"/>
              <a:gd name="connsiteX16" fmla="*/ 218873 w 1006541"/>
              <a:gd name="connsiteY16" fmla="*/ 233464 h 749030"/>
              <a:gd name="connsiteX17" fmla="*/ 252919 w 1006541"/>
              <a:gd name="connsiteY17" fmla="*/ 204281 h 749030"/>
              <a:gd name="connsiteX18" fmla="*/ 238328 w 1006541"/>
              <a:gd name="connsiteY18" fmla="*/ 175098 h 749030"/>
              <a:gd name="connsiteX19" fmla="*/ 199417 w 1006541"/>
              <a:gd name="connsiteY19" fmla="*/ 145915 h 749030"/>
              <a:gd name="connsiteX20" fmla="*/ 34047 w 1006541"/>
              <a:gd name="connsiteY20" fmla="*/ 63230 h 749030"/>
              <a:gd name="connsiteX21" fmla="*/ 0 w 1006541"/>
              <a:gd name="connsiteY21" fmla="*/ 92413 h 749030"/>
              <a:gd name="connsiteX22" fmla="*/ 29183 w 1006541"/>
              <a:gd name="connsiteY22" fmla="*/ 189689 h 749030"/>
              <a:gd name="connsiteX23" fmla="*/ 24319 w 1006541"/>
              <a:gd name="connsiteY23" fmla="*/ 223736 h 749030"/>
              <a:gd name="connsiteX24" fmla="*/ 9728 w 1006541"/>
              <a:gd name="connsiteY24" fmla="*/ 286966 h 749030"/>
              <a:gd name="connsiteX25" fmla="*/ 14592 w 1006541"/>
              <a:gd name="connsiteY25" fmla="*/ 306421 h 749030"/>
              <a:gd name="connsiteX26" fmla="*/ 34047 w 1006541"/>
              <a:gd name="connsiteY26" fmla="*/ 306421 h 749030"/>
              <a:gd name="connsiteX27" fmla="*/ 48639 w 1006541"/>
              <a:gd name="connsiteY27" fmla="*/ 325877 h 749030"/>
              <a:gd name="connsiteX28" fmla="*/ 43775 w 1006541"/>
              <a:gd name="connsiteY28" fmla="*/ 345332 h 749030"/>
              <a:gd name="connsiteX29" fmla="*/ 14592 w 1006541"/>
              <a:gd name="connsiteY29" fmla="*/ 345332 h 749030"/>
              <a:gd name="connsiteX30" fmla="*/ 29183 w 1006541"/>
              <a:gd name="connsiteY30" fmla="*/ 379379 h 749030"/>
              <a:gd name="connsiteX31" fmla="*/ 0 w 1006541"/>
              <a:gd name="connsiteY31" fmla="*/ 413426 h 749030"/>
              <a:gd name="connsiteX32" fmla="*/ 4864 w 1006541"/>
              <a:gd name="connsiteY32" fmla="*/ 452336 h 749030"/>
              <a:gd name="connsiteX33" fmla="*/ 43775 w 1006541"/>
              <a:gd name="connsiteY33" fmla="*/ 457200 h 749030"/>
              <a:gd name="connsiteX34" fmla="*/ 58366 w 1006541"/>
              <a:gd name="connsiteY34" fmla="*/ 476655 h 749030"/>
              <a:gd name="connsiteX35" fmla="*/ 136187 w 1006541"/>
              <a:gd name="connsiteY35" fmla="*/ 515566 h 749030"/>
              <a:gd name="connsiteX36" fmla="*/ 145915 w 1006541"/>
              <a:gd name="connsiteY36" fmla="*/ 627434 h 749030"/>
              <a:gd name="connsiteX37" fmla="*/ 145915 w 1006541"/>
              <a:gd name="connsiteY37" fmla="*/ 627434 h 749030"/>
              <a:gd name="connsiteX38" fmla="*/ 199417 w 1006541"/>
              <a:gd name="connsiteY38" fmla="*/ 622570 h 749030"/>
              <a:gd name="connsiteX39" fmla="*/ 223736 w 1006541"/>
              <a:gd name="connsiteY39" fmla="*/ 617706 h 749030"/>
              <a:gd name="connsiteX40" fmla="*/ 248056 w 1006541"/>
              <a:gd name="connsiteY40" fmla="*/ 617706 h 749030"/>
              <a:gd name="connsiteX41" fmla="*/ 272375 w 1006541"/>
              <a:gd name="connsiteY41" fmla="*/ 603115 h 749030"/>
              <a:gd name="connsiteX42" fmla="*/ 330741 w 1006541"/>
              <a:gd name="connsiteY42" fmla="*/ 661481 h 749030"/>
              <a:gd name="connsiteX43" fmla="*/ 389107 w 1006541"/>
              <a:gd name="connsiteY43" fmla="*/ 637162 h 749030"/>
              <a:gd name="connsiteX44" fmla="*/ 452336 w 1006541"/>
              <a:gd name="connsiteY44" fmla="*/ 680936 h 749030"/>
              <a:gd name="connsiteX45" fmla="*/ 515566 w 1006541"/>
              <a:gd name="connsiteY45" fmla="*/ 676072 h 749030"/>
              <a:gd name="connsiteX46" fmla="*/ 569068 w 1006541"/>
              <a:gd name="connsiteY46" fmla="*/ 680936 h 749030"/>
              <a:gd name="connsiteX47" fmla="*/ 598251 w 1006541"/>
              <a:gd name="connsiteY47" fmla="*/ 690664 h 749030"/>
              <a:gd name="connsiteX48" fmla="*/ 642026 w 1006541"/>
              <a:gd name="connsiteY48" fmla="*/ 676072 h 749030"/>
              <a:gd name="connsiteX49" fmla="*/ 710119 w 1006541"/>
              <a:gd name="connsiteY49" fmla="*/ 700392 h 749030"/>
              <a:gd name="connsiteX50" fmla="*/ 749030 w 1006541"/>
              <a:gd name="connsiteY50" fmla="*/ 695528 h 749030"/>
              <a:gd name="connsiteX51" fmla="*/ 797668 w 1006541"/>
              <a:gd name="connsiteY51" fmla="*/ 719847 h 749030"/>
              <a:gd name="connsiteX52" fmla="*/ 846307 w 1006541"/>
              <a:gd name="connsiteY52" fmla="*/ 729575 h 749030"/>
              <a:gd name="connsiteX53" fmla="*/ 870626 w 1006541"/>
              <a:gd name="connsiteY53" fmla="*/ 724711 h 749030"/>
              <a:gd name="connsiteX54" fmla="*/ 894945 w 1006541"/>
              <a:gd name="connsiteY54" fmla="*/ 739302 h 749030"/>
              <a:gd name="connsiteX55" fmla="*/ 919264 w 1006541"/>
              <a:gd name="connsiteY55" fmla="*/ 749030 h 749030"/>
              <a:gd name="connsiteX56" fmla="*/ 1006541 w 1006541"/>
              <a:gd name="connsiteY56" fmla="*/ 182379 h 749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1006541" h="749030">
                <a:moveTo>
                  <a:pt x="1006541" y="182379"/>
                </a:moveTo>
                <a:lnTo>
                  <a:pt x="262647" y="0"/>
                </a:lnTo>
                <a:lnTo>
                  <a:pt x="291830" y="24319"/>
                </a:lnTo>
                <a:lnTo>
                  <a:pt x="325877" y="63230"/>
                </a:lnTo>
                <a:lnTo>
                  <a:pt x="296694" y="102141"/>
                </a:lnTo>
                <a:lnTo>
                  <a:pt x="316149" y="136187"/>
                </a:lnTo>
                <a:lnTo>
                  <a:pt x="296694" y="160506"/>
                </a:lnTo>
                <a:lnTo>
                  <a:pt x="321013" y="189689"/>
                </a:lnTo>
                <a:lnTo>
                  <a:pt x="321013" y="233464"/>
                </a:lnTo>
                <a:lnTo>
                  <a:pt x="282102" y="243192"/>
                </a:lnTo>
                <a:lnTo>
                  <a:pt x="277239" y="291830"/>
                </a:lnTo>
                <a:lnTo>
                  <a:pt x="218873" y="350196"/>
                </a:lnTo>
                <a:lnTo>
                  <a:pt x="189690" y="335604"/>
                </a:lnTo>
                <a:lnTo>
                  <a:pt x="189690" y="335604"/>
                </a:lnTo>
                <a:lnTo>
                  <a:pt x="238328" y="291830"/>
                </a:lnTo>
                <a:lnTo>
                  <a:pt x="248056" y="262647"/>
                </a:lnTo>
                <a:lnTo>
                  <a:pt x="218873" y="233464"/>
                </a:lnTo>
                <a:lnTo>
                  <a:pt x="252919" y="204281"/>
                </a:lnTo>
                <a:lnTo>
                  <a:pt x="238328" y="175098"/>
                </a:lnTo>
                <a:lnTo>
                  <a:pt x="199417" y="145915"/>
                </a:lnTo>
                <a:lnTo>
                  <a:pt x="34047" y="63230"/>
                </a:lnTo>
                <a:lnTo>
                  <a:pt x="0" y="92413"/>
                </a:lnTo>
                <a:lnTo>
                  <a:pt x="29183" y="189689"/>
                </a:lnTo>
                <a:lnTo>
                  <a:pt x="24319" y="223736"/>
                </a:lnTo>
                <a:lnTo>
                  <a:pt x="9728" y="286966"/>
                </a:lnTo>
                <a:lnTo>
                  <a:pt x="14592" y="306421"/>
                </a:lnTo>
                <a:lnTo>
                  <a:pt x="34047" y="306421"/>
                </a:lnTo>
                <a:lnTo>
                  <a:pt x="48639" y="325877"/>
                </a:lnTo>
                <a:lnTo>
                  <a:pt x="43775" y="345332"/>
                </a:lnTo>
                <a:lnTo>
                  <a:pt x="14592" y="345332"/>
                </a:lnTo>
                <a:lnTo>
                  <a:pt x="29183" y="379379"/>
                </a:lnTo>
                <a:lnTo>
                  <a:pt x="0" y="413426"/>
                </a:lnTo>
                <a:lnTo>
                  <a:pt x="4864" y="452336"/>
                </a:lnTo>
                <a:lnTo>
                  <a:pt x="43775" y="457200"/>
                </a:lnTo>
                <a:lnTo>
                  <a:pt x="58366" y="476655"/>
                </a:lnTo>
                <a:lnTo>
                  <a:pt x="136187" y="515566"/>
                </a:lnTo>
                <a:lnTo>
                  <a:pt x="145915" y="627434"/>
                </a:lnTo>
                <a:lnTo>
                  <a:pt x="145915" y="627434"/>
                </a:lnTo>
                <a:lnTo>
                  <a:pt x="199417" y="622570"/>
                </a:lnTo>
                <a:lnTo>
                  <a:pt x="223736" y="617706"/>
                </a:lnTo>
                <a:lnTo>
                  <a:pt x="248056" y="617706"/>
                </a:lnTo>
                <a:lnTo>
                  <a:pt x="272375" y="603115"/>
                </a:lnTo>
                <a:lnTo>
                  <a:pt x="330741" y="661481"/>
                </a:lnTo>
                <a:lnTo>
                  <a:pt x="389107" y="637162"/>
                </a:lnTo>
                <a:lnTo>
                  <a:pt x="452336" y="680936"/>
                </a:lnTo>
                <a:lnTo>
                  <a:pt x="515566" y="676072"/>
                </a:lnTo>
                <a:lnTo>
                  <a:pt x="569068" y="680936"/>
                </a:lnTo>
                <a:lnTo>
                  <a:pt x="598251" y="690664"/>
                </a:lnTo>
                <a:lnTo>
                  <a:pt x="642026" y="676072"/>
                </a:lnTo>
                <a:lnTo>
                  <a:pt x="710119" y="700392"/>
                </a:lnTo>
                <a:lnTo>
                  <a:pt x="749030" y="695528"/>
                </a:lnTo>
                <a:lnTo>
                  <a:pt x="797668" y="719847"/>
                </a:lnTo>
                <a:lnTo>
                  <a:pt x="846307" y="729575"/>
                </a:lnTo>
                <a:lnTo>
                  <a:pt x="870626" y="724711"/>
                </a:lnTo>
                <a:lnTo>
                  <a:pt x="894945" y="739302"/>
                </a:lnTo>
                <a:lnTo>
                  <a:pt x="919264" y="749030"/>
                </a:lnTo>
                <a:lnTo>
                  <a:pt x="1006541" y="182379"/>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eaLnBrk="1" hangingPunct="1">
              <a:defRPr/>
            </a:pPr>
            <a:endParaRPr lang="en-GB" sz="1800"/>
          </a:p>
        </p:txBody>
      </p:sp>
      <p:sp>
        <p:nvSpPr>
          <p:cNvPr id="8" name="Freeform 7"/>
          <p:cNvSpPr/>
          <p:nvPr/>
        </p:nvSpPr>
        <p:spPr>
          <a:xfrm>
            <a:off x="936348" y="2098679"/>
            <a:ext cx="1165918" cy="1002164"/>
          </a:xfrm>
          <a:custGeom>
            <a:avLst/>
            <a:gdLst>
              <a:gd name="connsiteX0" fmla="*/ 265568 w 1195057"/>
              <a:gd name="connsiteY0" fmla="*/ 0 h 1013988"/>
              <a:gd name="connsiteX1" fmla="*/ 250479 w 1195057"/>
              <a:gd name="connsiteY1" fmla="*/ 72428 h 1013988"/>
              <a:gd name="connsiteX2" fmla="*/ 250479 w 1195057"/>
              <a:gd name="connsiteY2" fmla="*/ 114677 h 1013988"/>
              <a:gd name="connsiteX3" fmla="*/ 232372 w 1195057"/>
              <a:gd name="connsiteY3" fmla="*/ 132784 h 1013988"/>
              <a:gd name="connsiteX4" fmla="*/ 217283 w 1195057"/>
              <a:gd name="connsiteY4" fmla="*/ 193140 h 1013988"/>
              <a:gd name="connsiteX5" fmla="*/ 172016 w 1195057"/>
              <a:gd name="connsiteY5" fmla="*/ 238408 h 1013988"/>
              <a:gd name="connsiteX6" fmla="*/ 162962 w 1195057"/>
              <a:gd name="connsiteY6" fmla="*/ 325925 h 1013988"/>
              <a:gd name="connsiteX7" fmla="*/ 54321 w 1195057"/>
              <a:gd name="connsiteY7" fmla="*/ 476816 h 1013988"/>
              <a:gd name="connsiteX8" fmla="*/ 54321 w 1195057"/>
              <a:gd name="connsiteY8" fmla="*/ 519065 h 1013988"/>
              <a:gd name="connsiteX9" fmla="*/ 21125 w 1195057"/>
              <a:gd name="connsiteY9" fmla="*/ 558297 h 1013988"/>
              <a:gd name="connsiteX10" fmla="*/ 15089 w 1195057"/>
              <a:gd name="connsiteY10" fmla="*/ 615636 h 1013988"/>
              <a:gd name="connsiteX11" fmla="*/ 0 w 1195057"/>
              <a:gd name="connsiteY11" fmla="*/ 688063 h 1013988"/>
              <a:gd name="connsiteX12" fmla="*/ 6036 w 1195057"/>
              <a:gd name="connsiteY12" fmla="*/ 748420 h 1013988"/>
              <a:gd name="connsiteX13" fmla="*/ 591493 w 1195057"/>
              <a:gd name="connsiteY13" fmla="*/ 917418 h 1013988"/>
              <a:gd name="connsiteX14" fmla="*/ 1029077 w 1195057"/>
              <a:gd name="connsiteY14" fmla="*/ 1013988 h 1013988"/>
              <a:gd name="connsiteX15" fmla="*/ 1071327 w 1195057"/>
              <a:gd name="connsiteY15" fmla="*/ 712206 h 1013988"/>
              <a:gd name="connsiteX16" fmla="*/ 1107541 w 1195057"/>
              <a:gd name="connsiteY16" fmla="*/ 642796 h 1013988"/>
              <a:gd name="connsiteX17" fmla="*/ 1092452 w 1195057"/>
              <a:gd name="connsiteY17" fmla="*/ 612618 h 1013988"/>
              <a:gd name="connsiteX18" fmla="*/ 1083398 w 1195057"/>
              <a:gd name="connsiteY18" fmla="*/ 615636 h 1013988"/>
              <a:gd name="connsiteX19" fmla="*/ 1083398 w 1195057"/>
              <a:gd name="connsiteY19" fmla="*/ 543208 h 1013988"/>
              <a:gd name="connsiteX20" fmla="*/ 1134701 w 1195057"/>
              <a:gd name="connsiteY20" fmla="*/ 519065 h 1013988"/>
              <a:gd name="connsiteX21" fmla="*/ 1149790 w 1195057"/>
              <a:gd name="connsiteY21" fmla="*/ 419477 h 1013988"/>
              <a:gd name="connsiteX22" fmla="*/ 1195057 w 1195057"/>
              <a:gd name="connsiteY22" fmla="*/ 392317 h 1013988"/>
              <a:gd name="connsiteX23" fmla="*/ 1195057 w 1195057"/>
              <a:gd name="connsiteY23" fmla="*/ 322907 h 1013988"/>
              <a:gd name="connsiteX24" fmla="*/ 1182986 w 1195057"/>
              <a:gd name="connsiteY24" fmla="*/ 292729 h 1013988"/>
              <a:gd name="connsiteX25" fmla="*/ 1164879 w 1195057"/>
              <a:gd name="connsiteY25" fmla="*/ 292729 h 1013988"/>
              <a:gd name="connsiteX26" fmla="*/ 1131683 w 1195057"/>
              <a:gd name="connsiteY26" fmla="*/ 271604 h 1013988"/>
              <a:gd name="connsiteX27" fmla="*/ 1089434 w 1195057"/>
              <a:gd name="connsiteY27" fmla="*/ 271604 h 1013988"/>
              <a:gd name="connsiteX28" fmla="*/ 1059256 w 1195057"/>
              <a:gd name="connsiteY28" fmla="*/ 268586 h 1013988"/>
              <a:gd name="connsiteX29" fmla="*/ 998899 w 1195057"/>
              <a:gd name="connsiteY29" fmla="*/ 235390 h 1013988"/>
              <a:gd name="connsiteX30" fmla="*/ 968721 w 1195057"/>
              <a:gd name="connsiteY30" fmla="*/ 247461 h 1013988"/>
              <a:gd name="connsiteX31" fmla="*/ 908364 w 1195057"/>
              <a:gd name="connsiteY31" fmla="*/ 220301 h 1013988"/>
              <a:gd name="connsiteX32" fmla="*/ 854044 w 1195057"/>
              <a:gd name="connsiteY32" fmla="*/ 235390 h 1013988"/>
              <a:gd name="connsiteX33" fmla="*/ 832919 w 1195057"/>
              <a:gd name="connsiteY33" fmla="*/ 226336 h 1013988"/>
              <a:gd name="connsiteX34" fmla="*/ 715224 w 1195057"/>
              <a:gd name="connsiteY34" fmla="*/ 226336 h 1013988"/>
              <a:gd name="connsiteX35" fmla="*/ 648832 w 1195057"/>
              <a:gd name="connsiteY35" fmla="*/ 181069 h 1013988"/>
              <a:gd name="connsiteX36" fmla="*/ 588475 w 1195057"/>
              <a:gd name="connsiteY36" fmla="*/ 208230 h 1013988"/>
              <a:gd name="connsiteX37" fmla="*/ 531137 w 1195057"/>
              <a:gd name="connsiteY37" fmla="*/ 144855 h 1013988"/>
              <a:gd name="connsiteX38" fmla="*/ 407406 w 1195057"/>
              <a:gd name="connsiteY38" fmla="*/ 172016 h 1013988"/>
              <a:gd name="connsiteX39" fmla="*/ 392317 w 1195057"/>
              <a:gd name="connsiteY39" fmla="*/ 60356 h 1013988"/>
              <a:gd name="connsiteX40" fmla="*/ 265568 w 1195057"/>
              <a:gd name="connsiteY40" fmla="*/ 0 h 1013988"/>
              <a:gd name="connsiteX0" fmla="*/ 265568 w 1206976"/>
              <a:gd name="connsiteY0" fmla="*/ 0 h 1013988"/>
              <a:gd name="connsiteX1" fmla="*/ 250479 w 1206976"/>
              <a:gd name="connsiteY1" fmla="*/ 72428 h 1013988"/>
              <a:gd name="connsiteX2" fmla="*/ 250479 w 1206976"/>
              <a:gd name="connsiteY2" fmla="*/ 114677 h 1013988"/>
              <a:gd name="connsiteX3" fmla="*/ 232372 w 1206976"/>
              <a:gd name="connsiteY3" fmla="*/ 132784 h 1013988"/>
              <a:gd name="connsiteX4" fmla="*/ 217283 w 1206976"/>
              <a:gd name="connsiteY4" fmla="*/ 193140 h 1013988"/>
              <a:gd name="connsiteX5" fmla="*/ 172016 w 1206976"/>
              <a:gd name="connsiteY5" fmla="*/ 238408 h 1013988"/>
              <a:gd name="connsiteX6" fmla="*/ 162962 w 1206976"/>
              <a:gd name="connsiteY6" fmla="*/ 325925 h 1013988"/>
              <a:gd name="connsiteX7" fmla="*/ 54321 w 1206976"/>
              <a:gd name="connsiteY7" fmla="*/ 476816 h 1013988"/>
              <a:gd name="connsiteX8" fmla="*/ 54321 w 1206976"/>
              <a:gd name="connsiteY8" fmla="*/ 519065 h 1013988"/>
              <a:gd name="connsiteX9" fmla="*/ 21125 w 1206976"/>
              <a:gd name="connsiteY9" fmla="*/ 558297 h 1013988"/>
              <a:gd name="connsiteX10" fmla="*/ 15089 w 1206976"/>
              <a:gd name="connsiteY10" fmla="*/ 615636 h 1013988"/>
              <a:gd name="connsiteX11" fmla="*/ 0 w 1206976"/>
              <a:gd name="connsiteY11" fmla="*/ 688063 h 1013988"/>
              <a:gd name="connsiteX12" fmla="*/ 6036 w 1206976"/>
              <a:gd name="connsiteY12" fmla="*/ 748420 h 1013988"/>
              <a:gd name="connsiteX13" fmla="*/ 591493 w 1206976"/>
              <a:gd name="connsiteY13" fmla="*/ 917418 h 1013988"/>
              <a:gd name="connsiteX14" fmla="*/ 1029077 w 1206976"/>
              <a:gd name="connsiteY14" fmla="*/ 1013988 h 1013988"/>
              <a:gd name="connsiteX15" fmla="*/ 1071327 w 1206976"/>
              <a:gd name="connsiteY15" fmla="*/ 712206 h 1013988"/>
              <a:gd name="connsiteX16" fmla="*/ 1107541 w 1206976"/>
              <a:gd name="connsiteY16" fmla="*/ 642796 h 1013988"/>
              <a:gd name="connsiteX17" fmla="*/ 1092452 w 1206976"/>
              <a:gd name="connsiteY17" fmla="*/ 612618 h 1013988"/>
              <a:gd name="connsiteX18" fmla="*/ 1083398 w 1206976"/>
              <a:gd name="connsiteY18" fmla="*/ 615636 h 1013988"/>
              <a:gd name="connsiteX19" fmla="*/ 1083398 w 1206976"/>
              <a:gd name="connsiteY19" fmla="*/ 543208 h 1013988"/>
              <a:gd name="connsiteX20" fmla="*/ 1134701 w 1206976"/>
              <a:gd name="connsiteY20" fmla="*/ 519065 h 1013988"/>
              <a:gd name="connsiteX21" fmla="*/ 1149790 w 1206976"/>
              <a:gd name="connsiteY21" fmla="*/ 419477 h 1013988"/>
              <a:gd name="connsiteX22" fmla="*/ 1206976 w 1206976"/>
              <a:gd name="connsiteY22" fmla="*/ 392317 h 1013988"/>
              <a:gd name="connsiteX23" fmla="*/ 1195057 w 1206976"/>
              <a:gd name="connsiteY23" fmla="*/ 322907 h 1013988"/>
              <a:gd name="connsiteX24" fmla="*/ 1182986 w 1206976"/>
              <a:gd name="connsiteY24" fmla="*/ 292729 h 1013988"/>
              <a:gd name="connsiteX25" fmla="*/ 1164879 w 1206976"/>
              <a:gd name="connsiteY25" fmla="*/ 292729 h 1013988"/>
              <a:gd name="connsiteX26" fmla="*/ 1131683 w 1206976"/>
              <a:gd name="connsiteY26" fmla="*/ 271604 h 1013988"/>
              <a:gd name="connsiteX27" fmla="*/ 1089434 w 1206976"/>
              <a:gd name="connsiteY27" fmla="*/ 271604 h 1013988"/>
              <a:gd name="connsiteX28" fmla="*/ 1059256 w 1206976"/>
              <a:gd name="connsiteY28" fmla="*/ 268586 h 1013988"/>
              <a:gd name="connsiteX29" fmla="*/ 998899 w 1206976"/>
              <a:gd name="connsiteY29" fmla="*/ 235390 h 1013988"/>
              <a:gd name="connsiteX30" fmla="*/ 968721 w 1206976"/>
              <a:gd name="connsiteY30" fmla="*/ 247461 h 1013988"/>
              <a:gd name="connsiteX31" fmla="*/ 908364 w 1206976"/>
              <a:gd name="connsiteY31" fmla="*/ 220301 h 1013988"/>
              <a:gd name="connsiteX32" fmla="*/ 854044 w 1206976"/>
              <a:gd name="connsiteY32" fmla="*/ 235390 h 1013988"/>
              <a:gd name="connsiteX33" fmla="*/ 832919 w 1206976"/>
              <a:gd name="connsiteY33" fmla="*/ 226336 h 1013988"/>
              <a:gd name="connsiteX34" fmla="*/ 715224 w 1206976"/>
              <a:gd name="connsiteY34" fmla="*/ 226336 h 1013988"/>
              <a:gd name="connsiteX35" fmla="*/ 648832 w 1206976"/>
              <a:gd name="connsiteY35" fmla="*/ 181069 h 1013988"/>
              <a:gd name="connsiteX36" fmla="*/ 588475 w 1206976"/>
              <a:gd name="connsiteY36" fmla="*/ 208230 h 1013988"/>
              <a:gd name="connsiteX37" fmla="*/ 531137 w 1206976"/>
              <a:gd name="connsiteY37" fmla="*/ 144855 h 1013988"/>
              <a:gd name="connsiteX38" fmla="*/ 407406 w 1206976"/>
              <a:gd name="connsiteY38" fmla="*/ 172016 h 1013988"/>
              <a:gd name="connsiteX39" fmla="*/ 392317 w 1206976"/>
              <a:gd name="connsiteY39" fmla="*/ 60356 h 1013988"/>
              <a:gd name="connsiteX40" fmla="*/ 265568 w 1206976"/>
              <a:gd name="connsiteY40" fmla="*/ 0 h 1013988"/>
              <a:gd name="connsiteX0" fmla="*/ 265568 w 1206976"/>
              <a:gd name="connsiteY0" fmla="*/ 0 h 1013988"/>
              <a:gd name="connsiteX1" fmla="*/ 250479 w 1206976"/>
              <a:gd name="connsiteY1" fmla="*/ 72428 h 1013988"/>
              <a:gd name="connsiteX2" fmla="*/ 250479 w 1206976"/>
              <a:gd name="connsiteY2" fmla="*/ 114677 h 1013988"/>
              <a:gd name="connsiteX3" fmla="*/ 232372 w 1206976"/>
              <a:gd name="connsiteY3" fmla="*/ 132784 h 1013988"/>
              <a:gd name="connsiteX4" fmla="*/ 217283 w 1206976"/>
              <a:gd name="connsiteY4" fmla="*/ 193140 h 1013988"/>
              <a:gd name="connsiteX5" fmla="*/ 172016 w 1206976"/>
              <a:gd name="connsiteY5" fmla="*/ 238408 h 1013988"/>
              <a:gd name="connsiteX6" fmla="*/ 162962 w 1206976"/>
              <a:gd name="connsiteY6" fmla="*/ 325925 h 1013988"/>
              <a:gd name="connsiteX7" fmla="*/ 54321 w 1206976"/>
              <a:gd name="connsiteY7" fmla="*/ 476816 h 1013988"/>
              <a:gd name="connsiteX8" fmla="*/ 54321 w 1206976"/>
              <a:gd name="connsiteY8" fmla="*/ 519065 h 1013988"/>
              <a:gd name="connsiteX9" fmla="*/ 21125 w 1206976"/>
              <a:gd name="connsiteY9" fmla="*/ 558297 h 1013988"/>
              <a:gd name="connsiteX10" fmla="*/ 15089 w 1206976"/>
              <a:gd name="connsiteY10" fmla="*/ 615636 h 1013988"/>
              <a:gd name="connsiteX11" fmla="*/ 0 w 1206976"/>
              <a:gd name="connsiteY11" fmla="*/ 688063 h 1013988"/>
              <a:gd name="connsiteX12" fmla="*/ 6036 w 1206976"/>
              <a:gd name="connsiteY12" fmla="*/ 748420 h 1013988"/>
              <a:gd name="connsiteX13" fmla="*/ 591493 w 1206976"/>
              <a:gd name="connsiteY13" fmla="*/ 917418 h 1013988"/>
              <a:gd name="connsiteX14" fmla="*/ 1029077 w 1206976"/>
              <a:gd name="connsiteY14" fmla="*/ 1013988 h 1013988"/>
              <a:gd name="connsiteX15" fmla="*/ 1071327 w 1206976"/>
              <a:gd name="connsiteY15" fmla="*/ 712206 h 1013988"/>
              <a:gd name="connsiteX16" fmla="*/ 1107541 w 1206976"/>
              <a:gd name="connsiteY16" fmla="*/ 642796 h 1013988"/>
              <a:gd name="connsiteX17" fmla="*/ 1092452 w 1206976"/>
              <a:gd name="connsiteY17" fmla="*/ 612618 h 1013988"/>
              <a:gd name="connsiteX18" fmla="*/ 1083398 w 1206976"/>
              <a:gd name="connsiteY18" fmla="*/ 615636 h 1013988"/>
              <a:gd name="connsiteX19" fmla="*/ 1083398 w 1206976"/>
              <a:gd name="connsiteY19" fmla="*/ 543208 h 1013988"/>
              <a:gd name="connsiteX20" fmla="*/ 1134701 w 1206976"/>
              <a:gd name="connsiteY20" fmla="*/ 519065 h 1013988"/>
              <a:gd name="connsiteX21" fmla="*/ 1149790 w 1206976"/>
              <a:gd name="connsiteY21" fmla="*/ 419477 h 1013988"/>
              <a:gd name="connsiteX22" fmla="*/ 1206976 w 1206976"/>
              <a:gd name="connsiteY22" fmla="*/ 392317 h 1013988"/>
              <a:gd name="connsiteX23" fmla="*/ 1204592 w 1206976"/>
              <a:gd name="connsiteY23" fmla="*/ 322907 h 1013988"/>
              <a:gd name="connsiteX24" fmla="*/ 1182986 w 1206976"/>
              <a:gd name="connsiteY24" fmla="*/ 292729 h 1013988"/>
              <a:gd name="connsiteX25" fmla="*/ 1164879 w 1206976"/>
              <a:gd name="connsiteY25" fmla="*/ 292729 h 1013988"/>
              <a:gd name="connsiteX26" fmla="*/ 1131683 w 1206976"/>
              <a:gd name="connsiteY26" fmla="*/ 271604 h 1013988"/>
              <a:gd name="connsiteX27" fmla="*/ 1089434 w 1206976"/>
              <a:gd name="connsiteY27" fmla="*/ 271604 h 1013988"/>
              <a:gd name="connsiteX28" fmla="*/ 1059256 w 1206976"/>
              <a:gd name="connsiteY28" fmla="*/ 268586 h 1013988"/>
              <a:gd name="connsiteX29" fmla="*/ 998899 w 1206976"/>
              <a:gd name="connsiteY29" fmla="*/ 235390 h 1013988"/>
              <a:gd name="connsiteX30" fmla="*/ 968721 w 1206976"/>
              <a:gd name="connsiteY30" fmla="*/ 247461 h 1013988"/>
              <a:gd name="connsiteX31" fmla="*/ 908364 w 1206976"/>
              <a:gd name="connsiteY31" fmla="*/ 220301 h 1013988"/>
              <a:gd name="connsiteX32" fmla="*/ 854044 w 1206976"/>
              <a:gd name="connsiteY32" fmla="*/ 235390 h 1013988"/>
              <a:gd name="connsiteX33" fmla="*/ 832919 w 1206976"/>
              <a:gd name="connsiteY33" fmla="*/ 226336 h 1013988"/>
              <a:gd name="connsiteX34" fmla="*/ 715224 w 1206976"/>
              <a:gd name="connsiteY34" fmla="*/ 226336 h 1013988"/>
              <a:gd name="connsiteX35" fmla="*/ 648832 w 1206976"/>
              <a:gd name="connsiteY35" fmla="*/ 181069 h 1013988"/>
              <a:gd name="connsiteX36" fmla="*/ 588475 w 1206976"/>
              <a:gd name="connsiteY36" fmla="*/ 208230 h 1013988"/>
              <a:gd name="connsiteX37" fmla="*/ 531137 w 1206976"/>
              <a:gd name="connsiteY37" fmla="*/ 144855 h 1013988"/>
              <a:gd name="connsiteX38" fmla="*/ 407406 w 1206976"/>
              <a:gd name="connsiteY38" fmla="*/ 172016 h 1013988"/>
              <a:gd name="connsiteX39" fmla="*/ 392317 w 1206976"/>
              <a:gd name="connsiteY39" fmla="*/ 60356 h 1013988"/>
              <a:gd name="connsiteX40" fmla="*/ 265568 w 1206976"/>
              <a:gd name="connsiteY40" fmla="*/ 0 h 1013988"/>
              <a:gd name="connsiteX0" fmla="*/ 265568 w 1206976"/>
              <a:gd name="connsiteY0" fmla="*/ 0 h 1013988"/>
              <a:gd name="connsiteX1" fmla="*/ 250479 w 1206976"/>
              <a:gd name="connsiteY1" fmla="*/ 72428 h 1013988"/>
              <a:gd name="connsiteX2" fmla="*/ 250479 w 1206976"/>
              <a:gd name="connsiteY2" fmla="*/ 114677 h 1013988"/>
              <a:gd name="connsiteX3" fmla="*/ 232372 w 1206976"/>
              <a:gd name="connsiteY3" fmla="*/ 132784 h 1013988"/>
              <a:gd name="connsiteX4" fmla="*/ 217283 w 1206976"/>
              <a:gd name="connsiteY4" fmla="*/ 193140 h 1013988"/>
              <a:gd name="connsiteX5" fmla="*/ 172016 w 1206976"/>
              <a:gd name="connsiteY5" fmla="*/ 238408 h 1013988"/>
              <a:gd name="connsiteX6" fmla="*/ 162962 w 1206976"/>
              <a:gd name="connsiteY6" fmla="*/ 325925 h 1013988"/>
              <a:gd name="connsiteX7" fmla="*/ 54321 w 1206976"/>
              <a:gd name="connsiteY7" fmla="*/ 476816 h 1013988"/>
              <a:gd name="connsiteX8" fmla="*/ 54321 w 1206976"/>
              <a:gd name="connsiteY8" fmla="*/ 519065 h 1013988"/>
              <a:gd name="connsiteX9" fmla="*/ 21125 w 1206976"/>
              <a:gd name="connsiteY9" fmla="*/ 558297 h 1013988"/>
              <a:gd name="connsiteX10" fmla="*/ 15089 w 1206976"/>
              <a:gd name="connsiteY10" fmla="*/ 615636 h 1013988"/>
              <a:gd name="connsiteX11" fmla="*/ 0 w 1206976"/>
              <a:gd name="connsiteY11" fmla="*/ 688063 h 1013988"/>
              <a:gd name="connsiteX12" fmla="*/ 6036 w 1206976"/>
              <a:gd name="connsiteY12" fmla="*/ 748420 h 1013988"/>
              <a:gd name="connsiteX13" fmla="*/ 591493 w 1206976"/>
              <a:gd name="connsiteY13" fmla="*/ 917418 h 1013988"/>
              <a:gd name="connsiteX14" fmla="*/ 1029077 w 1206976"/>
              <a:gd name="connsiteY14" fmla="*/ 1013988 h 1013988"/>
              <a:gd name="connsiteX15" fmla="*/ 1071327 w 1206976"/>
              <a:gd name="connsiteY15" fmla="*/ 712206 h 1013988"/>
              <a:gd name="connsiteX16" fmla="*/ 1107541 w 1206976"/>
              <a:gd name="connsiteY16" fmla="*/ 642796 h 1013988"/>
              <a:gd name="connsiteX17" fmla="*/ 1092452 w 1206976"/>
              <a:gd name="connsiteY17" fmla="*/ 612618 h 1013988"/>
              <a:gd name="connsiteX18" fmla="*/ 1083398 w 1206976"/>
              <a:gd name="connsiteY18" fmla="*/ 615636 h 1013988"/>
              <a:gd name="connsiteX19" fmla="*/ 1083398 w 1206976"/>
              <a:gd name="connsiteY19" fmla="*/ 543208 h 1013988"/>
              <a:gd name="connsiteX20" fmla="*/ 1134701 w 1206976"/>
              <a:gd name="connsiteY20" fmla="*/ 519065 h 1013988"/>
              <a:gd name="connsiteX21" fmla="*/ 1149790 w 1206976"/>
              <a:gd name="connsiteY21" fmla="*/ 419477 h 1013988"/>
              <a:gd name="connsiteX22" fmla="*/ 1206976 w 1206976"/>
              <a:gd name="connsiteY22" fmla="*/ 392317 h 1013988"/>
              <a:gd name="connsiteX23" fmla="*/ 1204592 w 1206976"/>
              <a:gd name="connsiteY23" fmla="*/ 322907 h 1013988"/>
              <a:gd name="connsiteX24" fmla="*/ 1182986 w 1206976"/>
              <a:gd name="connsiteY24" fmla="*/ 292729 h 1013988"/>
              <a:gd name="connsiteX25" fmla="*/ 1164879 w 1206976"/>
              <a:gd name="connsiteY25" fmla="*/ 292729 h 1013988"/>
              <a:gd name="connsiteX26" fmla="*/ 1131683 w 1206976"/>
              <a:gd name="connsiteY26" fmla="*/ 271604 h 1013988"/>
              <a:gd name="connsiteX27" fmla="*/ 1089434 w 1206976"/>
              <a:gd name="connsiteY27" fmla="*/ 271604 h 1013988"/>
              <a:gd name="connsiteX28" fmla="*/ 1059256 w 1206976"/>
              <a:gd name="connsiteY28" fmla="*/ 268586 h 1013988"/>
              <a:gd name="connsiteX29" fmla="*/ 998899 w 1206976"/>
              <a:gd name="connsiteY29" fmla="*/ 235390 h 1013988"/>
              <a:gd name="connsiteX30" fmla="*/ 968721 w 1206976"/>
              <a:gd name="connsiteY30" fmla="*/ 247461 h 1013988"/>
              <a:gd name="connsiteX31" fmla="*/ 908364 w 1206976"/>
              <a:gd name="connsiteY31" fmla="*/ 220301 h 1013988"/>
              <a:gd name="connsiteX32" fmla="*/ 854044 w 1206976"/>
              <a:gd name="connsiteY32" fmla="*/ 235390 h 1013988"/>
              <a:gd name="connsiteX33" fmla="*/ 832919 w 1206976"/>
              <a:gd name="connsiteY33" fmla="*/ 226336 h 1013988"/>
              <a:gd name="connsiteX34" fmla="*/ 717607 w 1206976"/>
              <a:gd name="connsiteY34" fmla="*/ 214435 h 1013988"/>
              <a:gd name="connsiteX35" fmla="*/ 648832 w 1206976"/>
              <a:gd name="connsiteY35" fmla="*/ 181069 h 1013988"/>
              <a:gd name="connsiteX36" fmla="*/ 588475 w 1206976"/>
              <a:gd name="connsiteY36" fmla="*/ 208230 h 1013988"/>
              <a:gd name="connsiteX37" fmla="*/ 531137 w 1206976"/>
              <a:gd name="connsiteY37" fmla="*/ 144855 h 1013988"/>
              <a:gd name="connsiteX38" fmla="*/ 407406 w 1206976"/>
              <a:gd name="connsiteY38" fmla="*/ 172016 h 1013988"/>
              <a:gd name="connsiteX39" fmla="*/ 392317 w 1206976"/>
              <a:gd name="connsiteY39" fmla="*/ 60356 h 1013988"/>
              <a:gd name="connsiteX40" fmla="*/ 265568 w 1206976"/>
              <a:gd name="connsiteY40" fmla="*/ 0 h 1013988"/>
              <a:gd name="connsiteX0" fmla="*/ 265568 w 1206976"/>
              <a:gd name="connsiteY0" fmla="*/ 0 h 1013988"/>
              <a:gd name="connsiteX1" fmla="*/ 250479 w 1206976"/>
              <a:gd name="connsiteY1" fmla="*/ 72428 h 1013988"/>
              <a:gd name="connsiteX2" fmla="*/ 250479 w 1206976"/>
              <a:gd name="connsiteY2" fmla="*/ 114677 h 1013988"/>
              <a:gd name="connsiteX3" fmla="*/ 232372 w 1206976"/>
              <a:gd name="connsiteY3" fmla="*/ 132784 h 1013988"/>
              <a:gd name="connsiteX4" fmla="*/ 217283 w 1206976"/>
              <a:gd name="connsiteY4" fmla="*/ 193140 h 1013988"/>
              <a:gd name="connsiteX5" fmla="*/ 172016 w 1206976"/>
              <a:gd name="connsiteY5" fmla="*/ 238408 h 1013988"/>
              <a:gd name="connsiteX6" fmla="*/ 162962 w 1206976"/>
              <a:gd name="connsiteY6" fmla="*/ 325925 h 1013988"/>
              <a:gd name="connsiteX7" fmla="*/ 54321 w 1206976"/>
              <a:gd name="connsiteY7" fmla="*/ 476816 h 1013988"/>
              <a:gd name="connsiteX8" fmla="*/ 54321 w 1206976"/>
              <a:gd name="connsiteY8" fmla="*/ 519065 h 1013988"/>
              <a:gd name="connsiteX9" fmla="*/ 21125 w 1206976"/>
              <a:gd name="connsiteY9" fmla="*/ 558297 h 1013988"/>
              <a:gd name="connsiteX10" fmla="*/ 15089 w 1206976"/>
              <a:gd name="connsiteY10" fmla="*/ 615636 h 1013988"/>
              <a:gd name="connsiteX11" fmla="*/ 0 w 1206976"/>
              <a:gd name="connsiteY11" fmla="*/ 688063 h 1013988"/>
              <a:gd name="connsiteX12" fmla="*/ 6036 w 1206976"/>
              <a:gd name="connsiteY12" fmla="*/ 748420 h 1013988"/>
              <a:gd name="connsiteX13" fmla="*/ 591493 w 1206976"/>
              <a:gd name="connsiteY13" fmla="*/ 917418 h 1013988"/>
              <a:gd name="connsiteX14" fmla="*/ 1029077 w 1206976"/>
              <a:gd name="connsiteY14" fmla="*/ 1013988 h 1013988"/>
              <a:gd name="connsiteX15" fmla="*/ 1071327 w 1206976"/>
              <a:gd name="connsiteY15" fmla="*/ 712206 h 1013988"/>
              <a:gd name="connsiteX16" fmla="*/ 1107541 w 1206976"/>
              <a:gd name="connsiteY16" fmla="*/ 642796 h 1013988"/>
              <a:gd name="connsiteX17" fmla="*/ 1092452 w 1206976"/>
              <a:gd name="connsiteY17" fmla="*/ 612618 h 1013988"/>
              <a:gd name="connsiteX18" fmla="*/ 1083398 w 1206976"/>
              <a:gd name="connsiteY18" fmla="*/ 615636 h 1013988"/>
              <a:gd name="connsiteX19" fmla="*/ 1083398 w 1206976"/>
              <a:gd name="connsiteY19" fmla="*/ 543208 h 1013988"/>
              <a:gd name="connsiteX20" fmla="*/ 1134701 w 1206976"/>
              <a:gd name="connsiteY20" fmla="*/ 519065 h 1013988"/>
              <a:gd name="connsiteX21" fmla="*/ 1149790 w 1206976"/>
              <a:gd name="connsiteY21" fmla="*/ 419477 h 1013988"/>
              <a:gd name="connsiteX22" fmla="*/ 1206976 w 1206976"/>
              <a:gd name="connsiteY22" fmla="*/ 392317 h 1013988"/>
              <a:gd name="connsiteX23" fmla="*/ 1204592 w 1206976"/>
              <a:gd name="connsiteY23" fmla="*/ 322907 h 1013988"/>
              <a:gd name="connsiteX24" fmla="*/ 1182986 w 1206976"/>
              <a:gd name="connsiteY24" fmla="*/ 292729 h 1013988"/>
              <a:gd name="connsiteX25" fmla="*/ 1164879 w 1206976"/>
              <a:gd name="connsiteY25" fmla="*/ 292729 h 1013988"/>
              <a:gd name="connsiteX26" fmla="*/ 1131683 w 1206976"/>
              <a:gd name="connsiteY26" fmla="*/ 271604 h 1013988"/>
              <a:gd name="connsiteX27" fmla="*/ 1089434 w 1206976"/>
              <a:gd name="connsiteY27" fmla="*/ 271604 h 1013988"/>
              <a:gd name="connsiteX28" fmla="*/ 1059256 w 1206976"/>
              <a:gd name="connsiteY28" fmla="*/ 268586 h 1013988"/>
              <a:gd name="connsiteX29" fmla="*/ 998899 w 1206976"/>
              <a:gd name="connsiteY29" fmla="*/ 235390 h 1013988"/>
              <a:gd name="connsiteX30" fmla="*/ 968721 w 1206976"/>
              <a:gd name="connsiteY30" fmla="*/ 247461 h 1013988"/>
              <a:gd name="connsiteX31" fmla="*/ 908364 w 1206976"/>
              <a:gd name="connsiteY31" fmla="*/ 220301 h 1013988"/>
              <a:gd name="connsiteX32" fmla="*/ 854044 w 1206976"/>
              <a:gd name="connsiteY32" fmla="*/ 235390 h 1013988"/>
              <a:gd name="connsiteX33" fmla="*/ 823384 w 1206976"/>
              <a:gd name="connsiteY33" fmla="*/ 219195 h 1013988"/>
              <a:gd name="connsiteX34" fmla="*/ 717607 w 1206976"/>
              <a:gd name="connsiteY34" fmla="*/ 214435 h 1013988"/>
              <a:gd name="connsiteX35" fmla="*/ 648832 w 1206976"/>
              <a:gd name="connsiteY35" fmla="*/ 181069 h 1013988"/>
              <a:gd name="connsiteX36" fmla="*/ 588475 w 1206976"/>
              <a:gd name="connsiteY36" fmla="*/ 208230 h 1013988"/>
              <a:gd name="connsiteX37" fmla="*/ 531137 w 1206976"/>
              <a:gd name="connsiteY37" fmla="*/ 144855 h 1013988"/>
              <a:gd name="connsiteX38" fmla="*/ 407406 w 1206976"/>
              <a:gd name="connsiteY38" fmla="*/ 172016 h 1013988"/>
              <a:gd name="connsiteX39" fmla="*/ 392317 w 1206976"/>
              <a:gd name="connsiteY39" fmla="*/ 60356 h 1013988"/>
              <a:gd name="connsiteX40" fmla="*/ 265568 w 1206976"/>
              <a:gd name="connsiteY40" fmla="*/ 0 h 1013988"/>
              <a:gd name="connsiteX0" fmla="*/ 275103 w 1206976"/>
              <a:gd name="connsiteY0" fmla="*/ 0 h 1033030"/>
              <a:gd name="connsiteX1" fmla="*/ 250479 w 1206976"/>
              <a:gd name="connsiteY1" fmla="*/ 91470 h 1033030"/>
              <a:gd name="connsiteX2" fmla="*/ 250479 w 1206976"/>
              <a:gd name="connsiteY2" fmla="*/ 133719 h 1033030"/>
              <a:gd name="connsiteX3" fmla="*/ 232372 w 1206976"/>
              <a:gd name="connsiteY3" fmla="*/ 151826 h 1033030"/>
              <a:gd name="connsiteX4" fmla="*/ 217283 w 1206976"/>
              <a:gd name="connsiteY4" fmla="*/ 212182 h 1033030"/>
              <a:gd name="connsiteX5" fmla="*/ 172016 w 1206976"/>
              <a:gd name="connsiteY5" fmla="*/ 257450 h 1033030"/>
              <a:gd name="connsiteX6" fmla="*/ 162962 w 1206976"/>
              <a:gd name="connsiteY6" fmla="*/ 344967 h 1033030"/>
              <a:gd name="connsiteX7" fmla="*/ 54321 w 1206976"/>
              <a:gd name="connsiteY7" fmla="*/ 495858 h 1033030"/>
              <a:gd name="connsiteX8" fmla="*/ 54321 w 1206976"/>
              <a:gd name="connsiteY8" fmla="*/ 538107 h 1033030"/>
              <a:gd name="connsiteX9" fmla="*/ 21125 w 1206976"/>
              <a:gd name="connsiteY9" fmla="*/ 577339 h 1033030"/>
              <a:gd name="connsiteX10" fmla="*/ 15089 w 1206976"/>
              <a:gd name="connsiteY10" fmla="*/ 634678 h 1033030"/>
              <a:gd name="connsiteX11" fmla="*/ 0 w 1206976"/>
              <a:gd name="connsiteY11" fmla="*/ 707105 h 1033030"/>
              <a:gd name="connsiteX12" fmla="*/ 6036 w 1206976"/>
              <a:gd name="connsiteY12" fmla="*/ 767462 h 1033030"/>
              <a:gd name="connsiteX13" fmla="*/ 591493 w 1206976"/>
              <a:gd name="connsiteY13" fmla="*/ 936460 h 1033030"/>
              <a:gd name="connsiteX14" fmla="*/ 1029077 w 1206976"/>
              <a:gd name="connsiteY14" fmla="*/ 1033030 h 1033030"/>
              <a:gd name="connsiteX15" fmla="*/ 1071327 w 1206976"/>
              <a:gd name="connsiteY15" fmla="*/ 731248 h 1033030"/>
              <a:gd name="connsiteX16" fmla="*/ 1107541 w 1206976"/>
              <a:gd name="connsiteY16" fmla="*/ 661838 h 1033030"/>
              <a:gd name="connsiteX17" fmla="*/ 1092452 w 1206976"/>
              <a:gd name="connsiteY17" fmla="*/ 631660 h 1033030"/>
              <a:gd name="connsiteX18" fmla="*/ 1083398 w 1206976"/>
              <a:gd name="connsiteY18" fmla="*/ 634678 h 1033030"/>
              <a:gd name="connsiteX19" fmla="*/ 1083398 w 1206976"/>
              <a:gd name="connsiteY19" fmla="*/ 562250 h 1033030"/>
              <a:gd name="connsiteX20" fmla="*/ 1134701 w 1206976"/>
              <a:gd name="connsiteY20" fmla="*/ 538107 h 1033030"/>
              <a:gd name="connsiteX21" fmla="*/ 1149790 w 1206976"/>
              <a:gd name="connsiteY21" fmla="*/ 438519 h 1033030"/>
              <a:gd name="connsiteX22" fmla="*/ 1206976 w 1206976"/>
              <a:gd name="connsiteY22" fmla="*/ 411359 h 1033030"/>
              <a:gd name="connsiteX23" fmla="*/ 1204592 w 1206976"/>
              <a:gd name="connsiteY23" fmla="*/ 341949 h 1033030"/>
              <a:gd name="connsiteX24" fmla="*/ 1182986 w 1206976"/>
              <a:gd name="connsiteY24" fmla="*/ 311771 h 1033030"/>
              <a:gd name="connsiteX25" fmla="*/ 1164879 w 1206976"/>
              <a:gd name="connsiteY25" fmla="*/ 311771 h 1033030"/>
              <a:gd name="connsiteX26" fmla="*/ 1131683 w 1206976"/>
              <a:gd name="connsiteY26" fmla="*/ 290646 h 1033030"/>
              <a:gd name="connsiteX27" fmla="*/ 1089434 w 1206976"/>
              <a:gd name="connsiteY27" fmla="*/ 290646 h 1033030"/>
              <a:gd name="connsiteX28" fmla="*/ 1059256 w 1206976"/>
              <a:gd name="connsiteY28" fmla="*/ 287628 h 1033030"/>
              <a:gd name="connsiteX29" fmla="*/ 998899 w 1206976"/>
              <a:gd name="connsiteY29" fmla="*/ 254432 h 1033030"/>
              <a:gd name="connsiteX30" fmla="*/ 968721 w 1206976"/>
              <a:gd name="connsiteY30" fmla="*/ 266503 h 1033030"/>
              <a:gd name="connsiteX31" fmla="*/ 908364 w 1206976"/>
              <a:gd name="connsiteY31" fmla="*/ 239343 h 1033030"/>
              <a:gd name="connsiteX32" fmla="*/ 854044 w 1206976"/>
              <a:gd name="connsiteY32" fmla="*/ 254432 h 1033030"/>
              <a:gd name="connsiteX33" fmla="*/ 823384 w 1206976"/>
              <a:gd name="connsiteY33" fmla="*/ 238237 h 1033030"/>
              <a:gd name="connsiteX34" fmla="*/ 717607 w 1206976"/>
              <a:gd name="connsiteY34" fmla="*/ 233477 h 1033030"/>
              <a:gd name="connsiteX35" fmla="*/ 648832 w 1206976"/>
              <a:gd name="connsiteY35" fmla="*/ 200111 h 1033030"/>
              <a:gd name="connsiteX36" fmla="*/ 588475 w 1206976"/>
              <a:gd name="connsiteY36" fmla="*/ 227272 h 1033030"/>
              <a:gd name="connsiteX37" fmla="*/ 531137 w 1206976"/>
              <a:gd name="connsiteY37" fmla="*/ 163897 h 1033030"/>
              <a:gd name="connsiteX38" fmla="*/ 407406 w 1206976"/>
              <a:gd name="connsiteY38" fmla="*/ 191058 h 1033030"/>
              <a:gd name="connsiteX39" fmla="*/ 392317 w 1206976"/>
              <a:gd name="connsiteY39" fmla="*/ 79398 h 1033030"/>
              <a:gd name="connsiteX40" fmla="*/ 275103 w 1206976"/>
              <a:gd name="connsiteY40" fmla="*/ 0 h 1033030"/>
              <a:gd name="connsiteX0" fmla="*/ 275103 w 1206976"/>
              <a:gd name="connsiteY0" fmla="*/ 0 h 1033030"/>
              <a:gd name="connsiteX1" fmla="*/ 250479 w 1206976"/>
              <a:gd name="connsiteY1" fmla="*/ 91470 h 1033030"/>
              <a:gd name="connsiteX2" fmla="*/ 250479 w 1206976"/>
              <a:gd name="connsiteY2" fmla="*/ 133719 h 1033030"/>
              <a:gd name="connsiteX3" fmla="*/ 232372 w 1206976"/>
              <a:gd name="connsiteY3" fmla="*/ 151826 h 1033030"/>
              <a:gd name="connsiteX4" fmla="*/ 217283 w 1206976"/>
              <a:gd name="connsiteY4" fmla="*/ 212182 h 1033030"/>
              <a:gd name="connsiteX5" fmla="*/ 172016 w 1206976"/>
              <a:gd name="connsiteY5" fmla="*/ 257450 h 1033030"/>
              <a:gd name="connsiteX6" fmla="*/ 162962 w 1206976"/>
              <a:gd name="connsiteY6" fmla="*/ 344967 h 1033030"/>
              <a:gd name="connsiteX7" fmla="*/ 54321 w 1206976"/>
              <a:gd name="connsiteY7" fmla="*/ 495858 h 1033030"/>
              <a:gd name="connsiteX8" fmla="*/ 54321 w 1206976"/>
              <a:gd name="connsiteY8" fmla="*/ 538107 h 1033030"/>
              <a:gd name="connsiteX9" fmla="*/ 21125 w 1206976"/>
              <a:gd name="connsiteY9" fmla="*/ 577339 h 1033030"/>
              <a:gd name="connsiteX10" fmla="*/ 15089 w 1206976"/>
              <a:gd name="connsiteY10" fmla="*/ 634678 h 1033030"/>
              <a:gd name="connsiteX11" fmla="*/ 0 w 1206976"/>
              <a:gd name="connsiteY11" fmla="*/ 707105 h 1033030"/>
              <a:gd name="connsiteX12" fmla="*/ 6036 w 1206976"/>
              <a:gd name="connsiteY12" fmla="*/ 767462 h 1033030"/>
              <a:gd name="connsiteX13" fmla="*/ 591493 w 1206976"/>
              <a:gd name="connsiteY13" fmla="*/ 936460 h 1033030"/>
              <a:gd name="connsiteX14" fmla="*/ 1029077 w 1206976"/>
              <a:gd name="connsiteY14" fmla="*/ 1033030 h 1033030"/>
              <a:gd name="connsiteX15" fmla="*/ 1071327 w 1206976"/>
              <a:gd name="connsiteY15" fmla="*/ 731248 h 1033030"/>
              <a:gd name="connsiteX16" fmla="*/ 1107541 w 1206976"/>
              <a:gd name="connsiteY16" fmla="*/ 661838 h 1033030"/>
              <a:gd name="connsiteX17" fmla="*/ 1092452 w 1206976"/>
              <a:gd name="connsiteY17" fmla="*/ 631660 h 1033030"/>
              <a:gd name="connsiteX18" fmla="*/ 1083398 w 1206976"/>
              <a:gd name="connsiteY18" fmla="*/ 634678 h 1033030"/>
              <a:gd name="connsiteX19" fmla="*/ 1083398 w 1206976"/>
              <a:gd name="connsiteY19" fmla="*/ 562250 h 1033030"/>
              <a:gd name="connsiteX20" fmla="*/ 1134701 w 1206976"/>
              <a:gd name="connsiteY20" fmla="*/ 538107 h 1033030"/>
              <a:gd name="connsiteX21" fmla="*/ 1149790 w 1206976"/>
              <a:gd name="connsiteY21" fmla="*/ 438519 h 1033030"/>
              <a:gd name="connsiteX22" fmla="*/ 1206976 w 1206976"/>
              <a:gd name="connsiteY22" fmla="*/ 411359 h 1033030"/>
              <a:gd name="connsiteX23" fmla="*/ 1204592 w 1206976"/>
              <a:gd name="connsiteY23" fmla="*/ 341949 h 1033030"/>
              <a:gd name="connsiteX24" fmla="*/ 1182986 w 1206976"/>
              <a:gd name="connsiteY24" fmla="*/ 311771 h 1033030"/>
              <a:gd name="connsiteX25" fmla="*/ 1164879 w 1206976"/>
              <a:gd name="connsiteY25" fmla="*/ 311771 h 1033030"/>
              <a:gd name="connsiteX26" fmla="*/ 1131683 w 1206976"/>
              <a:gd name="connsiteY26" fmla="*/ 290646 h 1033030"/>
              <a:gd name="connsiteX27" fmla="*/ 1089434 w 1206976"/>
              <a:gd name="connsiteY27" fmla="*/ 290646 h 1033030"/>
              <a:gd name="connsiteX28" fmla="*/ 1059256 w 1206976"/>
              <a:gd name="connsiteY28" fmla="*/ 287628 h 1033030"/>
              <a:gd name="connsiteX29" fmla="*/ 998899 w 1206976"/>
              <a:gd name="connsiteY29" fmla="*/ 254432 h 1033030"/>
              <a:gd name="connsiteX30" fmla="*/ 968721 w 1206976"/>
              <a:gd name="connsiteY30" fmla="*/ 266503 h 1033030"/>
              <a:gd name="connsiteX31" fmla="*/ 908364 w 1206976"/>
              <a:gd name="connsiteY31" fmla="*/ 239343 h 1033030"/>
              <a:gd name="connsiteX32" fmla="*/ 854044 w 1206976"/>
              <a:gd name="connsiteY32" fmla="*/ 254432 h 1033030"/>
              <a:gd name="connsiteX33" fmla="*/ 823384 w 1206976"/>
              <a:gd name="connsiteY33" fmla="*/ 238237 h 1033030"/>
              <a:gd name="connsiteX34" fmla="*/ 717607 w 1206976"/>
              <a:gd name="connsiteY34" fmla="*/ 233477 h 1033030"/>
              <a:gd name="connsiteX35" fmla="*/ 648832 w 1206976"/>
              <a:gd name="connsiteY35" fmla="*/ 200111 h 1033030"/>
              <a:gd name="connsiteX36" fmla="*/ 593242 w 1206976"/>
              <a:gd name="connsiteY36" fmla="*/ 215370 h 1033030"/>
              <a:gd name="connsiteX37" fmla="*/ 531137 w 1206976"/>
              <a:gd name="connsiteY37" fmla="*/ 163897 h 1033030"/>
              <a:gd name="connsiteX38" fmla="*/ 407406 w 1206976"/>
              <a:gd name="connsiteY38" fmla="*/ 191058 h 1033030"/>
              <a:gd name="connsiteX39" fmla="*/ 392317 w 1206976"/>
              <a:gd name="connsiteY39" fmla="*/ 79398 h 1033030"/>
              <a:gd name="connsiteX40" fmla="*/ 275103 w 1206976"/>
              <a:gd name="connsiteY40" fmla="*/ 0 h 1033030"/>
              <a:gd name="connsiteX0" fmla="*/ 275103 w 1206976"/>
              <a:gd name="connsiteY0" fmla="*/ 0 h 1033030"/>
              <a:gd name="connsiteX1" fmla="*/ 250479 w 1206976"/>
              <a:gd name="connsiteY1" fmla="*/ 91470 h 1033030"/>
              <a:gd name="connsiteX2" fmla="*/ 250479 w 1206976"/>
              <a:gd name="connsiteY2" fmla="*/ 133719 h 1033030"/>
              <a:gd name="connsiteX3" fmla="*/ 232372 w 1206976"/>
              <a:gd name="connsiteY3" fmla="*/ 151826 h 1033030"/>
              <a:gd name="connsiteX4" fmla="*/ 217283 w 1206976"/>
              <a:gd name="connsiteY4" fmla="*/ 212182 h 1033030"/>
              <a:gd name="connsiteX5" fmla="*/ 172016 w 1206976"/>
              <a:gd name="connsiteY5" fmla="*/ 257450 h 1033030"/>
              <a:gd name="connsiteX6" fmla="*/ 162962 w 1206976"/>
              <a:gd name="connsiteY6" fmla="*/ 344967 h 1033030"/>
              <a:gd name="connsiteX7" fmla="*/ 54321 w 1206976"/>
              <a:gd name="connsiteY7" fmla="*/ 495858 h 1033030"/>
              <a:gd name="connsiteX8" fmla="*/ 54321 w 1206976"/>
              <a:gd name="connsiteY8" fmla="*/ 538107 h 1033030"/>
              <a:gd name="connsiteX9" fmla="*/ 21125 w 1206976"/>
              <a:gd name="connsiteY9" fmla="*/ 577339 h 1033030"/>
              <a:gd name="connsiteX10" fmla="*/ 15089 w 1206976"/>
              <a:gd name="connsiteY10" fmla="*/ 634678 h 1033030"/>
              <a:gd name="connsiteX11" fmla="*/ 0 w 1206976"/>
              <a:gd name="connsiteY11" fmla="*/ 707105 h 1033030"/>
              <a:gd name="connsiteX12" fmla="*/ 6036 w 1206976"/>
              <a:gd name="connsiteY12" fmla="*/ 767462 h 1033030"/>
              <a:gd name="connsiteX13" fmla="*/ 591493 w 1206976"/>
              <a:gd name="connsiteY13" fmla="*/ 936460 h 1033030"/>
              <a:gd name="connsiteX14" fmla="*/ 1029077 w 1206976"/>
              <a:gd name="connsiteY14" fmla="*/ 1033030 h 1033030"/>
              <a:gd name="connsiteX15" fmla="*/ 1071327 w 1206976"/>
              <a:gd name="connsiteY15" fmla="*/ 731248 h 1033030"/>
              <a:gd name="connsiteX16" fmla="*/ 1107541 w 1206976"/>
              <a:gd name="connsiteY16" fmla="*/ 661838 h 1033030"/>
              <a:gd name="connsiteX17" fmla="*/ 1092452 w 1206976"/>
              <a:gd name="connsiteY17" fmla="*/ 631660 h 1033030"/>
              <a:gd name="connsiteX18" fmla="*/ 1083398 w 1206976"/>
              <a:gd name="connsiteY18" fmla="*/ 634678 h 1033030"/>
              <a:gd name="connsiteX19" fmla="*/ 1083398 w 1206976"/>
              <a:gd name="connsiteY19" fmla="*/ 562250 h 1033030"/>
              <a:gd name="connsiteX20" fmla="*/ 1134701 w 1206976"/>
              <a:gd name="connsiteY20" fmla="*/ 538107 h 1033030"/>
              <a:gd name="connsiteX21" fmla="*/ 1149790 w 1206976"/>
              <a:gd name="connsiteY21" fmla="*/ 438519 h 1033030"/>
              <a:gd name="connsiteX22" fmla="*/ 1206976 w 1206976"/>
              <a:gd name="connsiteY22" fmla="*/ 411359 h 1033030"/>
              <a:gd name="connsiteX23" fmla="*/ 1204592 w 1206976"/>
              <a:gd name="connsiteY23" fmla="*/ 341949 h 1033030"/>
              <a:gd name="connsiteX24" fmla="*/ 1182986 w 1206976"/>
              <a:gd name="connsiteY24" fmla="*/ 311771 h 1033030"/>
              <a:gd name="connsiteX25" fmla="*/ 1164879 w 1206976"/>
              <a:gd name="connsiteY25" fmla="*/ 311771 h 1033030"/>
              <a:gd name="connsiteX26" fmla="*/ 1131683 w 1206976"/>
              <a:gd name="connsiteY26" fmla="*/ 290646 h 1033030"/>
              <a:gd name="connsiteX27" fmla="*/ 1089434 w 1206976"/>
              <a:gd name="connsiteY27" fmla="*/ 290646 h 1033030"/>
              <a:gd name="connsiteX28" fmla="*/ 1061640 w 1206976"/>
              <a:gd name="connsiteY28" fmla="*/ 275727 h 1033030"/>
              <a:gd name="connsiteX29" fmla="*/ 998899 w 1206976"/>
              <a:gd name="connsiteY29" fmla="*/ 254432 h 1033030"/>
              <a:gd name="connsiteX30" fmla="*/ 968721 w 1206976"/>
              <a:gd name="connsiteY30" fmla="*/ 266503 h 1033030"/>
              <a:gd name="connsiteX31" fmla="*/ 908364 w 1206976"/>
              <a:gd name="connsiteY31" fmla="*/ 239343 h 1033030"/>
              <a:gd name="connsiteX32" fmla="*/ 854044 w 1206976"/>
              <a:gd name="connsiteY32" fmla="*/ 254432 h 1033030"/>
              <a:gd name="connsiteX33" fmla="*/ 823384 w 1206976"/>
              <a:gd name="connsiteY33" fmla="*/ 238237 h 1033030"/>
              <a:gd name="connsiteX34" fmla="*/ 717607 w 1206976"/>
              <a:gd name="connsiteY34" fmla="*/ 233477 h 1033030"/>
              <a:gd name="connsiteX35" fmla="*/ 648832 w 1206976"/>
              <a:gd name="connsiteY35" fmla="*/ 200111 h 1033030"/>
              <a:gd name="connsiteX36" fmla="*/ 593242 w 1206976"/>
              <a:gd name="connsiteY36" fmla="*/ 215370 h 1033030"/>
              <a:gd name="connsiteX37" fmla="*/ 531137 w 1206976"/>
              <a:gd name="connsiteY37" fmla="*/ 163897 h 1033030"/>
              <a:gd name="connsiteX38" fmla="*/ 407406 w 1206976"/>
              <a:gd name="connsiteY38" fmla="*/ 191058 h 1033030"/>
              <a:gd name="connsiteX39" fmla="*/ 392317 w 1206976"/>
              <a:gd name="connsiteY39" fmla="*/ 79398 h 1033030"/>
              <a:gd name="connsiteX40" fmla="*/ 275103 w 1206976"/>
              <a:gd name="connsiteY40" fmla="*/ 0 h 1033030"/>
              <a:gd name="connsiteX0" fmla="*/ 275103 w 1206976"/>
              <a:gd name="connsiteY0" fmla="*/ 0 h 1033030"/>
              <a:gd name="connsiteX1" fmla="*/ 250479 w 1206976"/>
              <a:gd name="connsiteY1" fmla="*/ 91470 h 1033030"/>
              <a:gd name="connsiteX2" fmla="*/ 250479 w 1206976"/>
              <a:gd name="connsiteY2" fmla="*/ 133719 h 1033030"/>
              <a:gd name="connsiteX3" fmla="*/ 232372 w 1206976"/>
              <a:gd name="connsiteY3" fmla="*/ 151826 h 1033030"/>
              <a:gd name="connsiteX4" fmla="*/ 217283 w 1206976"/>
              <a:gd name="connsiteY4" fmla="*/ 212182 h 1033030"/>
              <a:gd name="connsiteX5" fmla="*/ 172016 w 1206976"/>
              <a:gd name="connsiteY5" fmla="*/ 257450 h 1033030"/>
              <a:gd name="connsiteX6" fmla="*/ 162962 w 1206976"/>
              <a:gd name="connsiteY6" fmla="*/ 344967 h 1033030"/>
              <a:gd name="connsiteX7" fmla="*/ 54321 w 1206976"/>
              <a:gd name="connsiteY7" fmla="*/ 495858 h 1033030"/>
              <a:gd name="connsiteX8" fmla="*/ 54321 w 1206976"/>
              <a:gd name="connsiteY8" fmla="*/ 538107 h 1033030"/>
              <a:gd name="connsiteX9" fmla="*/ 21125 w 1206976"/>
              <a:gd name="connsiteY9" fmla="*/ 577339 h 1033030"/>
              <a:gd name="connsiteX10" fmla="*/ 15089 w 1206976"/>
              <a:gd name="connsiteY10" fmla="*/ 634678 h 1033030"/>
              <a:gd name="connsiteX11" fmla="*/ 0 w 1206976"/>
              <a:gd name="connsiteY11" fmla="*/ 707105 h 1033030"/>
              <a:gd name="connsiteX12" fmla="*/ 6036 w 1206976"/>
              <a:gd name="connsiteY12" fmla="*/ 767462 h 1033030"/>
              <a:gd name="connsiteX13" fmla="*/ 591493 w 1206976"/>
              <a:gd name="connsiteY13" fmla="*/ 936460 h 1033030"/>
              <a:gd name="connsiteX14" fmla="*/ 1029077 w 1206976"/>
              <a:gd name="connsiteY14" fmla="*/ 1033030 h 1033030"/>
              <a:gd name="connsiteX15" fmla="*/ 1071327 w 1206976"/>
              <a:gd name="connsiteY15" fmla="*/ 731248 h 1033030"/>
              <a:gd name="connsiteX16" fmla="*/ 1107541 w 1206976"/>
              <a:gd name="connsiteY16" fmla="*/ 661838 h 1033030"/>
              <a:gd name="connsiteX17" fmla="*/ 1092452 w 1206976"/>
              <a:gd name="connsiteY17" fmla="*/ 631660 h 1033030"/>
              <a:gd name="connsiteX18" fmla="*/ 1083398 w 1206976"/>
              <a:gd name="connsiteY18" fmla="*/ 634678 h 1033030"/>
              <a:gd name="connsiteX19" fmla="*/ 1083398 w 1206976"/>
              <a:gd name="connsiteY19" fmla="*/ 562250 h 1033030"/>
              <a:gd name="connsiteX20" fmla="*/ 1134701 w 1206976"/>
              <a:gd name="connsiteY20" fmla="*/ 538107 h 1033030"/>
              <a:gd name="connsiteX21" fmla="*/ 1149790 w 1206976"/>
              <a:gd name="connsiteY21" fmla="*/ 438519 h 1033030"/>
              <a:gd name="connsiteX22" fmla="*/ 1206976 w 1206976"/>
              <a:gd name="connsiteY22" fmla="*/ 411359 h 1033030"/>
              <a:gd name="connsiteX23" fmla="*/ 1204592 w 1206976"/>
              <a:gd name="connsiteY23" fmla="*/ 341949 h 1033030"/>
              <a:gd name="connsiteX24" fmla="*/ 1182986 w 1206976"/>
              <a:gd name="connsiteY24" fmla="*/ 311771 h 1033030"/>
              <a:gd name="connsiteX25" fmla="*/ 1164879 w 1206976"/>
              <a:gd name="connsiteY25" fmla="*/ 311771 h 1033030"/>
              <a:gd name="connsiteX26" fmla="*/ 1131683 w 1206976"/>
              <a:gd name="connsiteY26" fmla="*/ 290646 h 1033030"/>
              <a:gd name="connsiteX27" fmla="*/ 1089434 w 1206976"/>
              <a:gd name="connsiteY27" fmla="*/ 290646 h 1033030"/>
              <a:gd name="connsiteX28" fmla="*/ 1061640 w 1206976"/>
              <a:gd name="connsiteY28" fmla="*/ 275727 h 1033030"/>
              <a:gd name="connsiteX29" fmla="*/ 1006050 w 1206976"/>
              <a:gd name="connsiteY29" fmla="*/ 247291 h 1033030"/>
              <a:gd name="connsiteX30" fmla="*/ 968721 w 1206976"/>
              <a:gd name="connsiteY30" fmla="*/ 266503 h 1033030"/>
              <a:gd name="connsiteX31" fmla="*/ 908364 w 1206976"/>
              <a:gd name="connsiteY31" fmla="*/ 239343 h 1033030"/>
              <a:gd name="connsiteX32" fmla="*/ 854044 w 1206976"/>
              <a:gd name="connsiteY32" fmla="*/ 254432 h 1033030"/>
              <a:gd name="connsiteX33" fmla="*/ 823384 w 1206976"/>
              <a:gd name="connsiteY33" fmla="*/ 238237 h 1033030"/>
              <a:gd name="connsiteX34" fmla="*/ 717607 w 1206976"/>
              <a:gd name="connsiteY34" fmla="*/ 233477 h 1033030"/>
              <a:gd name="connsiteX35" fmla="*/ 648832 w 1206976"/>
              <a:gd name="connsiteY35" fmla="*/ 200111 h 1033030"/>
              <a:gd name="connsiteX36" fmla="*/ 593242 w 1206976"/>
              <a:gd name="connsiteY36" fmla="*/ 215370 h 1033030"/>
              <a:gd name="connsiteX37" fmla="*/ 531137 w 1206976"/>
              <a:gd name="connsiteY37" fmla="*/ 163897 h 1033030"/>
              <a:gd name="connsiteX38" fmla="*/ 407406 w 1206976"/>
              <a:gd name="connsiteY38" fmla="*/ 191058 h 1033030"/>
              <a:gd name="connsiteX39" fmla="*/ 392317 w 1206976"/>
              <a:gd name="connsiteY39" fmla="*/ 79398 h 1033030"/>
              <a:gd name="connsiteX40" fmla="*/ 275103 w 1206976"/>
              <a:gd name="connsiteY40" fmla="*/ 0 h 1033030"/>
              <a:gd name="connsiteX0" fmla="*/ 275103 w 1206976"/>
              <a:gd name="connsiteY0" fmla="*/ 0 h 1033030"/>
              <a:gd name="connsiteX1" fmla="*/ 250479 w 1206976"/>
              <a:gd name="connsiteY1" fmla="*/ 91470 h 1033030"/>
              <a:gd name="connsiteX2" fmla="*/ 250479 w 1206976"/>
              <a:gd name="connsiteY2" fmla="*/ 133719 h 1033030"/>
              <a:gd name="connsiteX3" fmla="*/ 232372 w 1206976"/>
              <a:gd name="connsiteY3" fmla="*/ 151826 h 1033030"/>
              <a:gd name="connsiteX4" fmla="*/ 217283 w 1206976"/>
              <a:gd name="connsiteY4" fmla="*/ 212182 h 1033030"/>
              <a:gd name="connsiteX5" fmla="*/ 172016 w 1206976"/>
              <a:gd name="connsiteY5" fmla="*/ 257450 h 1033030"/>
              <a:gd name="connsiteX6" fmla="*/ 162962 w 1206976"/>
              <a:gd name="connsiteY6" fmla="*/ 344967 h 1033030"/>
              <a:gd name="connsiteX7" fmla="*/ 54321 w 1206976"/>
              <a:gd name="connsiteY7" fmla="*/ 495858 h 1033030"/>
              <a:gd name="connsiteX8" fmla="*/ 54321 w 1206976"/>
              <a:gd name="connsiteY8" fmla="*/ 538107 h 1033030"/>
              <a:gd name="connsiteX9" fmla="*/ 21125 w 1206976"/>
              <a:gd name="connsiteY9" fmla="*/ 577339 h 1033030"/>
              <a:gd name="connsiteX10" fmla="*/ 15089 w 1206976"/>
              <a:gd name="connsiteY10" fmla="*/ 634678 h 1033030"/>
              <a:gd name="connsiteX11" fmla="*/ 0 w 1206976"/>
              <a:gd name="connsiteY11" fmla="*/ 707105 h 1033030"/>
              <a:gd name="connsiteX12" fmla="*/ 6036 w 1206976"/>
              <a:gd name="connsiteY12" fmla="*/ 767462 h 1033030"/>
              <a:gd name="connsiteX13" fmla="*/ 591493 w 1206976"/>
              <a:gd name="connsiteY13" fmla="*/ 936460 h 1033030"/>
              <a:gd name="connsiteX14" fmla="*/ 1029077 w 1206976"/>
              <a:gd name="connsiteY14" fmla="*/ 1033030 h 1033030"/>
              <a:gd name="connsiteX15" fmla="*/ 1071327 w 1206976"/>
              <a:gd name="connsiteY15" fmla="*/ 731248 h 1033030"/>
              <a:gd name="connsiteX16" fmla="*/ 1107541 w 1206976"/>
              <a:gd name="connsiteY16" fmla="*/ 661838 h 1033030"/>
              <a:gd name="connsiteX17" fmla="*/ 1092452 w 1206976"/>
              <a:gd name="connsiteY17" fmla="*/ 631660 h 1033030"/>
              <a:gd name="connsiteX18" fmla="*/ 1083398 w 1206976"/>
              <a:gd name="connsiteY18" fmla="*/ 634678 h 1033030"/>
              <a:gd name="connsiteX19" fmla="*/ 1083398 w 1206976"/>
              <a:gd name="connsiteY19" fmla="*/ 562250 h 1033030"/>
              <a:gd name="connsiteX20" fmla="*/ 1134701 w 1206976"/>
              <a:gd name="connsiteY20" fmla="*/ 538107 h 1033030"/>
              <a:gd name="connsiteX21" fmla="*/ 1149790 w 1206976"/>
              <a:gd name="connsiteY21" fmla="*/ 438519 h 1033030"/>
              <a:gd name="connsiteX22" fmla="*/ 1206976 w 1206976"/>
              <a:gd name="connsiteY22" fmla="*/ 411359 h 1033030"/>
              <a:gd name="connsiteX23" fmla="*/ 1204592 w 1206976"/>
              <a:gd name="connsiteY23" fmla="*/ 341949 h 1033030"/>
              <a:gd name="connsiteX24" fmla="*/ 1182986 w 1206976"/>
              <a:gd name="connsiteY24" fmla="*/ 311771 h 1033030"/>
              <a:gd name="connsiteX25" fmla="*/ 1164879 w 1206976"/>
              <a:gd name="connsiteY25" fmla="*/ 311771 h 1033030"/>
              <a:gd name="connsiteX26" fmla="*/ 1131683 w 1206976"/>
              <a:gd name="connsiteY26" fmla="*/ 290646 h 1033030"/>
              <a:gd name="connsiteX27" fmla="*/ 1089434 w 1206976"/>
              <a:gd name="connsiteY27" fmla="*/ 290646 h 1033030"/>
              <a:gd name="connsiteX28" fmla="*/ 1061640 w 1206976"/>
              <a:gd name="connsiteY28" fmla="*/ 275727 h 1033030"/>
              <a:gd name="connsiteX29" fmla="*/ 1006050 w 1206976"/>
              <a:gd name="connsiteY29" fmla="*/ 247291 h 1033030"/>
              <a:gd name="connsiteX30" fmla="*/ 968721 w 1206976"/>
              <a:gd name="connsiteY30" fmla="*/ 266503 h 1033030"/>
              <a:gd name="connsiteX31" fmla="*/ 966217 w 1206976"/>
              <a:gd name="connsiteY31" fmla="*/ 261034 h 1033030"/>
              <a:gd name="connsiteX32" fmla="*/ 908364 w 1206976"/>
              <a:gd name="connsiteY32" fmla="*/ 239343 h 1033030"/>
              <a:gd name="connsiteX33" fmla="*/ 854044 w 1206976"/>
              <a:gd name="connsiteY33" fmla="*/ 254432 h 1033030"/>
              <a:gd name="connsiteX34" fmla="*/ 823384 w 1206976"/>
              <a:gd name="connsiteY34" fmla="*/ 238237 h 1033030"/>
              <a:gd name="connsiteX35" fmla="*/ 717607 w 1206976"/>
              <a:gd name="connsiteY35" fmla="*/ 233477 h 1033030"/>
              <a:gd name="connsiteX36" fmla="*/ 648832 w 1206976"/>
              <a:gd name="connsiteY36" fmla="*/ 200111 h 1033030"/>
              <a:gd name="connsiteX37" fmla="*/ 593242 w 1206976"/>
              <a:gd name="connsiteY37" fmla="*/ 215370 h 1033030"/>
              <a:gd name="connsiteX38" fmla="*/ 531137 w 1206976"/>
              <a:gd name="connsiteY38" fmla="*/ 163897 h 1033030"/>
              <a:gd name="connsiteX39" fmla="*/ 407406 w 1206976"/>
              <a:gd name="connsiteY39" fmla="*/ 191058 h 1033030"/>
              <a:gd name="connsiteX40" fmla="*/ 392317 w 1206976"/>
              <a:gd name="connsiteY40" fmla="*/ 79398 h 1033030"/>
              <a:gd name="connsiteX41" fmla="*/ 275103 w 1206976"/>
              <a:gd name="connsiteY41" fmla="*/ 0 h 1033030"/>
              <a:gd name="connsiteX0" fmla="*/ 275103 w 1206976"/>
              <a:gd name="connsiteY0" fmla="*/ 0 h 1033030"/>
              <a:gd name="connsiteX1" fmla="*/ 250479 w 1206976"/>
              <a:gd name="connsiteY1" fmla="*/ 91470 h 1033030"/>
              <a:gd name="connsiteX2" fmla="*/ 250479 w 1206976"/>
              <a:gd name="connsiteY2" fmla="*/ 133719 h 1033030"/>
              <a:gd name="connsiteX3" fmla="*/ 232372 w 1206976"/>
              <a:gd name="connsiteY3" fmla="*/ 151826 h 1033030"/>
              <a:gd name="connsiteX4" fmla="*/ 217283 w 1206976"/>
              <a:gd name="connsiteY4" fmla="*/ 212182 h 1033030"/>
              <a:gd name="connsiteX5" fmla="*/ 172016 w 1206976"/>
              <a:gd name="connsiteY5" fmla="*/ 257450 h 1033030"/>
              <a:gd name="connsiteX6" fmla="*/ 162962 w 1206976"/>
              <a:gd name="connsiteY6" fmla="*/ 344967 h 1033030"/>
              <a:gd name="connsiteX7" fmla="*/ 54321 w 1206976"/>
              <a:gd name="connsiteY7" fmla="*/ 495858 h 1033030"/>
              <a:gd name="connsiteX8" fmla="*/ 54321 w 1206976"/>
              <a:gd name="connsiteY8" fmla="*/ 538107 h 1033030"/>
              <a:gd name="connsiteX9" fmla="*/ 21125 w 1206976"/>
              <a:gd name="connsiteY9" fmla="*/ 577339 h 1033030"/>
              <a:gd name="connsiteX10" fmla="*/ 15089 w 1206976"/>
              <a:gd name="connsiteY10" fmla="*/ 634678 h 1033030"/>
              <a:gd name="connsiteX11" fmla="*/ 0 w 1206976"/>
              <a:gd name="connsiteY11" fmla="*/ 707105 h 1033030"/>
              <a:gd name="connsiteX12" fmla="*/ 6036 w 1206976"/>
              <a:gd name="connsiteY12" fmla="*/ 767462 h 1033030"/>
              <a:gd name="connsiteX13" fmla="*/ 591493 w 1206976"/>
              <a:gd name="connsiteY13" fmla="*/ 936460 h 1033030"/>
              <a:gd name="connsiteX14" fmla="*/ 1029077 w 1206976"/>
              <a:gd name="connsiteY14" fmla="*/ 1033030 h 1033030"/>
              <a:gd name="connsiteX15" fmla="*/ 1071327 w 1206976"/>
              <a:gd name="connsiteY15" fmla="*/ 731248 h 1033030"/>
              <a:gd name="connsiteX16" fmla="*/ 1107541 w 1206976"/>
              <a:gd name="connsiteY16" fmla="*/ 661838 h 1033030"/>
              <a:gd name="connsiteX17" fmla="*/ 1092452 w 1206976"/>
              <a:gd name="connsiteY17" fmla="*/ 631660 h 1033030"/>
              <a:gd name="connsiteX18" fmla="*/ 1083398 w 1206976"/>
              <a:gd name="connsiteY18" fmla="*/ 634678 h 1033030"/>
              <a:gd name="connsiteX19" fmla="*/ 1083398 w 1206976"/>
              <a:gd name="connsiteY19" fmla="*/ 562250 h 1033030"/>
              <a:gd name="connsiteX20" fmla="*/ 1134701 w 1206976"/>
              <a:gd name="connsiteY20" fmla="*/ 538107 h 1033030"/>
              <a:gd name="connsiteX21" fmla="*/ 1149790 w 1206976"/>
              <a:gd name="connsiteY21" fmla="*/ 438519 h 1033030"/>
              <a:gd name="connsiteX22" fmla="*/ 1206976 w 1206976"/>
              <a:gd name="connsiteY22" fmla="*/ 411359 h 1033030"/>
              <a:gd name="connsiteX23" fmla="*/ 1204592 w 1206976"/>
              <a:gd name="connsiteY23" fmla="*/ 341949 h 1033030"/>
              <a:gd name="connsiteX24" fmla="*/ 1182986 w 1206976"/>
              <a:gd name="connsiteY24" fmla="*/ 311771 h 1033030"/>
              <a:gd name="connsiteX25" fmla="*/ 1167263 w 1206976"/>
              <a:gd name="connsiteY25" fmla="*/ 287969 h 1033030"/>
              <a:gd name="connsiteX26" fmla="*/ 1131683 w 1206976"/>
              <a:gd name="connsiteY26" fmla="*/ 290646 h 1033030"/>
              <a:gd name="connsiteX27" fmla="*/ 1089434 w 1206976"/>
              <a:gd name="connsiteY27" fmla="*/ 290646 h 1033030"/>
              <a:gd name="connsiteX28" fmla="*/ 1061640 w 1206976"/>
              <a:gd name="connsiteY28" fmla="*/ 275727 h 1033030"/>
              <a:gd name="connsiteX29" fmla="*/ 1006050 w 1206976"/>
              <a:gd name="connsiteY29" fmla="*/ 247291 h 1033030"/>
              <a:gd name="connsiteX30" fmla="*/ 968721 w 1206976"/>
              <a:gd name="connsiteY30" fmla="*/ 266503 h 1033030"/>
              <a:gd name="connsiteX31" fmla="*/ 966217 w 1206976"/>
              <a:gd name="connsiteY31" fmla="*/ 261034 h 1033030"/>
              <a:gd name="connsiteX32" fmla="*/ 908364 w 1206976"/>
              <a:gd name="connsiteY32" fmla="*/ 239343 h 1033030"/>
              <a:gd name="connsiteX33" fmla="*/ 854044 w 1206976"/>
              <a:gd name="connsiteY33" fmla="*/ 254432 h 1033030"/>
              <a:gd name="connsiteX34" fmla="*/ 823384 w 1206976"/>
              <a:gd name="connsiteY34" fmla="*/ 238237 h 1033030"/>
              <a:gd name="connsiteX35" fmla="*/ 717607 w 1206976"/>
              <a:gd name="connsiteY35" fmla="*/ 233477 h 1033030"/>
              <a:gd name="connsiteX36" fmla="*/ 648832 w 1206976"/>
              <a:gd name="connsiteY36" fmla="*/ 200111 h 1033030"/>
              <a:gd name="connsiteX37" fmla="*/ 593242 w 1206976"/>
              <a:gd name="connsiteY37" fmla="*/ 215370 h 1033030"/>
              <a:gd name="connsiteX38" fmla="*/ 531137 w 1206976"/>
              <a:gd name="connsiteY38" fmla="*/ 163897 h 1033030"/>
              <a:gd name="connsiteX39" fmla="*/ 407406 w 1206976"/>
              <a:gd name="connsiteY39" fmla="*/ 191058 h 1033030"/>
              <a:gd name="connsiteX40" fmla="*/ 392317 w 1206976"/>
              <a:gd name="connsiteY40" fmla="*/ 79398 h 1033030"/>
              <a:gd name="connsiteX41" fmla="*/ 275103 w 1206976"/>
              <a:gd name="connsiteY41" fmla="*/ 0 h 1033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06976" h="1033030">
                <a:moveTo>
                  <a:pt x="275103" y="0"/>
                </a:moveTo>
                <a:lnTo>
                  <a:pt x="250479" y="91470"/>
                </a:lnTo>
                <a:lnTo>
                  <a:pt x="250479" y="133719"/>
                </a:lnTo>
                <a:lnTo>
                  <a:pt x="232372" y="151826"/>
                </a:lnTo>
                <a:lnTo>
                  <a:pt x="217283" y="212182"/>
                </a:lnTo>
                <a:lnTo>
                  <a:pt x="172016" y="257450"/>
                </a:lnTo>
                <a:lnTo>
                  <a:pt x="162962" y="344967"/>
                </a:lnTo>
                <a:lnTo>
                  <a:pt x="54321" y="495858"/>
                </a:lnTo>
                <a:lnTo>
                  <a:pt x="54321" y="538107"/>
                </a:lnTo>
                <a:lnTo>
                  <a:pt x="21125" y="577339"/>
                </a:lnTo>
                <a:lnTo>
                  <a:pt x="15089" y="634678"/>
                </a:lnTo>
                <a:lnTo>
                  <a:pt x="0" y="707105"/>
                </a:lnTo>
                <a:lnTo>
                  <a:pt x="6036" y="767462"/>
                </a:lnTo>
                <a:lnTo>
                  <a:pt x="591493" y="936460"/>
                </a:lnTo>
                <a:lnTo>
                  <a:pt x="1029077" y="1033030"/>
                </a:lnTo>
                <a:lnTo>
                  <a:pt x="1071327" y="731248"/>
                </a:lnTo>
                <a:lnTo>
                  <a:pt x="1107541" y="661838"/>
                </a:lnTo>
                <a:lnTo>
                  <a:pt x="1092452" y="631660"/>
                </a:lnTo>
                <a:lnTo>
                  <a:pt x="1083398" y="634678"/>
                </a:lnTo>
                <a:lnTo>
                  <a:pt x="1083398" y="562250"/>
                </a:lnTo>
                <a:lnTo>
                  <a:pt x="1134701" y="538107"/>
                </a:lnTo>
                <a:lnTo>
                  <a:pt x="1149790" y="438519"/>
                </a:lnTo>
                <a:lnTo>
                  <a:pt x="1206976" y="411359"/>
                </a:lnTo>
                <a:cubicBezTo>
                  <a:pt x="1206181" y="388222"/>
                  <a:pt x="1205387" y="365086"/>
                  <a:pt x="1204592" y="341949"/>
                </a:cubicBezTo>
                <a:lnTo>
                  <a:pt x="1182986" y="311771"/>
                </a:lnTo>
                <a:lnTo>
                  <a:pt x="1167263" y="287969"/>
                </a:lnTo>
                <a:lnTo>
                  <a:pt x="1131683" y="290646"/>
                </a:lnTo>
                <a:lnTo>
                  <a:pt x="1089434" y="290646"/>
                </a:lnTo>
                <a:lnTo>
                  <a:pt x="1061640" y="275727"/>
                </a:lnTo>
                <a:lnTo>
                  <a:pt x="1006050" y="247291"/>
                </a:lnTo>
                <a:lnTo>
                  <a:pt x="968721" y="266503"/>
                </a:lnTo>
                <a:cubicBezTo>
                  <a:pt x="965502" y="266267"/>
                  <a:pt x="969436" y="261270"/>
                  <a:pt x="966217" y="261034"/>
                </a:cubicBezTo>
                <a:lnTo>
                  <a:pt x="908364" y="239343"/>
                </a:lnTo>
                <a:lnTo>
                  <a:pt x="854044" y="254432"/>
                </a:lnTo>
                <a:lnTo>
                  <a:pt x="823384" y="238237"/>
                </a:lnTo>
                <a:lnTo>
                  <a:pt x="717607" y="233477"/>
                </a:lnTo>
                <a:lnTo>
                  <a:pt x="648832" y="200111"/>
                </a:lnTo>
                <a:lnTo>
                  <a:pt x="593242" y="215370"/>
                </a:lnTo>
                <a:lnTo>
                  <a:pt x="531137" y="163897"/>
                </a:lnTo>
                <a:lnTo>
                  <a:pt x="407406" y="191058"/>
                </a:lnTo>
                <a:lnTo>
                  <a:pt x="392317" y="79398"/>
                </a:lnTo>
                <a:lnTo>
                  <a:pt x="275103"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9" name="Freeform 8"/>
          <p:cNvSpPr/>
          <p:nvPr/>
        </p:nvSpPr>
        <p:spPr>
          <a:xfrm>
            <a:off x="1391975" y="3013096"/>
            <a:ext cx="946542" cy="1451675"/>
          </a:xfrm>
          <a:custGeom>
            <a:avLst/>
            <a:gdLst>
              <a:gd name="connsiteX0" fmla="*/ 111660 w 965703"/>
              <a:gd name="connsiteY0" fmla="*/ 0 h 1481751"/>
              <a:gd name="connsiteX1" fmla="*/ 0 w 965703"/>
              <a:gd name="connsiteY1" fmla="*/ 552262 h 1481751"/>
              <a:gd name="connsiteX2" fmla="*/ 669957 w 965703"/>
              <a:gd name="connsiteY2" fmla="*/ 1481751 h 1481751"/>
              <a:gd name="connsiteX3" fmla="*/ 700135 w 965703"/>
              <a:gd name="connsiteY3" fmla="*/ 1421394 h 1481751"/>
              <a:gd name="connsiteX4" fmla="*/ 688064 w 965703"/>
              <a:gd name="connsiteY4" fmla="*/ 1351984 h 1481751"/>
              <a:gd name="connsiteX5" fmla="*/ 712206 w 965703"/>
              <a:gd name="connsiteY5" fmla="*/ 1276539 h 1481751"/>
              <a:gd name="connsiteX6" fmla="*/ 808777 w 965703"/>
              <a:gd name="connsiteY6" fmla="*/ 1309735 h 1481751"/>
              <a:gd name="connsiteX7" fmla="*/ 965703 w 965703"/>
              <a:gd name="connsiteY7" fmla="*/ 178052 h 1481751"/>
              <a:gd name="connsiteX8" fmla="*/ 111660 w 965703"/>
              <a:gd name="connsiteY8" fmla="*/ 0 h 1481751"/>
              <a:gd name="connsiteX0" fmla="*/ 125955 w 979998"/>
              <a:gd name="connsiteY0" fmla="*/ 0 h 1481751"/>
              <a:gd name="connsiteX1" fmla="*/ 0 w 979998"/>
              <a:gd name="connsiteY1" fmla="*/ 552491 h 1481751"/>
              <a:gd name="connsiteX2" fmla="*/ 684252 w 979998"/>
              <a:gd name="connsiteY2" fmla="*/ 1481751 h 1481751"/>
              <a:gd name="connsiteX3" fmla="*/ 714430 w 979998"/>
              <a:gd name="connsiteY3" fmla="*/ 1421394 h 1481751"/>
              <a:gd name="connsiteX4" fmla="*/ 702359 w 979998"/>
              <a:gd name="connsiteY4" fmla="*/ 1351984 h 1481751"/>
              <a:gd name="connsiteX5" fmla="*/ 726501 w 979998"/>
              <a:gd name="connsiteY5" fmla="*/ 1276539 h 1481751"/>
              <a:gd name="connsiteX6" fmla="*/ 823072 w 979998"/>
              <a:gd name="connsiteY6" fmla="*/ 1309735 h 1481751"/>
              <a:gd name="connsiteX7" fmla="*/ 979998 w 979998"/>
              <a:gd name="connsiteY7" fmla="*/ 178052 h 1481751"/>
              <a:gd name="connsiteX8" fmla="*/ 125955 w 979998"/>
              <a:gd name="connsiteY8" fmla="*/ 0 h 1481751"/>
              <a:gd name="connsiteX0" fmla="*/ 125955 w 979998"/>
              <a:gd name="connsiteY0" fmla="*/ 0 h 1496659"/>
              <a:gd name="connsiteX1" fmla="*/ 0 w 979998"/>
              <a:gd name="connsiteY1" fmla="*/ 552491 h 1496659"/>
              <a:gd name="connsiteX2" fmla="*/ 684608 w 979998"/>
              <a:gd name="connsiteY2" fmla="*/ 1496659 h 1496659"/>
              <a:gd name="connsiteX3" fmla="*/ 714430 w 979998"/>
              <a:gd name="connsiteY3" fmla="*/ 1421394 h 1496659"/>
              <a:gd name="connsiteX4" fmla="*/ 702359 w 979998"/>
              <a:gd name="connsiteY4" fmla="*/ 1351984 h 1496659"/>
              <a:gd name="connsiteX5" fmla="*/ 726501 w 979998"/>
              <a:gd name="connsiteY5" fmla="*/ 1276539 h 1496659"/>
              <a:gd name="connsiteX6" fmla="*/ 823072 w 979998"/>
              <a:gd name="connsiteY6" fmla="*/ 1309735 h 1496659"/>
              <a:gd name="connsiteX7" fmla="*/ 979998 w 979998"/>
              <a:gd name="connsiteY7" fmla="*/ 178052 h 1496659"/>
              <a:gd name="connsiteX8" fmla="*/ 125955 w 979998"/>
              <a:gd name="connsiteY8" fmla="*/ 0 h 1496659"/>
              <a:gd name="connsiteX0" fmla="*/ 125955 w 979998"/>
              <a:gd name="connsiteY0" fmla="*/ 0 h 1496659"/>
              <a:gd name="connsiteX1" fmla="*/ 0 w 979998"/>
              <a:gd name="connsiteY1" fmla="*/ 552491 h 1496659"/>
              <a:gd name="connsiteX2" fmla="*/ 684608 w 979998"/>
              <a:gd name="connsiteY2" fmla="*/ 1496659 h 1496659"/>
              <a:gd name="connsiteX3" fmla="*/ 714430 w 979998"/>
              <a:gd name="connsiteY3" fmla="*/ 1421394 h 1496659"/>
              <a:gd name="connsiteX4" fmla="*/ 712255 w 979998"/>
              <a:gd name="connsiteY4" fmla="*/ 1359690 h 1496659"/>
              <a:gd name="connsiteX5" fmla="*/ 726501 w 979998"/>
              <a:gd name="connsiteY5" fmla="*/ 1276539 h 1496659"/>
              <a:gd name="connsiteX6" fmla="*/ 823072 w 979998"/>
              <a:gd name="connsiteY6" fmla="*/ 1309735 h 1496659"/>
              <a:gd name="connsiteX7" fmla="*/ 979998 w 979998"/>
              <a:gd name="connsiteY7" fmla="*/ 178052 h 1496659"/>
              <a:gd name="connsiteX8" fmla="*/ 125955 w 979998"/>
              <a:gd name="connsiteY8" fmla="*/ 0 h 1496659"/>
              <a:gd name="connsiteX0" fmla="*/ 125955 w 979998"/>
              <a:gd name="connsiteY0" fmla="*/ 0 h 1496659"/>
              <a:gd name="connsiteX1" fmla="*/ 0 w 979998"/>
              <a:gd name="connsiteY1" fmla="*/ 552491 h 1496659"/>
              <a:gd name="connsiteX2" fmla="*/ 684608 w 979998"/>
              <a:gd name="connsiteY2" fmla="*/ 1496659 h 1496659"/>
              <a:gd name="connsiteX3" fmla="*/ 714430 w 979998"/>
              <a:gd name="connsiteY3" fmla="*/ 1421394 h 1496659"/>
              <a:gd name="connsiteX4" fmla="*/ 712255 w 979998"/>
              <a:gd name="connsiteY4" fmla="*/ 1359690 h 1496659"/>
              <a:gd name="connsiteX5" fmla="*/ 743557 w 979998"/>
              <a:gd name="connsiteY5" fmla="*/ 1288979 h 1496659"/>
              <a:gd name="connsiteX6" fmla="*/ 823072 w 979998"/>
              <a:gd name="connsiteY6" fmla="*/ 1309735 h 1496659"/>
              <a:gd name="connsiteX7" fmla="*/ 979998 w 979998"/>
              <a:gd name="connsiteY7" fmla="*/ 178052 h 1496659"/>
              <a:gd name="connsiteX8" fmla="*/ 125955 w 979998"/>
              <a:gd name="connsiteY8" fmla="*/ 0 h 1496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79998" h="1496659">
                <a:moveTo>
                  <a:pt x="125955" y="0"/>
                </a:moveTo>
                <a:lnTo>
                  <a:pt x="0" y="552491"/>
                </a:lnTo>
                <a:lnTo>
                  <a:pt x="684608" y="1496659"/>
                </a:lnTo>
                <a:lnTo>
                  <a:pt x="714430" y="1421394"/>
                </a:lnTo>
                <a:lnTo>
                  <a:pt x="712255" y="1359690"/>
                </a:lnTo>
                <a:lnTo>
                  <a:pt x="743557" y="1288979"/>
                </a:lnTo>
                <a:lnTo>
                  <a:pt x="823072" y="1309735"/>
                </a:lnTo>
                <a:lnTo>
                  <a:pt x="979998" y="178052"/>
                </a:lnTo>
                <a:lnTo>
                  <a:pt x="125955"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0" name="Freeform 9"/>
          <p:cNvSpPr/>
          <p:nvPr/>
        </p:nvSpPr>
        <p:spPr>
          <a:xfrm>
            <a:off x="2209653" y="3185512"/>
            <a:ext cx="808471" cy="1043729"/>
          </a:xfrm>
          <a:custGeom>
            <a:avLst/>
            <a:gdLst>
              <a:gd name="connsiteX0" fmla="*/ 132784 w 835937"/>
              <a:gd name="connsiteY0" fmla="*/ 0 h 1059255"/>
              <a:gd name="connsiteX1" fmla="*/ 0 w 835937"/>
              <a:gd name="connsiteY1" fmla="*/ 956649 h 1059255"/>
              <a:gd name="connsiteX2" fmla="*/ 775580 w 835937"/>
              <a:gd name="connsiteY2" fmla="*/ 1059255 h 1059255"/>
              <a:gd name="connsiteX3" fmla="*/ 835937 w 835937"/>
              <a:gd name="connsiteY3" fmla="*/ 286693 h 1059255"/>
              <a:gd name="connsiteX4" fmla="*/ 540190 w 835937"/>
              <a:gd name="connsiteY4" fmla="*/ 250479 h 1059255"/>
              <a:gd name="connsiteX5" fmla="*/ 555279 w 835937"/>
              <a:gd name="connsiteY5" fmla="*/ 69410 h 1059255"/>
              <a:gd name="connsiteX6" fmla="*/ 132784 w 835937"/>
              <a:gd name="connsiteY6" fmla="*/ 0 h 1059255"/>
              <a:gd name="connsiteX0" fmla="*/ 132784 w 835937"/>
              <a:gd name="connsiteY0" fmla="*/ 0 h 1075929"/>
              <a:gd name="connsiteX1" fmla="*/ 0 w 835937"/>
              <a:gd name="connsiteY1" fmla="*/ 956649 h 1075929"/>
              <a:gd name="connsiteX2" fmla="*/ 763683 w 835937"/>
              <a:gd name="connsiteY2" fmla="*/ 1075929 h 1075929"/>
              <a:gd name="connsiteX3" fmla="*/ 835937 w 835937"/>
              <a:gd name="connsiteY3" fmla="*/ 286693 h 1075929"/>
              <a:gd name="connsiteX4" fmla="*/ 540190 w 835937"/>
              <a:gd name="connsiteY4" fmla="*/ 250479 h 1075929"/>
              <a:gd name="connsiteX5" fmla="*/ 555279 w 835937"/>
              <a:gd name="connsiteY5" fmla="*/ 69410 h 1075929"/>
              <a:gd name="connsiteX6" fmla="*/ 132784 w 835937"/>
              <a:gd name="connsiteY6" fmla="*/ 0 h 107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5937" h="1075929">
                <a:moveTo>
                  <a:pt x="132784" y="0"/>
                </a:moveTo>
                <a:lnTo>
                  <a:pt x="0" y="956649"/>
                </a:lnTo>
                <a:lnTo>
                  <a:pt x="763683" y="1075929"/>
                </a:lnTo>
                <a:lnTo>
                  <a:pt x="835937" y="286693"/>
                </a:lnTo>
                <a:lnTo>
                  <a:pt x="540190" y="250479"/>
                </a:lnTo>
                <a:lnTo>
                  <a:pt x="555279" y="69410"/>
                </a:lnTo>
                <a:lnTo>
                  <a:pt x="132784"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1" name="Freeform 10"/>
          <p:cNvSpPr/>
          <p:nvPr/>
        </p:nvSpPr>
        <p:spPr>
          <a:xfrm>
            <a:off x="1994881" y="4115324"/>
            <a:ext cx="958813" cy="1165342"/>
          </a:xfrm>
          <a:custGeom>
            <a:avLst/>
            <a:gdLst>
              <a:gd name="connsiteX0" fmla="*/ 223319 w 995882"/>
              <a:gd name="connsiteY0" fmla="*/ 0 h 1201093"/>
              <a:gd name="connsiteX1" fmla="*/ 199177 w 995882"/>
              <a:gd name="connsiteY1" fmla="*/ 172016 h 1201093"/>
              <a:gd name="connsiteX2" fmla="*/ 108642 w 995882"/>
              <a:gd name="connsiteY2" fmla="*/ 147873 h 1201093"/>
              <a:gd name="connsiteX3" fmla="*/ 75446 w 995882"/>
              <a:gd name="connsiteY3" fmla="*/ 223319 h 1201093"/>
              <a:gd name="connsiteX4" fmla="*/ 84499 w 995882"/>
              <a:gd name="connsiteY4" fmla="*/ 286693 h 1201093"/>
              <a:gd name="connsiteX5" fmla="*/ 66392 w 995882"/>
              <a:gd name="connsiteY5" fmla="*/ 344032 h 1201093"/>
              <a:gd name="connsiteX6" fmla="*/ 78464 w 995882"/>
              <a:gd name="connsiteY6" fmla="*/ 383264 h 1201093"/>
              <a:gd name="connsiteX7" fmla="*/ 132785 w 995882"/>
              <a:gd name="connsiteY7" fmla="*/ 510012 h 1201093"/>
              <a:gd name="connsiteX8" fmla="*/ 132785 w 995882"/>
              <a:gd name="connsiteY8" fmla="*/ 528119 h 1201093"/>
              <a:gd name="connsiteX9" fmla="*/ 78464 w 995882"/>
              <a:gd name="connsiteY9" fmla="*/ 552262 h 1201093"/>
              <a:gd name="connsiteX10" fmla="*/ 66392 w 995882"/>
              <a:gd name="connsiteY10" fmla="*/ 633743 h 1201093"/>
              <a:gd name="connsiteX11" fmla="*/ 15089 w 995882"/>
              <a:gd name="connsiteY11" fmla="*/ 715224 h 1201093"/>
              <a:gd name="connsiteX12" fmla="*/ 45268 w 995882"/>
              <a:gd name="connsiteY12" fmla="*/ 802741 h 1201093"/>
              <a:gd name="connsiteX13" fmla="*/ 21125 w 995882"/>
              <a:gd name="connsiteY13" fmla="*/ 787652 h 1201093"/>
              <a:gd name="connsiteX14" fmla="*/ 0 w 995882"/>
              <a:gd name="connsiteY14" fmla="*/ 811794 h 1201093"/>
              <a:gd name="connsiteX15" fmla="*/ 0 w 995882"/>
              <a:gd name="connsiteY15" fmla="*/ 838955 h 1201093"/>
              <a:gd name="connsiteX16" fmla="*/ 576404 w 995882"/>
              <a:gd name="connsiteY16" fmla="*/ 1170915 h 1201093"/>
              <a:gd name="connsiteX17" fmla="*/ 908365 w 995882"/>
              <a:gd name="connsiteY17" fmla="*/ 1201093 h 1201093"/>
              <a:gd name="connsiteX18" fmla="*/ 995882 w 995882"/>
              <a:gd name="connsiteY18" fmla="*/ 102606 h 1201093"/>
              <a:gd name="connsiteX19" fmla="*/ 223319 w 995882"/>
              <a:gd name="connsiteY19" fmla="*/ 0 h 1201093"/>
              <a:gd name="connsiteX0" fmla="*/ 223319 w 995882"/>
              <a:gd name="connsiteY0" fmla="*/ 0 h 1201093"/>
              <a:gd name="connsiteX1" fmla="*/ 199177 w 995882"/>
              <a:gd name="connsiteY1" fmla="*/ 172016 h 1201093"/>
              <a:gd name="connsiteX2" fmla="*/ 108642 w 995882"/>
              <a:gd name="connsiteY2" fmla="*/ 147873 h 1201093"/>
              <a:gd name="connsiteX3" fmla="*/ 75446 w 995882"/>
              <a:gd name="connsiteY3" fmla="*/ 223319 h 1201093"/>
              <a:gd name="connsiteX4" fmla="*/ 84499 w 995882"/>
              <a:gd name="connsiteY4" fmla="*/ 286693 h 1201093"/>
              <a:gd name="connsiteX5" fmla="*/ 66392 w 995882"/>
              <a:gd name="connsiteY5" fmla="*/ 344032 h 1201093"/>
              <a:gd name="connsiteX6" fmla="*/ 78464 w 995882"/>
              <a:gd name="connsiteY6" fmla="*/ 383264 h 1201093"/>
              <a:gd name="connsiteX7" fmla="*/ 132785 w 995882"/>
              <a:gd name="connsiteY7" fmla="*/ 510012 h 1201093"/>
              <a:gd name="connsiteX8" fmla="*/ 132785 w 995882"/>
              <a:gd name="connsiteY8" fmla="*/ 528119 h 1201093"/>
              <a:gd name="connsiteX9" fmla="*/ 78464 w 995882"/>
              <a:gd name="connsiteY9" fmla="*/ 552262 h 1201093"/>
              <a:gd name="connsiteX10" fmla="*/ 66392 w 995882"/>
              <a:gd name="connsiteY10" fmla="*/ 633743 h 1201093"/>
              <a:gd name="connsiteX11" fmla="*/ 15089 w 995882"/>
              <a:gd name="connsiteY11" fmla="*/ 715224 h 1201093"/>
              <a:gd name="connsiteX12" fmla="*/ 21125 w 995882"/>
              <a:gd name="connsiteY12" fmla="*/ 787652 h 1201093"/>
              <a:gd name="connsiteX13" fmla="*/ 0 w 995882"/>
              <a:gd name="connsiteY13" fmla="*/ 811794 h 1201093"/>
              <a:gd name="connsiteX14" fmla="*/ 0 w 995882"/>
              <a:gd name="connsiteY14" fmla="*/ 838955 h 1201093"/>
              <a:gd name="connsiteX15" fmla="*/ 576404 w 995882"/>
              <a:gd name="connsiteY15" fmla="*/ 1170915 h 1201093"/>
              <a:gd name="connsiteX16" fmla="*/ 908365 w 995882"/>
              <a:gd name="connsiteY16" fmla="*/ 1201093 h 1201093"/>
              <a:gd name="connsiteX17" fmla="*/ 995882 w 995882"/>
              <a:gd name="connsiteY17" fmla="*/ 102606 h 1201093"/>
              <a:gd name="connsiteX18" fmla="*/ 223319 w 995882"/>
              <a:gd name="connsiteY18" fmla="*/ 0 h 1201093"/>
              <a:gd name="connsiteX0" fmla="*/ 223319 w 991638"/>
              <a:gd name="connsiteY0" fmla="*/ 0 h 1201093"/>
              <a:gd name="connsiteX1" fmla="*/ 199177 w 991638"/>
              <a:gd name="connsiteY1" fmla="*/ 172016 h 1201093"/>
              <a:gd name="connsiteX2" fmla="*/ 108642 w 991638"/>
              <a:gd name="connsiteY2" fmla="*/ 147873 h 1201093"/>
              <a:gd name="connsiteX3" fmla="*/ 75446 w 991638"/>
              <a:gd name="connsiteY3" fmla="*/ 223319 h 1201093"/>
              <a:gd name="connsiteX4" fmla="*/ 84499 w 991638"/>
              <a:gd name="connsiteY4" fmla="*/ 286693 h 1201093"/>
              <a:gd name="connsiteX5" fmla="*/ 66392 w 991638"/>
              <a:gd name="connsiteY5" fmla="*/ 344032 h 1201093"/>
              <a:gd name="connsiteX6" fmla="*/ 78464 w 991638"/>
              <a:gd name="connsiteY6" fmla="*/ 383264 h 1201093"/>
              <a:gd name="connsiteX7" fmla="*/ 132785 w 991638"/>
              <a:gd name="connsiteY7" fmla="*/ 510012 h 1201093"/>
              <a:gd name="connsiteX8" fmla="*/ 132785 w 991638"/>
              <a:gd name="connsiteY8" fmla="*/ 528119 h 1201093"/>
              <a:gd name="connsiteX9" fmla="*/ 78464 w 991638"/>
              <a:gd name="connsiteY9" fmla="*/ 552262 h 1201093"/>
              <a:gd name="connsiteX10" fmla="*/ 66392 w 991638"/>
              <a:gd name="connsiteY10" fmla="*/ 633743 h 1201093"/>
              <a:gd name="connsiteX11" fmla="*/ 15089 w 991638"/>
              <a:gd name="connsiteY11" fmla="*/ 715224 h 1201093"/>
              <a:gd name="connsiteX12" fmla="*/ 21125 w 991638"/>
              <a:gd name="connsiteY12" fmla="*/ 787652 h 1201093"/>
              <a:gd name="connsiteX13" fmla="*/ 0 w 991638"/>
              <a:gd name="connsiteY13" fmla="*/ 811794 h 1201093"/>
              <a:gd name="connsiteX14" fmla="*/ 0 w 991638"/>
              <a:gd name="connsiteY14" fmla="*/ 838955 h 1201093"/>
              <a:gd name="connsiteX15" fmla="*/ 576404 w 991638"/>
              <a:gd name="connsiteY15" fmla="*/ 1170915 h 1201093"/>
              <a:gd name="connsiteX16" fmla="*/ 908365 w 991638"/>
              <a:gd name="connsiteY16" fmla="*/ 1201093 h 1201093"/>
              <a:gd name="connsiteX17" fmla="*/ 991638 w 991638"/>
              <a:gd name="connsiteY17" fmla="*/ 112071 h 1201093"/>
              <a:gd name="connsiteX18" fmla="*/ 223319 w 991638"/>
              <a:gd name="connsiteY18" fmla="*/ 0 h 1201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1638" h="1201093">
                <a:moveTo>
                  <a:pt x="223319" y="0"/>
                </a:moveTo>
                <a:lnTo>
                  <a:pt x="199177" y="172016"/>
                </a:lnTo>
                <a:lnTo>
                  <a:pt x="108642" y="147873"/>
                </a:lnTo>
                <a:lnTo>
                  <a:pt x="75446" y="223319"/>
                </a:lnTo>
                <a:lnTo>
                  <a:pt x="84499" y="286693"/>
                </a:lnTo>
                <a:lnTo>
                  <a:pt x="66392" y="344032"/>
                </a:lnTo>
                <a:lnTo>
                  <a:pt x="78464" y="383264"/>
                </a:lnTo>
                <a:lnTo>
                  <a:pt x="132785" y="510012"/>
                </a:lnTo>
                <a:lnTo>
                  <a:pt x="132785" y="528119"/>
                </a:lnTo>
                <a:lnTo>
                  <a:pt x="78464" y="552262"/>
                </a:lnTo>
                <a:lnTo>
                  <a:pt x="66392" y="633743"/>
                </a:lnTo>
                <a:lnTo>
                  <a:pt x="15089" y="715224"/>
                </a:lnTo>
                <a:lnTo>
                  <a:pt x="21125" y="787652"/>
                </a:lnTo>
                <a:lnTo>
                  <a:pt x="0" y="811794"/>
                </a:lnTo>
                <a:lnTo>
                  <a:pt x="0" y="838955"/>
                </a:lnTo>
                <a:lnTo>
                  <a:pt x="576404" y="1170915"/>
                </a:lnTo>
                <a:lnTo>
                  <a:pt x="908365" y="1201093"/>
                </a:lnTo>
                <a:lnTo>
                  <a:pt x="991638" y="112071"/>
                </a:lnTo>
                <a:lnTo>
                  <a:pt x="223319"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2" name="Freeform 11"/>
          <p:cNvSpPr/>
          <p:nvPr/>
        </p:nvSpPr>
        <p:spPr>
          <a:xfrm>
            <a:off x="2866249" y="4221542"/>
            <a:ext cx="991030" cy="1072978"/>
          </a:xfrm>
          <a:custGeom>
            <a:avLst/>
            <a:gdLst>
              <a:gd name="connsiteX0" fmla="*/ 87517 w 1026059"/>
              <a:gd name="connsiteY0" fmla="*/ 0 h 1107540"/>
              <a:gd name="connsiteX1" fmla="*/ 0 w 1026059"/>
              <a:gd name="connsiteY1" fmla="*/ 1098487 h 1107540"/>
              <a:gd name="connsiteX2" fmla="*/ 165980 w 1026059"/>
              <a:gd name="connsiteY2" fmla="*/ 1107540 h 1107540"/>
              <a:gd name="connsiteX3" fmla="*/ 172016 w 1026059"/>
              <a:gd name="connsiteY3" fmla="*/ 1029077 h 1107540"/>
              <a:gd name="connsiteX4" fmla="*/ 416459 w 1026059"/>
              <a:gd name="connsiteY4" fmla="*/ 1032095 h 1107540"/>
              <a:gd name="connsiteX5" fmla="*/ 425513 w 1026059"/>
              <a:gd name="connsiteY5" fmla="*/ 992863 h 1107540"/>
              <a:gd name="connsiteX6" fmla="*/ 1010970 w 1026059"/>
              <a:gd name="connsiteY6" fmla="*/ 1020023 h 1107540"/>
              <a:gd name="connsiteX7" fmla="*/ 1026059 w 1026059"/>
              <a:gd name="connsiteY7" fmla="*/ 54321 h 1107540"/>
              <a:gd name="connsiteX8" fmla="*/ 377228 w 1026059"/>
              <a:gd name="connsiteY8" fmla="*/ 24142 h 1107540"/>
              <a:gd name="connsiteX9" fmla="*/ 238408 w 1026059"/>
              <a:gd name="connsiteY9" fmla="*/ 9053 h 1107540"/>
              <a:gd name="connsiteX10" fmla="*/ 87517 w 1026059"/>
              <a:gd name="connsiteY10" fmla="*/ 0 h 110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26059" h="1107540">
                <a:moveTo>
                  <a:pt x="87517" y="0"/>
                </a:moveTo>
                <a:lnTo>
                  <a:pt x="0" y="1098487"/>
                </a:lnTo>
                <a:lnTo>
                  <a:pt x="165980" y="1107540"/>
                </a:lnTo>
                <a:lnTo>
                  <a:pt x="172016" y="1029077"/>
                </a:lnTo>
                <a:lnTo>
                  <a:pt x="416459" y="1032095"/>
                </a:lnTo>
                <a:lnTo>
                  <a:pt x="425513" y="992863"/>
                </a:lnTo>
                <a:lnTo>
                  <a:pt x="1010970" y="1020023"/>
                </a:lnTo>
                <a:lnTo>
                  <a:pt x="1026059" y="54321"/>
                </a:lnTo>
                <a:lnTo>
                  <a:pt x="377228" y="24142"/>
                </a:lnTo>
                <a:lnTo>
                  <a:pt x="238408" y="9053"/>
                </a:lnTo>
                <a:lnTo>
                  <a:pt x="87517"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3" name="Freeform 12"/>
          <p:cNvSpPr/>
          <p:nvPr/>
        </p:nvSpPr>
        <p:spPr>
          <a:xfrm>
            <a:off x="2949090" y="3462609"/>
            <a:ext cx="1060065" cy="814353"/>
          </a:xfrm>
          <a:custGeom>
            <a:avLst/>
            <a:gdLst>
              <a:gd name="connsiteX0" fmla="*/ 54321 w 1083398"/>
              <a:gd name="connsiteY0" fmla="*/ 0 h 838954"/>
              <a:gd name="connsiteX1" fmla="*/ 0 w 1083398"/>
              <a:gd name="connsiteY1" fmla="*/ 778598 h 838954"/>
              <a:gd name="connsiteX2" fmla="*/ 359121 w 1083398"/>
              <a:gd name="connsiteY2" fmla="*/ 811794 h 838954"/>
              <a:gd name="connsiteX3" fmla="*/ 926471 w 1083398"/>
              <a:gd name="connsiteY3" fmla="*/ 838954 h 838954"/>
              <a:gd name="connsiteX4" fmla="*/ 1071327 w 1083398"/>
              <a:gd name="connsiteY4" fmla="*/ 832919 h 838954"/>
              <a:gd name="connsiteX5" fmla="*/ 1083398 w 1083398"/>
              <a:gd name="connsiteY5" fmla="*/ 69410 h 838954"/>
              <a:gd name="connsiteX6" fmla="*/ 639778 w 1083398"/>
              <a:gd name="connsiteY6" fmla="*/ 45267 h 838954"/>
              <a:gd name="connsiteX7" fmla="*/ 416460 w 1083398"/>
              <a:gd name="connsiteY7" fmla="*/ 27160 h 838954"/>
              <a:gd name="connsiteX8" fmla="*/ 54321 w 1083398"/>
              <a:gd name="connsiteY8" fmla="*/ 0 h 838954"/>
              <a:gd name="connsiteX0" fmla="*/ 68618 w 1097695"/>
              <a:gd name="connsiteY0" fmla="*/ 0 h 838954"/>
              <a:gd name="connsiteX1" fmla="*/ 0 w 1097695"/>
              <a:gd name="connsiteY1" fmla="*/ 780977 h 838954"/>
              <a:gd name="connsiteX2" fmla="*/ 373418 w 1097695"/>
              <a:gd name="connsiteY2" fmla="*/ 811794 h 838954"/>
              <a:gd name="connsiteX3" fmla="*/ 940768 w 1097695"/>
              <a:gd name="connsiteY3" fmla="*/ 838954 h 838954"/>
              <a:gd name="connsiteX4" fmla="*/ 1085624 w 1097695"/>
              <a:gd name="connsiteY4" fmla="*/ 832919 h 838954"/>
              <a:gd name="connsiteX5" fmla="*/ 1097695 w 1097695"/>
              <a:gd name="connsiteY5" fmla="*/ 69410 h 838954"/>
              <a:gd name="connsiteX6" fmla="*/ 654075 w 1097695"/>
              <a:gd name="connsiteY6" fmla="*/ 45267 h 838954"/>
              <a:gd name="connsiteX7" fmla="*/ 430757 w 1097695"/>
              <a:gd name="connsiteY7" fmla="*/ 27160 h 838954"/>
              <a:gd name="connsiteX8" fmla="*/ 68618 w 1097695"/>
              <a:gd name="connsiteY8" fmla="*/ 0 h 8389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97695" h="838954">
                <a:moveTo>
                  <a:pt x="68618" y="0"/>
                </a:moveTo>
                <a:lnTo>
                  <a:pt x="0" y="780977"/>
                </a:lnTo>
                <a:lnTo>
                  <a:pt x="373418" y="811794"/>
                </a:lnTo>
                <a:lnTo>
                  <a:pt x="940768" y="838954"/>
                </a:lnTo>
                <a:lnTo>
                  <a:pt x="1085624" y="832919"/>
                </a:lnTo>
                <a:lnTo>
                  <a:pt x="1097695" y="69410"/>
                </a:lnTo>
                <a:lnTo>
                  <a:pt x="654075" y="45267"/>
                </a:lnTo>
                <a:lnTo>
                  <a:pt x="430757" y="27160"/>
                </a:lnTo>
                <a:lnTo>
                  <a:pt x="68618"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4" name="Freeform 13"/>
          <p:cNvSpPr/>
          <p:nvPr/>
        </p:nvSpPr>
        <p:spPr>
          <a:xfrm>
            <a:off x="2737384" y="2695976"/>
            <a:ext cx="1012508" cy="825130"/>
          </a:xfrm>
          <a:custGeom>
            <a:avLst/>
            <a:gdLst>
              <a:gd name="connsiteX0" fmla="*/ 81481 w 1047184"/>
              <a:gd name="connsiteY0" fmla="*/ 0 h 851025"/>
              <a:gd name="connsiteX1" fmla="*/ 12071 w 1047184"/>
              <a:gd name="connsiteY1" fmla="*/ 576404 h 851025"/>
              <a:gd name="connsiteX2" fmla="*/ 0 w 1047184"/>
              <a:gd name="connsiteY2" fmla="*/ 751437 h 851025"/>
              <a:gd name="connsiteX3" fmla="*/ 289711 w 1047184"/>
              <a:gd name="connsiteY3" fmla="*/ 796705 h 851025"/>
              <a:gd name="connsiteX4" fmla="*/ 1017006 w 1047184"/>
              <a:gd name="connsiteY4" fmla="*/ 851025 h 851025"/>
              <a:gd name="connsiteX5" fmla="*/ 1047184 w 1047184"/>
              <a:gd name="connsiteY5" fmla="*/ 78463 h 851025"/>
              <a:gd name="connsiteX6" fmla="*/ 81481 w 1047184"/>
              <a:gd name="connsiteY6" fmla="*/ 0 h 851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184" h="851025">
                <a:moveTo>
                  <a:pt x="81481" y="0"/>
                </a:moveTo>
                <a:lnTo>
                  <a:pt x="12071" y="576404"/>
                </a:lnTo>
                <a:lnTo>
                  <a:pt x="0" y="751437"/>
                </a:lnTo>
                <a:lnTo>
                  <a:pt x="289711" y="796705"/>
                </a:lnTo>
                <a:lnTo>
                  <a:pt x="1017006" y="851025"/>
                </a:lnTo>
                <a:lnTo>
                  <a:pt x="1047184" y="78463"/>
                </a:lnTo>
                <a:lnTo>
                  <a:pt x="81481"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5" name="Freeform 14"/>
          <p:cNvSpPr/>
          <p:nvPr/>
        </p:nvSpPr>
        <p:spPr>
          <a:xfrm>
            <a:off x="2266415" y="1870845"/>
            <a:ext cx="1521829" cy="923653"/>
          </a:xfrm>
          <a:custGeom>
            <a:avLst/>
            <a:gdLst>
              <a:gd name="connsiteX0" fmla="*/ 27160 w 1572285"/>
              <a:gd name="connsiteY0" fmla="*/ 0 h 944578"/>
              <a:gd name="connsiteX1" fmla="*/ 24142 w 1572285"/>
              <a:gd name="connsiteY1" fmla="*/ 63374 h 944578"/>
              <a:gd name="connsiteX2" fmla="*/ 0 w 1572285"/>
              <a:gd name="connsiteY2" fmla="*/ 129766 h 944578"/>
              <a:gd name="connsiteX3" fmla="*/ 12071 w 1572285"/>
              <a:gd name="connsiteY3" fmla="*/ 301782 h 944578"/>
              <a:gd name="connsiteX4" fmla="*/ 69410 w 1572285"/>
              <a:gd name="connsiteY4" fmla="*/ 374210 h 944578"/>
              <a:gd name="connsiteX5" fmla="*/ 93552 w 1572285"/>
              <a:gd name="connsiteY5" fmla="*/ 422495 h 944578"/>
              <a:gd name="connsiteX6" fmla="*/ 132784 w 1572285"/>
              <a:gd name="connsiteY6" fmla="*/ 455691 h 944578"/>
              <a:gd name="connsiteX7" fmla="*/ 162962 w 1572285"/>
              <a:gd name="connsiteY7" fmla="*/ 485869 h 944578"/>
              <a:gd name="connsiteX8" fmla="*/ 135802 w 1572285"/>
              <a:gd name="connsiteY8" fmla="*/ 567350 h 944578"/>
              <a:gd name="connsiteX9" fmla="*/ 144855 w 1572285"/>
              <a:gd name="connsiteY9" fmla="*/ 618653 h 944578"/>
              <a:gd name="connsiteX10" fmla="*/ 111659 w 1572285"/>
              <a:gd name="connsiteY10" fmla="*/ 645814 h 944578"/>
              <a:gd name="connsiteX11" fmla="*/ 117695 w 1572285"/>
              <a:gd name="connsiteY11" fmla="*/ 679010 h 944578"/>
              <a:gd name="connsiteX12" fmla="*/ 190122 w 1572285"/>
              <a:gd name="connsiteY12" fmla="*/ 675992 h 944578"/>
              <a:gd name="connsiteX13" fmla="*/ 208229 w 1572285"/>
              <a:gd name="connsiteY13" fmla="*/ 739366 h 944578"/>
              <a:gd name="connsiteX14" fmla="*/ 214265 w 1572285"/>
              <a:gd name="connsiteY14" fmla="*/ 775580 h 944578"/>
              <a:gd name="connsiteX15" fmla="*/ 235390 w 1572285"/>
              <a:gd name="connsiteY15" fmla="*/ 817830 h 944578"/>
              <a:gd name="connsiteX16" fmla="*/ 235390 w 1572285"/>
              <a:gd name="connsiteY16" fmla="*/ 848008 h 944578"/>
              <a:gd name="connsiteX17" fmla="*/ 307817 w 1572285"/>
              <a:gd name="connsiteY17" fmla="*/ 935525 h 944578"/>
              <a:gd name="connsiteX18" fmla="*/ 404388 w 1572285"/>
              <a:gd name="connsiteY18" fmla="*/ 917418 h 944578"/>
              <a:gd name="connsiteX19" fmla="*/ 422495 w 1572285"/>
              <a:gd name="connsiteY19" fmla="*/ 938542 h 944578"/>
              <a:gd name="connsiteX20" fmla="*/ 506994 w 1572285"/>
              <a:gd name="connsiteY20" fmla="*/ 899311 h 944578"/>
              <a:gd name="connsiteX21" fmla="*/ 546225 w 1572285"/>
              <a:gd name="connsiteY21" fmla="*/ 944578 h 944578"/>
              <a:gd name="connsiteX22" fmla="*/ 564332 w 1572285"/>
              <a:gd name="connsiteY22" fmla="*/ 844990 h 944578"/>
              <a:gd name="connsiteX23" fmla="*/ 1530035 w 1572285"/>
              <a:gd name="connsiteY23" fmla="*/ 935525 h 944578"/>
              <a:gd name="connsiteX24" fmla="*/ 1572285 w 1572285"/>
              <a:gd name="connsiteY24" fmla="*/ 190123 h 944578"/>
              <a:gd name="connsiteX25" fmla="*/ 1189021 w 1572285"/>
              <a:gd name="connsiteY25" fmla="*/ 156927 h 944578"/>
              <a:gd name="connsiteX26" fmla="*/ 1007952 w 1572285"/>
              <a:gd name="connsiteY26" fmla="*/ 141837 h 944578"/>
              <a:gd name="connsiteX27" fmla="*/ 908364 w 1572285"/>
              <a:gd name="connsiteY27" fmla="*/ 138820 h 944578"/>
              <a:gd name="connsiteX28" fmla="*/ 742384 w 1572285"/>
              <a:gd name="connsiteY28" fmla="*/ 111659 h 944578"/>
              <a:gd name="connsiteX29" fmla="*/ 597528 w 1572285"/>
              <a:gd name="connsiteY29" fmla="*/ 93552 h 944578"/>
              <a:gd name="connsiteX30" fmla="*/ 27160 w 1572285"/>
              <a:gd name="connsiteY30" fmla="*/ 0 h 944578"/>
              <a:gd name="connsiteX0" fmla="*/ 27160 w 1572285"/>
              <a:gd name="connsiteY0" fmla="*/ 0 h 944594"/>
              <a:gd name="connsiteX1" fmla="*/ 24142 w 1572285"/>
              <a:gd name="connsiteY1" fmla="*/ 63374 h 944594"/>
              <a:gd name="connsiteX2" fmla="*/ 0 w 1572285"/>
              <a:gd name="connsiteY2" fmla="*/ 129766 h 944594"/>
              <a:gd name="connsiteX3" fmla="*/ 12071 w 1572285"/>
              <a:gd name="connsiteY3" fmla="*/ 301782 h 944594"/>
              <a:gd name="connsiteX4" fmla="*/ 69410 w 1572285"/>
              <a:gd name="connsiteY4" fmla="*/ 374210 h 944594"/>
              <a:gd name="connsiteX5" fmla="*/ 93552 w 1572285"/>
              <a:gd name="connsiteY5" fmla="*/ 422495 h 944594"/>
              <a:gd name="connsiteX6" fmla="*/ 132784 w 1572285"/>
              <a:gd name="connsiteY6" fmla="*/ 455691 h 944594"/>
              <a:gd name="connsiteX7" fmla="*/ 162962 w 1572285"/>
              <a:gd name="connsiteY7" fmla="*/ 485869 h 944594"/>
              <a:gd name="connsiteX8" fmla="*/ 135802 w 1572285"/>
              <a:gd name="connsiteY8" fmla="*/ 567350 h 944594"/>
              <a:gd name="connsiteX9" fmla="*/ 144855 w 1572285"/>
              <a:gd name="connsiteY9" fmla="*/ 618653 h 944594"/>
              <a:gd name="connsiteX10" fmla="*/ 111659 w 1572285"/>
              <a:gd name="connsiteY10" fmla="*/ 645814 h 944594"/>
              <a:gd name="connsiteX11" fmla="*/ 117695 w 1572285"/>
              <a:gd name="connsiteY11" fmla="*/ 679010 h 944594"/>
              <a:gd name="connsiteX12" fmla="*/ 190122 w 1572285"/>
              <a:gd name="connsiteY12" fmla="*/ 675992 h 944594"/>
              <a:gd name="connsiteX13" fmla="*/ 208229 w 1572285"/>
              <a:gd name="connsiteY13" fmla="*/ 739366 h 944594"/>
              <a:gd name="connsiteX14" fmla="*/ 214265 w 1572285"/>
              <a:gd name="connsiteY14" fmla="*/ 775580 h 944594"/>
              <a:gd name="connsiteX15" fmla="*/ 235390 w 1572285"/>
              <a:gd name="connsiteY15" fmla="*/ 817830 h 944594"/>
              <a:gd name="connsiteX16" fmla="*/ 235390 w 1572285"/>
              <a:gd name="connsiteY16" fmla="*/ 848008 h 944594"/>
              <a:gd name="connsiteX17" fmla="*/ 307817 w 1572285"/>
              <a:gd name="connsiteY17" fmla="*/ 935525 h 944594"/>
              <a:gd name="connsiteX18" fmla="*/ 404388 w 1572285"/>
              <a:gd name="connsiteY18" fmla="*/ 917418 h 944594"/>
              <a:gd name="connsiteX19" fmla="*/ 422495 w 1572285"/>
              <a:gd name="connsiteY19" fmla="*/ 938542 h 944594"/>
              <a:gd name="connsiteX20" fmla="*/ 506994 w 1572285"/>
              <a:gd name="connsiteY20" fmla="*/ 899311 h 944594"/>
              <a:gd name="connsiteX21" fmla="*/ 557802 w 1572285"/>
              <a:gd name="connsiteY21" fmla="*/ 944594 h 944594"/>
              <a:gd name="connsiteX22" fmla="*/ 564332 w 1572285"/>
              <a:gd name="connsiteY22" fmla="*/ 844990 h 944594"/>
              <a:gd name="connsiteX23" fmla="*/ 1530035 w 1572285"/>
              <a:gd name="connsiteY23" fmla="*/ 935525 h 944594"/>
              <a:gd name="connsiteX24" fmla="*/ 1572285 w 1572285"/>
              <a:gd name="connsiteY24" fmla="*/ 190123 h 944594"/>
              <a:gd name="connsiteX25" fmla="*/ 1189021 w 1572285"/>
              <a:gd name="connsiteY25" fmla="*/ 156927 h 944594"/>
              <a:gd name="connsiteX26" fmla="*/ 1007952 w 1572285"/>
              <a:gd name="connsiteY26" fmla="*/ 141837 h 944594"/>
              <a:gd name="connsiteX27" fmla="*/ 908364 w 1572285"/>
              <a:gd name="connsiteY27" fmla="*/ 138820 h 944594"/>
              <a:gd name="connsiteX28" fmla="*/ 742384 w 1572285"/>
              <a:gd name="connsiteY28" fmla="*/ 111659 h 944594"/>
              <a:gd name="connsiteX29" fmla="*/ 597528 w 1572285"/>
              <a:gd name="connsiteY29" fmla="*/ 93552 h 944594"/>
              <a:gd name="connsiteX30" fmla="*/ 27160 w 1572285"/>
              <a:gd name="connsiteY30" fmla="*/ 0 h 944594"/>
              <a:gd name="connsiteX0" fmla="*/ 29375 w 1574500"/>
              <a:gd name="connsiteY0" fmla="*/ 0 h 944594"/>
              <a:gd name="connsiteX1" fmla="*/ 26357 w 1574500"/>
              <a:gd name="connsiteY1" fmla="*/ 63374 h 944594"/>
              <a:gd name="connsiteX2" fmla="*/ 2215 w 1574500"/>
              <a:gd name="connsiteY2" fmla="*/ 129766 h 944594"/>
              <a:gd name="connsiteX3" fmla="*/ 0 w 1574500"/>
              <a:gd name="connsiteY3" fmla="*/ 308931 h 944594"/>
              <a:gd name="connsiteX4" fmla="*/ 71625 w 1574500"/>
              <a:gd name="connsiteY4" fmla="*/ 374210 h 944594"/>
              <a:gd name="connsiteX5" fmla="*/ 95767 w 1574500"/>
              <a:gd name="connsiteY5" fmla="*/ 422495 h 944594"/>
              <a:gd name="connsiteX6" fmla="*/ 134999 w 1574500"/>
              <a:gd name="connsiteY6" fmla="*/ 455691 h 944594"/>
              <a:gd name="connsiteX7" fmla="*/ 165177 w 1574500"/>
              <a:gd name="connsiteY7" fmla="*/ 485869 h 944594"/>
              <a:gd name="connsiteX8" fmla="*/ 138017 w 1574500"/>
              <a:gd name="connsiteY8" fmla="*/ 567350 h 944594"/>
              <a:gd name="connsiteX9" fmla="*/ 147070 w 1574500"/>
              <a:gd name="connsiteY9" fmla="*/ 618653 h 944594"/>
              <a:gd name="connsiteX10" fmla="*/ 113874 w 1574500"/>
              <a:gd name="connsiteY10" fmla="*/ 645814 h 944594"/>
              <a:gd name="connsiteX11" fmla="*/ 119910 w 1574500"/>
              <a:gd name="connsiteY11" fmla="*/ 679010 h 944594"/>
              <a:gd name="connsiteX12" fmla="*/ 192337 w 1574500"/>
              <a:gd name="connsiteY12" fmla="*/ 675992 h 944594"/>
              <a:gd name="connsiteX13" fmla="*/ 210444 w 1574500"/>
              <a:gd name="connsiteY13" fmla="*/ 739366 h 944594"/>
              <a:gd name="connsiteX14" fmla="*/ 216480 w 1574500"/>
              <a:gd name="connsiteY14" fmla="*/ 775580 h 944594"/>
              <a:gd name="connsiteX15" fmla="*/ 237605 w 1574500"/>
              <a:gd name="connsiteY15" fmla="*/ 817830 h 944594"/>
              <a:gd name="connsiteX16" fmla="*/ 237605 w 1574500"/>
              <a:gd name="connsiteY16" fmla="*/ 848008 h 944594"/>
              <a:gd name="connsiteX17" fmla="*/ 310032 w 1574500"/>
              <a:gd name="connsiteY17" fmla="*/ 935525 h 944594"/>
              <a:gd name="connsiteX18" fmla="*/ 406603 w 1574500"/>
              <a:gd name="connsiteY18" fmla="*/ 917418 h 944594"/>
              <a:gd name="connsiteX19" fmla="*/ 424710 w 1574500"/>
              <a:gd name="connsiteY19" fmla="*/ 938542 h 944594"/>
              <a:gd name="connsiteX20" fmla="*/ 509209 w 1574500"/>
              <a:gd name="connsiteY20" fmla="*/ 899311 h 944594"/>
              <a:gd name="connsiteX21" fmla="*/ 560017 w 1574500"/>
              <a:gd name="connsiteY21" fmla="*/ 944594 h 944594"/>
              <a:gd name="connsiteX22" fmla="*/ 566547 w 1574500"/>
              <a:gd name="connsiteY22" fmla="*/ 844990 h 944594"/>
              <a:gd name="connsiteX23" fmla="*/ 1532250 w 1574500"/>
              <a:gd name="connsiteY23" fmla="*/ 935525 h 944594"/>
              <a:gd name="connsiteX24" fmla="*/ 1574500 w 1574500"/>
              <a:gd name="connsiteY24" fmla="*/ 190123 h 944594"/>
              <a:gd name="connsiteX25" fmla="*/ 1191236 w 1574500"/>
              <a:gd name="connsiteY25" fmla="*/ 156927 h 944594"/>
              <a:gd name="connsiteX26" fmla="*/ 1010167 w 1574500"/>
              <a:gd name="connsiteY26" fmla="*/ 141837 h 944594"/>
              <a:gd name="connsiteX27" fmla="*/ 910579 w 1574500"/>
              <a:gd name="connsiteY27" fmla="*/ 138820 h 944594"/>
              <a:gd name="connsiteX28" fmla="*/ 744599 w 1574500"/>
              <a:gd name="connsiteY28" fmla="*/ 111659 h 944594"/>
              <a:gd name="connsiteX29" fmla="*/ 599743 w 1574500"/>
              <a:gd name="connsiteY29" fmla="*/ 93552 h 944594"/>
              <a:gd name="connsiteX30" fmla="*/ 29375 w 1574500"/>
              <a:gd name="connsiteY30" fmla="*/ 0 h 944594"/>
              <a:gd name="connsiteX0" fmla="*/ 29375 w 1574500"/>
              <a:gd name="connsiteY0" fmla="*/ 0 h 944594"/>
              <a:gd name="connsiteX1" fmla="*/ 26357 w 1574500"/>
              <a:gd name="connsiteY1" fmla="*/ 63374 h 944594"/>
              <a:gd name="connsiteX2" fmla="*/ 2215 w 1574500"/>
              <a:gd name="connsiteY2" fmla="*/ 129766 h 944594"/>
              <a:gd name="connsiteX3" fmla="*/ 0 w 1574500"/>
              <a:gd name="connsiteY3" fmla="*/ 308931 h 944594"/>
              <a:gd name="connsiteX4" fmla="*/ 95767 w 1574500"/>
              <a:gd name="connsiteY4" fmla="*/ 422495 h 944594"/>
              <a:gd name="connsiteX5" fmla="*/ 134999 w 1574500"/>
              <a:gd name="connsiteY5" fmla="*/ 455691 h 944594"/>
              <a:gd name="connsiteX6" fmla="*/ 165177 w 1574500"/>
              <a:gd name="connsiteY6" fmla="*/ 485869 h 944594"/>
              <a:gd name="connsiteX7" fmla="*/ 138017 w 1574500"/>
              <a:gd name="connsiteY7" fmla="*/ 567350 h 944594"/>
              <a:gd name="connsiteX8" fmla="*/ 147070 w 1574500"/>
              <a:gd name="connsiteY8" fmla="*/ 618653 h 944594"/>
              <a:gd name="connsiteX9" fmla="*/ 113874 w 1574500"/>
              <a:gd name="connsiteY9" fmla="*/ 645814 h 944594"/>
              <a:gd name="connsiteX10" fmla="*/ 119910 w 1574500"/>
              <a:gd name="connsiteY10" fmla="*/ 679010 h 944594"/>
              <a:gd name="connsiteX11" fmla="*/ 192337 w 1574500"/>
              <a:gd name="connsiteY11" fmla="*/ 675992 h 944594"/>
              <a:gd name="connsiteX12" fmla="*/ 210444 w 1574500"/>
              <a:gd name="connsiteY12" fmla="*/ 739366 h 944594"/>
              <a:gd name="connsiteX13" fmla="*/ 216480 w 1574500"/>
              <a:gd name="connsiteY13" fmla="*/ 775580 h 944594"/>
              <a:gd name="connsiteX14" fmla="*/ 237605 w 1574500"/>
              <a:gd name="connsiteY14" fmla="*/ 817830 h 944594"/>
              <a:gd name="connsiteX15" fmla="*/ 237605 w 1574500"/>
              <a:gd name="connsiteY15" fmla="*/ 848008 h 944594"/>
              <a:gd name="connsiteX16" fmla="*/ 310032 w 1574500"/>
              <a:gd name="connsiteY16" fmla="*/ 935525 h 944594"/>
              <a:gd name="connsiteX17" fmla="*/ 406603 w 1574500"/>
              <a:gd name="connsiteY17" fmla="*/ 917418 h 944594"/>
              <a:gd name="connsiteX18" fmla="*/ 424710 w 1574500"/>
              <a:gd name="connsiteY18" fmla="*/ 938542 h 944594"/>
              <a:gd name="connsiteX19" fmla="*/ 509209 w 1574500"/>
              <a:gd name="connsiteY19" fmla="*/ 899311 h 944594"/>
              <a:gd name="connsiteX20" fmla="*/ 560017 w 1574500"/>
              <a:gd name="connsiteY20" fmla="*/ 944594 h 944594"/>
              <a:gd name="connsiteX21" fmla="*/ 566547 w 1574500"/>
              <a:gd name="connsiteY21" fmla="*/ 844990 h 944594"/>
              <a:gd name="connsiteX22" fmla="*/ 1532250 w 1574500"/>
              <a:gd name="connsiteY22" fmla="*/ 935525 h 944594"/>
              <a:gd name="connsiteX23" fmla="*/ 1574500 w 1574500"/>
              <a:gd name="connsiteY23" fmla="*/ 190123 h 944594"/>
              <a:gd name="connsiteX24" fmla="*/ 1191236 w 1574500"/>
              <a:gd name="connsiteY24" fmla="*/ 156927 h 944594"/>
              <a:gd name="connsiteX25" fmla="*/ 1010167 w 1574500"/>
              <a:gd name="connsiteY25" fmla="*/ 141837 h 944594"/>
              <a:gd name="connsiteX26" fmla="*/ 910579 w 1574500"/>
              <a:gd name="connsiteY26" fmla="*/ 138820 h 944594"/>
              <a:gd name="connsiteX27" fmla="*/ 744599 w 1574500"/>
              <a:gd name="connsiteY27" fmla="*/ 111659 h 944594"/>
              <a:gd name="connsiteX28" fmla="*/ 599743 w 1574500"/>
              <a:gd name="connsiteY28" fmla="*/ 93552 h 944594"/>
              <a:gd name="connsiteX29" fmla="*/ 29375 w 1574500"/>
              <a:gd name="connsiteY29" fmla="*/ 0 h 944594"/>
              <a:gd name="connsiteX0" fmla="*/ 29375 w 1574500"/>
              <a:gd name="connsiteY0" fmla="*/ 0 h 944594"/>
              <a:gd name="connsiteX1" fmla="*/ 26357 w 1574500"/>
              <a:gd name="connsiteY1" fmla="*/ 63374 h 944594"/>
              <a:gd name="connsiteX2" fmla="*/ 2215 w 1574500"/>
              <a:gd name="connsiteY2" fmla="*/ 129766 h 944594"/>
              <a:gd name="connsiteX3" fmla="*/ 0 w 1574500"/>
              <a:gd name="connsiteY3" fmla="*/ 308931 h 944594"/>
              <a:gd name="connsiteX4" fmla="*/ 95767 w 1574500"/>
              <a:gd name="connsiteY4" fmla="*/ 422495 h 944594"/>
              <a:gd name="connsiteX5" fmla="*/ 165177 w 1574500"/>
              <a:gd name="connsiteY5" fmla="*/ 485869 h 944594"/>
              <a:gd name="connsiteX6" fmla="*/ 138017 w 1574500"/>
              <a:gd name="connsiteY6" fmla="*/ 567350 h 944594"/>
              <a:gd name="connsiteX7" fmla="*/ 147070 w 1574500"/>
              <a:gd name="connsiteY7" fmla="*/ 618653 h 944594"/>
              <a:gd name="connsiteX8" fmla="*/ 113874 w 1574500"/>
              <a:gd name="connsiteY8" fmla="*/ 645814 h 944594"/>
              <a:gd name="connsiteX9" fmla="*/ 119910 w 1574500"/>
              <a:gd name="connsiteY9" fmla="*/ 679010 h 944594"/>
              <a:gd name="connsiteX10" fmla="*/ 192337 w 1574500"/>
              <a:gd name="connsiteY10" fmla="*/ 675992 h 944594"/>
              <a:gd name="connsiteX11" fmla="*/ 210444 w 1574500"/>
              <a:gd name="connsiteY11" fmla="*/ 739366 h 944594"/>
              <a:gd name="connsiteX12" fmla="*/ 216480 w 1574500"/>
              <a:gd name="connsiteY12" fmla="*/ 775580 h 944594"/>
              <a:gd name="connsiteX13" fmla="*/ 237605 w 1574500"/>
              <a:gd name="connsiteY13" fmla="*/ 817830 h 944594"/>
              <a:gd name="connsiteX14" fmla="*/ 237605 w 1574500"/>
              <a:gd name="connsiteY14" fmla="*/ 848008 h 944594"/>
              <a:gd name="connsiteX15" fmla="*/ 310032 w 1574500"/>
              <a:gd name="connsiteY15" fmla="*/ 935525 h 944594"/>
              <a:gd name="connsiteX16" fmla="*/ 406603 w 1574500"/>
              <a:gd name="connsiteY16" fmla="*/ 917418 h 944594"/>
              <a:gd name="connsiteX17" fmla="*/ 424710 w 1574500"/>
              <a:gd name="connsiteY17" fmla="*/ 938542 h 944594"/>
              <a:gd name="connsiteX18" fmla="*/ 509209 w 1574500"/>
              <a:gd name="connsiteY18" fmla="*/ 899311 h 944594"/>
              <a:gd name="connsiteX19" fmla="*/ 560017 w 1574500"/>
              <a:gd name="connsiteY19" fmla="*/ 944594 h 944594"/>
              <a:gd name="connsiteX20" fmla="*/ 566547 w 1574500"/>
              <a:gd name="connsiteY20" fmla="*/ 844990 h 944594"/>
              <a:gd name="connsiteX21" fmla="*/ 1532250 w 1574500"/>
              <a:gd name="connsiteY21" fmla="*/ 935525 h 944594"/>
              <a:gd name="connsiteX22" fmla="*/ 1574500 w 1574500"/>
              <a:gd name="connsiteY22" fmla="*/ 190123 h 944594"/>
              <a:gd name="connsiteX23" fmla="*/ 1191236 w 1574500"/>
              <a:gd name="connsiteY23" fmla="*/ 156927 h 944594"/>
              <a:gd name="connsiteX24" fmla="*/ 1010167 w 1574500"/>
              <a:gd name="connsiteY24" fmla="*/ 141837 h 944594"/>
              <a:gd name="connsiteX25" fmla="*/ 910579 w 1574500"/>
              <a:gd name="connsiteY25" fmla="*/ 138820 h 944594"/>
              <a:gd name="connsiteX26" fmla="*/ 744599 w 1574500"/>
              <a:gd name="connsiteY26" fmla="*/ 111659 h 944594"/>
              <a:gd name="connsiteX27" fmla="*/ 599743 w 1574500"/>
              <a:gd name="connsiteY27" fmla="*/ 93552 h 944594"/>
              <a:gd name="connsiteX28" fmla="*/ 29375 w 1574500"/>
              <a:gd name="connsiteY28" fmla="*/ 0 h 944594"/>
              <a:gd name="connsiteX0" fmla="*/ 29375 w 1574500"/>
              <a:gd name="connsiteY0" fmla="*/ 0 h 944594"/>
              <a:gd name="connsiteX1" fmla="*/ 26357 w 1574500"/>
              <a:gd name="connsiteY1" fmla="*/ 63374 h 944594"/>
              <a:gd name="connsiteX2" fmla="*/ 2215 w 1574500"/>
              <a:gd name="connsiteY2" fmla="*/ 129766 h 944594"/>
              <a:gd name="connsiteX3" fmla="*/ 0 w 1574500"/>
              <a:gd name="connsiteY3" fmla="*/ 308931 h 944594"/>
              <a:gd name="connsiteX4" fmla="*/ 86191 w 1574500"/>
              <a:gd name="connsiteY4" fmla="*/ 429646 h 944594"/>
              <a:gd name="connsiteX5" fmla="*/ 165177 w 1574500"/>
              <a:gd name="connsiteY5" fmla="*/ 485869 h 944594"/>
              <a:gd name="connsiteX6" fmla="*/ 138017 w 1574500"/>
              <a:gd name="connsiteY6" fmla="*/ 567350 h 944594"/>
              <a:gd name="connsiteX7" fmla="*/ 147070 w 1574500"/>
              <a:gd name="connsiteY7" fmla="*/ 618653 h 944594"/>
              <a:gd name="connsiteX8" fmla="*/ 113874 w 1574500"/>
              <a:gd name="connsiteY8" fmla="*/ 645814 h 944594"/>
              <a:gd name="connsiteX9" fmla="*/ 119910 w 1574500"/>
              <a:gd name="connsiteY9" fmla="*/ 679010 h 944594"/>
              <a:gd name="connsiteX10" fmla="*/ 192337 w 1574500"/>
              <a:gd name="connsiteY10" fmla="*/ 675992 h 944594"/>
              <a:gd name="connsiteX11" fmla="*/ 210444 w 1574500"/>
              <a:gd name="connsiteY11" fmla="*/ 739366 h 944594"/>
              <a:gd name="connsiteX12" fmla="*/ 216480 w 1574500"/>
              <a:gd name="connsiteY12" fmla="*/ 775580 h 944594"/>
              <a:gd name="connsiteX13" fmla="*/ 237605 w 1574500"/>
              <a:gd name="connsiteY13" fmla="*/ 817830 h 944594"/>
              <a:gd name="connsiteX14" fmla="*/ 237605 w 1574500"/>
              <a:gd name="connsiteY14" fmla="*/ 848008 h 944594"/>
              <a:gd name="connsiteX15" fmla="*/ 310032 w 1574500"/>
              <a:gd name="connsiteY15" fmla="*/ 935525 h 944594"/>
              <a:gd name="connsiteX16" fmla="*/ 406603 w 1574500"/>
              <a:gd name="connsiteY16" fmla="*/ 917418 h 944594"/>
              <a:gd name="connsiteX17" fmla="*/ 424710 w 1574500"/>
              <a:gd name="connsiteY17" fmla="*/ 938542 h 944594"/>
              <a:gd name="connsiteX18" fmla="*/ 509209 w 1574500"/>
              <a:gd name="connsiteY18" fmla="*/ 899311 h 944594"/>
              <a:gd name="connsiteX19" fmla="*/ 560017 w 1574500"/>
              <a:gd name="connsiteY19" fmla="*/ 944594 h 944594"/>
              <a:gd name="connsiteX20" fmla="*/ 566547 w 1574500"/>
              <a:gd name="connsiteY20" fmla="*/ 844990 h 944594"/>
              <a:gd name="connsiteX21" fmla="*/ 1532250 w 1574500"/>
              <a:gd name="connsiteY21" fmla="*/ 935525 h 944594"/>
              <a:gd name="connsiteX22" fmla="*/ 1574500 w 1574500"/>
              <a:gd name="connsiteY22" fmla="*/ 190123 h 944594"/>
              <a:gd name="connsiteX23" fmla="*/ 1191236 w 1574500"/>
              <a:gd name="connsiteY23" fmla="*/ 156927 h 944594"/>
              <a:gd name="connsiteX24" fmla="*/ 1010167 w 1574500"/>
              <a:gd name="connsiteY24" fmla="*/ 141837 h 944594"/>
              <a:gd name="connsiteX25" fmla="*/ 910579 w 1574500"/>
              <a:gd name="connsiteY25" fmla="*/ 138820 h 944594"/>
              <a:gd name="connsiteX26" fmla="*/ 744599 w 1574500"/>
              <a:gd name="connsiteY26" fmla="*/ 111659 h 944594"/>
              <a:gd name="connsiteX27" fmla="*/ 599743 w 1574500"/>
              <a:gd name="connsiteY27" fmla="*/ 93552 h 944594"/>
              <a:gd name="connsiteX28" fmla="*/ 29375 w 1574500"/>
              <a:gd name="connsiteY28" fmla="*/ 0 h 944594"/>
              <a:gd name="connsiteX0" fmla="*/ 29375 w 1574500"/>
              <a:gd name="connsiteY0" fmla="*/ 0 h 944594"/>
              <a:gd name="connsiteX1" fmla="*/ 26357 w 1574500"/>
              <a:gd name="connsiteY1" fmla="*/ 63374 h 944594"/>
              <a:gd name="connsiteX2" fmla="*/ 2215 w 1574500"/>
              <a:gd name="connsiteY2" fmla="*/ 129766 h 944594"/>
              <a:gd name="connsiteX3" fmla="*/ 0 w 1574500"/>
              <a:gd name="connsiteY3" fmla="*/ 308931 h 944594"/>
              <a:gd name="connsiteX4" fmla="*/ 86191 w 1574500"/>
              <a:gd name="connsiteY4" fmla="*/ 429646 h 944594"/>
              <a:gd name="connsiteX5" fmla="*/ 148421 w 1574500"/>
              <a:gd name="connsiteY5" fmla="*/ 485877 h 944594"/>
              <a:gd name="connsiteX6" fmla="*/ 138017 w 1574500"/>
              <a:gd name="connsiteY6" fmla="*/ 567350 h 944594"/>
              <a:gd name="connsiteX7" fmla="*/ 147070 w 1574500"/>
              <a:gd name="connsiteY7" fmla="*/ 618653 h 944594"/>
              <a:gd name="connsiteX8" fmla="*/ 113874 w 1574500"/>
              <a:gd name="connsiteY8" fmla="*/ 645814 h 944594"/>
              <a:gd name="connsiteX9" fmla="*/ 119910 w 1574500"/>
              <a:gd name="connsiteY9" fmla="*/ 679010 h 944594"/>
              <a:gd name="connsiteX10" fmla="*/ 192337 w 1574500"/>
              <a:gd name="connsiteY10" fmla="*/ 675992 h 944594"/>
              <a:gd name="connsiteX11" fmla="*/ 210444 w 1574500"/>
              <a:gd name="connsiteY11" fmla="*/ 739366 h 944594"/>
              <a:gd name="connsiteX12" fmla="*/ 216480 w 1574500"/>
              <a:gd name="connsiteY12" fmla="*/ 775580 h 944594"/>
              <a:gd name="connsiteX13" fmla="*/ 237605 w 1574500"/>
              <a:gd name="connsiteY13" fmla="*/ 817830 h 944594"/>
              <a:gd name="connsiteX14" fmla="*/ 237605 w 1574500"/>
              <a:gd name="connsiteY14" fmla="*/ 848008 h 944594"/>
              <a:gd name="connsiteX15" fmla="*/ 310032 w 1574500"/>
              <a:gd name="connsiteY15" fmla="*/ 935525 h 944594"/>
              <a:gd name="connsiteX16" fmla="*/ 406603 w 1574500"/>
              <a:gd name="connsiteY16" fmla="*/ 917418 h 944594"/>
              <a:gd name="connsiteX17" fmla="*/ 424710 w 1574500"/>
              <a:gd name="connsiteY17" fmla="*/ 938542 h 944594"/>
              <a:gd name="connsiteX18" fmla="*/ 509209 w 1574500"/>
              <a:gd name="connsiteY18" fmla="*/ 899311 h 944594"/>
              <a:gd name="connsiteX19" fmla="*/ 560017 w 1574500"/>
              <a:gd name="connsiteY19" fmla="*/ 944594 h 944594"/>
              <a:gd name="connsiteX20" fmla="*/ 566547 w 1574500"/>
              <a:gd name="connsiteY20" fmla="*/ 844990 h 944594"/>
              <a:gd name="connsiteX21" fmla="*/ 1532250 w 1574500"/>
              <a:gd name="connsiteY21" fmla="*/ 935525 h 944594"/>
              <a:gd name="connsiteX22" fmla="*/ 1574500 w 1574500"/>
              <a:gd name="connsiteY22" fmla="*/ 190123 h 944594"/>
              <a:gd name="connsiteX23" fmla="*/ 1191236 w 1574500"/>
              <a:gd name="connsiteY23" fmla="*/ 156927 h 944594"/>
              <a:gd name="connsiteX24" fmla="*/ 1010167 w 1574500"/>
              <a:gd name="connsiteY24" fmla="*/ 141837 h 944594"/>
              <a:gd name="connsiteX25" fmla="*/ 910579 w 1574500"/>
              <a:gd name="connsiteY25" fmla="*/ 138820 h 944594"/>
              <a:gd name="connsiteX26" fmla="*/ 744599 w 1574500"/>
              <a:gd name="connsiteY26" fmla="*/ 111659 h 944594"/>
              <a:gd name="connsiteX27" fmla="*/ 599743 w 1574500"/>
              <a:gd name="connsiteY27" fmla="*/ 93552 h 944594"/>
              <a:gd name="connsiteX28" fmla="*/ 29375 w 1574500"/>
              <a:gd name="connsiteY28" fmla="*/ 0 h 944594"/>
              <a:gd name="connsiteX0" fmla="*/ 29375 w 1574500"/>
              <a:gd name="connsiteY0" fmla="*/ 0 h 944594"/>
              <a:gd name="connsiteX1" fmla="*/ 26357 w 1574500"/>
              <a:gd name="connsiteY1" fmla="*/ 63374 h 944594"/>
              <a:gd name="connsiteX2" fmla="*/ 2215 w 1574500"/>
              <a:gd name="connsiteY2" fmla="*/ 129766 h 944594"/>
              <a:gd name="connsiteX3" fmla="*/ 0 w 1574500"/>
              <a:gd name="connsiteY3" fmla="*/ 308931 h 944594"/>
              <a:gd name="connsiteX4" fmla="*/ 86191 w 1574500"/>
              <a:gd name="connsiteY4" fmla="*/ 429646 h 944594"/>
              <a:gd name="connsiteX5" fmla="*/ 148421 w 1574500"/>
              <a:gd name="connsiteY5" fmla="*/ 485877 h 944594"/>
              <a:gd name="connsiteX6" fmla="*/ 123656 w 1574500"/>
              <a:gd name="connsiteY6" fmla="*/ 567360 h 944594"/>
              <a:gd name="connsiteX7" fmla="*/ 147070 w 1574500"/>
              <a:gd name="connsiteY7" fmla="*/ 618653 h 944594"/>
              <a:gd name="connsiteX8" fmla="*/ 113874 w 1574500"/>
              <a:gd name="connsiteY8" fmla="*/ 645814 h 944594"/>
              <a:gd name="connsiteX9" fmla="*/ 119910 w 1574500"/>
              <a:gd name="connsiteY9" fmla="*/ 679010 h 944594"/>
              <a:gd name="connsiteX10" fmla="*/ 192337 w 1574500"/>
              <a:gd name="connsiteY10" fmla="*/ 675992 h 944594"/>
              <a:gd name="connsiteX11" fmla="*/ 210444 w 1574500"/>
              <a:gd name="connsiteY11" fmla="*/ 739366 h 944594"/>
              <a:gd name="connsiteX12" fmla="*/ 216480 w 1574500"/>
              <a:gd name="connsiteY12" fmla="*/ 775580 h 944594"/>
              <a:gd name="connsiteX13" fmla="*/ 237605 w 1574500"/>
              <a:gd name="connsiteY13" fmla="*/ 817830 h 944594"/>
              <a:gd name="connsiteX14" fmla="*/ 237605 w 1574500"/>
              <a:gd name="connsiteY14" fmla="*/ 848008 h 944594"/>
              <a:gd name="connsiteX15" fmla="*/ 310032 w 1574500"/>
              <a:gd name="connsiteY15" fmla="*/ 935525 h 944594"/>
              <a:gd name="connsiteX16" fmla="*/ 406603 w 1574500"/>
              <a:gd name="connsiteY16" fmla="*/ 917418 h 944594"/>
              <a:gd name="connsiteX17" fmla="*/ 424710 w 1574500"/>
              <a:gd name="connsiteY17" fmla="*/ 938542 h 944594"/>
              <a:gd name="connsiteX18" fmla="*/ 509209 w 1574500"/>
              <a:gd name="connsiteY18" fmla="*/ 899311 h 944594"/>
              <a:gd name="connsiteX19" fmla="*/ 560017 w 1574500"/>
              <a:gd name="connsiteY19" fmla="*/ 944594 h 944594"/>
              <a:gd name="connsiteX20" fmla="*/ 566547 w 1574500"/>
              <a:gd name="connsiteY20" fmla="*/ 844990 h 944594"/>
              <a:gd name="connsiteX21" fmla="*/ 1532250 w 1574500"/>
              <a:gd name="connsiteY21" fmla="*/ 935525 h 944594"/>
              <a:gd name="connsiteX22" fmla="*/ 1574500 w 1574500"/>
              <a:gd name="connsiteY22" fmla="*/ 190123 h 944594"/>
              <a:gd name="connsiteX23" fmla="*/ 1191236 w 1574500"/>
              <a:gd name="connsiteY23" fmla="*/ 156927 h 944594"/>
              <a:gd name="connsiteX24" fmla="*/ 1010167 w 1574500"/>
              <a:gd name="connsiteY24" fmla="*/ 141837 h 944594"/>
              <a:gd name="connsiteX25" fmla="*/ 910579 w 1574500"/>
              <a:gd name="connsiteY25" fmla="*/ 138820 h 944594"/>
              <a:gd name="connsiteX26" fmla="*/ 744599 w 1574500"/>
              <a:gd name="connsiteY26" fmla="*/ 111659 h 944594"/>
              <a:gd name="connsiteX27" fmla="*/ 599743 w 1574500"/>
              <a:gd name="connsiteY27" fmla="*/ 93552 h 944594"/>
              <a:gd name="connsiteX28" fmla="*/ 29375 w 1574500"/>
              <a:gd name="connsiteY28" fmla="*/ 0 h 944594"/>
              <a:gd name="connsiteX0" fmla="*/ 29375 w 1574500"/>
              <a:gd name="connsiteY0" fmla="*/ 0 h 944594"/>
              <a:gd name="connsiteX1" fmla="*/ 26357 w 1574500"/>
              <a:gd name="connsiteY1" fmla="*/ 63374 h 944594"/>
              <a:gd name="connsiteX2" fmla="*/ 2215 w 1574500"/>
              <a:gd name="connsiteY2" fmla="*/ 129766 h 944594"/>
              <a:gd name="connsiteX3" fmla="*/ 0 w 1574500"/>
              <a:gd name="connsiteY3" fmla="*/ 308931 h 944594"/>
              <a:gd name="connsiteX4" fmla="*/ 86191 w 1574500"/>
              <a:gd name="connsiteY4" fmla="*/ 429646 h 944594"/>
              <a:gd name="connsiteX5" fmla="*/ 148421 w 1574500"/>
              <a:gd name="connsiteY5" fmla="*/ 485877 h 944594"/>
              <a:gd name="connsiteX6" fmla="*/ 123656 w 1574500"/>
              <a:gd name="connsiteY6" fmla="*/ 567360 h 944594"/>
              <a:gd name="connsiteX7" fmla="*/ 132705 w 1574500"/>
              <a:gd name="connsiteY7" fmla="*/ 618663 h 944594"/>
              <a:gd name="connsiteX8" fmla="*/ 113874 w 1574500"/>
              <a:gd name="connsiteY8" fmla="*/ 645814 h 944594"/>
              <a:gd name="connsiteX9" fmla="*/ 119910 w 1574500"/>
              <a:gd name="connsiteY9" fmla="*/ 679010 h 944594"/>
              <a:gd name="connsiteX10" fmla="*/ 192337 w 1574500"/>
              <a:gd name="connsiteY10" fmla="*/ 675992 h 944594"/>
              <a:gd name="connsiteX11" fmla="*/ 210444 w 1574500"/>
              <a:gd name="connsiteY11" fmla="*/ 739366 h 944594"/>
              <a:gd name="connsiteX12" fmla="*/ 216480 w 1574500"/>
              <a:gd name="connsiteY12" fmla="*/ 775580 h 944594"/>
              <a:gd name="connsiteX13" fmla="*/ 237605 w 1574500"/>
              <a:gd name="connsiteY13" fmla="*/ 817830 h 944594"/>
              <a:gd name="connsiteX14" fmla="*/ 237605 w 1574500"/>
              <a:gd name="connsiteY14" fmla="*/ 848008 h 944594"/>
              <a:gd name="connsiteX15" fmla="*/ 310032 w 1574500"/>
              <a:gd name="connsiteY15" fmla="*/ 935525 h 944594"/>
              <a:gd name="connsiteX16" fmla="*/ 406603 w 1574500"/>
              <a:gd name="connsiteY16" fmla="*/ 917418 h 944594"/>
              <a:gd name="connsiteX17" fmla="*/ 424710 w 1574500"/>
              <a:gd name="connsiteY17" fmla="*/ 938542 h 944594"/>
              <a:gd name="connsiteX18" fmla="*/ 509209 w 1574500"/>
              <a:gd name="connsiteY18" fmla="*/ 899311 h 944594"/>
              <a:gd name="connsiteX19" fmla="*/ 560017 w 1574500"/>
              <a:gd name="connsiteY19" fmla="*/ 944594 h 944594"/>
              <a:gd name="connsiteX20" fmla="*/ 566547 w 1574500"/>
              <a:gd name="connsiteY20" fmla="*/ 844990 h 944594"/>
              <a:gd name="connsiteX21" fmla="*/ 1532250 w 1574500"/>
              <a:gd name="connsiteY21" fmla="*/ 935525 h 944594"/>
              <a:gd name="connsiteX22" fmla="*/ 1574500 w 1574500"/>
              <a:gd name="connsiteY22" fmla="*/ 190123 h 944594"/>
              <a:gd name="connsiteX23" fmla="*/ 1191236 w 1574500"/>
              <a:gd name="connsiteY23" fmla="*/ 156927 h 944594"/>
              <a:gd name="connsiteX24" fmla="*/ 1010167 w 1574500"/>
              <a:gd name="connsiteY24" fmla="*/ 141837 h 944594"/>
              <a:gd name="connsiteX25" fmla="*/ 910579 w 1574500"/>
              <a:gd name="connsiteY25" fmla="*/ 138820 h 944594"/>
              <a:gd name="connsiteX26" fmla="*/ 744599 w 1574500"/>
              <a:gd name="connsiteY26" fmla="*/ 111659 h 944594"/>
              <a:gd name="connsiteX27" fmla="*/ 599743 w 1574500"/>
              <a:gd name="connsiteY27" fmla="*/ 93552 h 944594"/>
              <a:gd name="connsiteX28" fmla="*/ 29375 w 1574500"/>
              <a:gd name="connsiteY28" fmla="*/ 0 h 944594"/>
              <a:gd name="connsiteX0" fmla="*/ 29375 w 1574500"/>
              <a:gd name="connsiteY0" fmla="*/ 0 h 944594"/>
              <a:gd name="connsiteX1" fmla="*/ 26357 w 1574500"/>
              <a:gd name="connsiteY1" fmla="*/ 63374 h 944594"/>
              <a:gd name="connsiteX2" fmla="*/ 2215 w 1574500"/>
              <a:gd name="connsiteY2" fmla="*/ 129766 h 944594"/>
              <a:gd name="connsiteX3" fmla="*/ 0 w 1574500"/>
              <a:gd name="connsiteY3" fmla="*/ 308931 h 944594"/>
              <a:gd name="connsiteX4" fmla="*/ 86191 w 1574500"/>
              <a:gd name="connsiteY4" fmla="*/ 429646 h 944594"/>
              <a:gd name="connsiteX5" fmla="*/ 148421 w 1574500"/>
              <a:gd name="connsiteY5" fmla="*/ 485877 h 944594"/>
              <a:gd name="connsiteX6" fmla="*/ 123656 w 1574500"/>
              <a:gd name="connsiteY6" fmla="*/ 567360 h 944594"/>
              <a:gd name="connsiteX7" fmla="*/ 132705 w 1574500"/>
              <a:gd name="connsiteY7" fmla="*/ 618663 h 944594"/>
              <a:gd name="connsiteX8" fmla="*/ 113874 w 1574500"/>
              <a:gd name="connsiteY8" fmla="*/ 645814 h 944594"/>
              <a:gd name="connsiteX9" fmla="*/ 119910 w 1574500"/>
              <a:gd name="connsiteY9" fmla="*/ 679010 h 944594"/>
              <a:gd name="connsiteX10" fmla="*/ 192337 w 1574500"/>
              <a:gd name="connsiteY10" fmla="*/ 675992 h 944594"/>
              <a:gd name="connsiteX11" fmla="*/ 210444 w 1574500"/>
              <a:gd name="connsiteY11" fmla="*/ 739366 h 944594"/>
              <a:gd name="connsiteX12" fmla="*/ 216480 w 1574500"/>
              <a:gd name="connsiteY12" fmla="*/ 775580 h 944594"/>
              <a:gd name="connsiteX13" fmla="*/ 237605 w 1574500"/>
              <a:gd name="connsiteY13" fmla="*/ 817830 h 944594"/>
              <a:gd name="connsiteX14" fmla="*/ 227946 w 1574500"/>
              <a:gd name="connsiteY14" fmla="*/ 874216 h 944594"/>
              <a:gd name="connsiteX15" fmla="*/ 310032 w 1574500"/>
              <a:gd name="connsiteY15" fmla="*/ 935525 h 944594"/>
              <a:gd name="connsiteX16" fmla="*/ 406603 w 1574500"/>
              <a:gd name="connsiteY16" fmla="*/ 917418 h 944594"/>
              <a:gd name="connsiteX17" fmla="*/ 424710 w 1574500"/>
              <a:gd name="connsiteY17" fmla="*/ 938542 h 944594"/>
              <a:gd name="connsiteX18" fmla="*/ 509209 w 1574500"/>
              <a:gd name="connsiteY18" fmla="*/ 899311 h 944594"/>
              <a:gd name="connsiteX19" fmla="*/ 560017 w 1574500"/>
              <a:gd name="connsiteY19" fmla="*/ 944594 h 944594"/>
              <a:gd name="connsiteX20" fmla="*/ 566547 w 1574500"/>
              <a:gd name="connsiteY20" fmla="*/ 844990 h 944594"/>
              <a:gd name="connsiteX21" fmla="*/ 1532250 w 1574500"/>
              <a:gd name="connsiteY21" fmla="*/ 935525 h 944594"/>
              <a:gd name="connsiteX22" fmla="*/ 1574500 w 1574500"/>
              <a:gd name="connsiteY22" fmla="*/ 190123 h 944594"/>
              <a:gd name="connsiteX23" fmla="*/ 1191236 w 1574500"/>
              <a:gd name="connsiteY23" fmla="*/ 156927 h 944594"/>
              <a:gd name="connsiteX24" fmla="*/ 1010167 w 1574500"/>
              <a:gd name="connsiteY24" fmla="*/ 141837 h 944594"/>
              <a:gd name="connsiteX25" fmla="*/ 910579 w 1574500"/>
              <a:gd name="connsiteY25" fmla="*/ 138820 h 944594"/>
              <a:gd name="connsiteX26" fmla="*/ 744599 w 1574500"/>
              <a:gd name="connsiteY26" fmla="*/ 111659 h 944594"/>
              <a:gd name="connsiteX27" fmla="*/ 599743 w 1574500"/>
              <a:gd name="connsiteY27" fmla="*/ 93552 h 944594"/>
              <a:gd name="connsiteX28" fmla="*/ 29375 w 1574500"/>
              <a:gd name="connsiteY28" fmla="*/ 0 h 944594"/>
              <a:gd name="connsiteX0" fmla="*/ 29375 w 1574500"/>
              <a:gd name="connsiteY0" fmla="*/ 0 h 952209"/>
              <a:gd name="connsiteX1" fmla="*/ 26357 w 1574500"/>
              <a:gd name="connsiteY1" fmla="*/ 63374 h 952209"/>
              <a:gd name="connsiteX2" fmla="*/ 2215 w 1574500"/>
              <a:gd name="connsiteY2" fmla="*/ 129766 h 952209"/>
              <a:gd name="connsiteX3" fmla="*/ 0 w 1574500"/>
              <a:gd name="connsiteY3" fmla="*/ 308931 h 952209"/>
              <a:gd name="connsiteX4" fmla="*/ 86191 w 1574500"/>
              <a:gd name="connsiteY4" fmla="*/ 429646 h 952209"/>
              <a:gd name="connsiteX5" fmla="*/ 148421 w 1574500"/>
              <a:gd name="connsiteY5" fmla="*/ 485877 h 952209"/>
              <a:gd name="connsiteX6" fmla="*/ 123656 w 1574500"/>
              <a:gd name="connsiteY6" fmla="*/ 567360 h 952209"/>
              <a:gd name="connsiteX7" fmla="*/ 132705 w 1574500"/>
              <a:gd name="connsiteY7" fmla="*/ 618663 h 952209"/>
              <a:gd name="connsiteX8" fmla="*/ 113874 w 1574500"/>
              <a:gd name="connsiteY8" fmla="*/ 645814 h 952209"/>
              <a:gd name="connsiteX9" fmla="*/ 119910 w 1574500"/>
              <a:gd name="connsiteY9" fmla="*/ 679010 h 952209"/>
              <a:gd name="connsiteX10" fmla="*/ 192337 w 1574500"/>
              <a:gd name="connsiteY10" fmla="*/ 675992 h 952209"/>
              <a:gd name="connsiteX11" fmla="*/ 210444 w 1574500"/>
              <a:gd name="connsiteY11" fmla="*/ 739366 h 952209"/>
              <a:gd name="connsiteX12" fmla="*/ 216480 w 1574500"/>
              <a:gd name="connsiteY12" fmla="*/ 775580 h 952209"/>
              <a:gd name="connsiteX13" fmla="*/ 237605 w 1574500"/>
              <a:gd name="connsiteY13" fmla="*/ 817830 h 952209"/>
              <a:gd name="connsiteX14" fmla="*/ 227946 w 1574500"/>
              <a:gd name="connsiteY14" fmla="*/ 874216 h 952209"/>
              <a:gd name="connsiteX15" fmla="*/ 312230 w 1574500"/>
              <a:gd name="connsiteY15" fmla="*/ 952209 h 952209"/>
              <a:gd name="connsiteX16" fmla="*/ 406603 w 1574500"/>
              <a:gd name="connsiteY16" fmla="*/ 917418 h 952209"/>
              <a:gd name="connsiteX17" fmla="*/ 424710 w 1574500"/>
              <a:gd name="connsiteY17" fmla="*/ 938542 h 952209"/>
              <a:gd name="connsiteX18" fmla="*/ 509209 w 1574500"/>
              <a:gd name="connsiteY18" fmla="*/ 899311 h 952209"/>
              <a:gd name="connsiteX19" fmla="*/ 560017 w 1574500"/>
              <a:gd name="connsiteY19" fmla="*/ 944594 h 952209"/>
              <a:gd name="connsiteX20" fmla="*/ 566547 w 1574500"/>
              <a:gd name="connsiteY20" fmla="*/ 844990 h 952209"/>
              <a:gd name="connsiteX21" fmla="*/ 1532250 w 1574500"/>
              <a:gd name="connsiteY21" fmla="*/ 935525 h 952209"/>
              <a:gd name="connsiteX22" fmla="*/ 1574500 w 1574500"/>
              <a:gd name="connsiteY22" fmla="*/ 190123 h 952209"/>
              <a:gd name="connsiteX23" fmla="*/ 1191236 w 1574500"/>
              <a:gd name="connsiteY23" fmla="*/ 156927 h 952209"/>
              <a:gd name="connsiteX24" fmla="*/ 1010167 w 1574500"/>
              <a:gd name="connsiteY24" fmla="*/ 141837 h 952209"/>
              <a:gd name="connsiteX25" fmla="*/ 910579 w 1574500"/>
              <a:gd name="connsiteY25" fmla="*/ 138820 h 952209"/>
              <a:gd name="connsiteX26" fmla="*/ 744599 w 1574500"/>
              <a:gd name="connsiteY26" fmla="*/ 111659 h 952209"/>
              <a:gd name="connsiteX27" fmla="*/ 599743 w 1574500"/>
              <a:gd name="connsiteY27" fmla="*/ 93552 h 952209"/>
              <a:gd name="connsiteX28" fmla="*/ 29375 w 1574500"/>
              <a:gd name="connsiteY28" fmla="*/ 0 h 952209"/>
              <a:gd name="connsiteX0" fmla="*/ 29375 w 1574500"/>
              <a:gd name="connsiteY0" fmla="*/ 0 h 952845"/>
              <a:gd name="connsiteX1" fmla="*/ 26357 w 1574500"/>
              <a:gd name="connsiteY1" fmla="*/ 63374 h 952845"/>
              <a:gd name="connsiteX2" fmla="*/ 2215 w 1574500"/>
              <a:gd name="connsiteY2" fmla="*/ 129766 h 952845"/>
              <a:gd name="connsiteX3" fmla="*/ 0 w 1574500"/>
              <a:gd name="connsiteY3" fmla="*/ 308931 h 952845"/>
              <a:gd name="connsiteX4" fmla="*/ 86191 w 1574500"/>
              <a:gd name="connsiteY4" fmla="*/ 429646 h 952845"/>
              <a:gd name="connsiteX5" fmla="*/ 148421 w 1574500"/>
              <a:gd name="connsiteY5" fmla="*/ 485877 h 952845"/>
              <a:gd name="connsiteX6" fmla="*/ 123656 w 1574500"/>
              <a:gd name="connsiteY6" fmla="*/ 567360 h 952845"/>
              <a:gd name="connsiteX7" fmla="*/ 132705 w 1574500"/>
              <a:gd name="connsiteY7" fmla="*/ 618663 h 952845"/>
              <a:gd name="connsiteX8" fmla="*/ 113874 w 1574500"/>
              <a:gd name="connsiteY8" fmla="*/ 645814 h 952845"/>
              <a:gd name="connsiteX9" fmla="*/ 119910 w 1574500"/>
              <a:gd name="connsiteY9" fmla="*/ 679010 h 952845"/>
              <a:gd name="connsiteX10" fmla="*/ 192337 w 1574500"/>
              <a:gd name="connsiteY10" fmla="*/ 675992 h 952845"/>
              <a:gd name="connsiteX11" fmla="*/ 210444 w 1574500"/>
              <a:gd name="connsiteY11" fmla="*/ 739366 h 952845"/>
              <a:gd name="connsiteX12" fmla="*/ 216480 w 1574500"/>
              <a:gd name="connsiteY12" fmla="*/ 775580 h 952845"/>
              <a:gd name="connsiteX13" fmla="*/ 237605 w 1574500"/>
              <a:gd name="connsiteY13" fmla="*/ 817830 h 952845"/>
              <a:gd name="connsiteX14" fmla="*/ 227946 w 1574500"/>
              <a:gd name="connsiteY14" fmla="*/ 874216 h 952845"/>
              <a:gd name="connsiteX15" fmla="*/ 312230 w 1574500"/>
              <a:gd name="connsiteY15" fmla="*/ 952209 h 952845"/>
              <a:gd name="connsiteX16" fmla="*/ 406603 w 1574500"/>
              <a:gd name="connsiteY16" fmla="*/ 917418 h 952845"/>
              <a:gd name="connsiteX17" fmla="*/ 455399 w 1574500"/>
              <a:gd name="connsiteY17" fmla="*/ 952845 h 952845"/>
              <a:gd name="connsiteX18" fmla="*/ 509209 w 1574500"/>
              <a:gd name="connsiteY18" fmla="*/ 899311 h 952845"/>
              <a:gd name="connsiteX19" fmla="*/ 560017 w 1574500"/>
              <a:gd name="connsiteY19" fmla="*/ 944594 h 952845"/>
              <a:gd name="connsiteX20" fmla="*/ 566547 w 1574500"/>
              <a:gd name="connsiteY20" fmla="*/ 844990 h 952845"/>
              <a:gd name="connsiteX21" fmla="*/ 1532250 w 1574500"/>
              <a:gd name="connsiteY21" fmla="*/ 935525 h 952845"/>
              <a:gd name="connsiteX22" fmla="*/ 1574500 w 1574500"/>
              <a:gd name="connsiteY22" fmla="*/ 190123 h 952845"/>
              <a:gd name="connsiteX23" fmla="*/ 1191236 w 1574500"/>
              <a:gd name="connsiteY23" fmla="*/ 156927 h 952845"/>
              <a:gd name="connsiteX24" fmla="*/ 1010167 w 1574500"/>
              <a:gd name="connsiteY24" fmla="*/ 141837 h 952845"/>
              <a:gd name="connsiteX25" fmla="*/ 910579 w 1574500"/>
              <a:gd name="connsiteY25" fmla="*/ 138820 h 952845"/>
              <a:gd name="connsiteX26" fmla="*/ 744599 w 1574500"/>
              <a:gd name="connsiteY26" fmla="*/ 111659 h 952845"/>
              <a:gd name="connsiteX27" fmla="*/ 599743 w 1574500"/>
              <a:gd name="connsiteY27" fmla="*/ 93552 h 952845"/>
              <a:gd name="connsiteX28" fmla="*/ 29375 w 1574500"/>
              <a:gd name="connsiteY28" fmla="*/ 0 h 952845"/>
              <a:gd name="connsiteX0" fmla="*/ 29375 w 1574500"/>
              <a:gd name="connsiteY0" fmla="*/ 0 h 952845"/>
              <a:gd name="connsiteX1" fmla="*/ 26357 w 1574500"/>
              <a:gd name="connsiteY1" fmla="*/ 63374 h 952845"/>
              <a:gd name="connsiteX2" fmla="*/ 2215 w 1574500"/>
              <a:gd name="connsiteY2" fmla="*/ 129766 h 952845"/>
              <a:gd name="connsiteX3" fmla="*/ 0 w 1574500"/>
              <a:gd name="connsiteY3" fmla="*/ 308931 h 952845"/>
              <a:gd name="connsiteX4" fmla="*/ 86191 w 1574500"/>
              <a:gd name="connsiteY4" fmla="*/ 429646 h 952845"/>
              <a:gd name="connsiteX5" fmla="*/ 148421 w 1574500"/>
              <a:gd name="connsiteY5" fmla="*/ 485877 h 952845"/>
              <a:gd name="connsiteX6" fmla="*/ 123656 w 1574500"/>
              <a:gd name="connsiteY6" fmla="*/ 567360 h 952845"/>
              <a:gd name="connsiteX7" fmla="*/ 132705 w 1574500"/>
              <a:gd name="connsiteY7" fmla="*/ 618663 h 952845"/>
              <a:gd name="connsiteX8" fmla="*/ 113874 w 1574500"/>
              <a:gd name="connsiteY8" fmla="*/ 645814 h 952845"/>
              <a:gd name="connsiteX9" fmla="*/ 119910 w 1574500"/>
              <a:gd name="connsiteY9" fmla="*/ 679010 h 952845"/>
              <a:gd name="connsiteX10" fmla="*/ 192337 w 1574500"/>
              <a:gd name="connsiteY10" fmla="*/ 675992 h 952845"/>
              <a:gd name="connsiteX11" fmla="*/ 210444 w 1574500"/>
              <a:gd name="connsiteY11" fmla="*/ 739366 h 952845"/>
              <a:gd name="connsiteX12" fmla="*/ 216480 w 1574500"/>
              <a:gd name="connsiteY12" fmla="*/ 775580 h 952845"/>
              <a:gd name="connsiteX13" fmla="*/ 237605 w 1574500"/>
              <a:gd name="connsiteY13" fmla="*/ 817830 h 952845"/>
              <a:gd name="connsiteX14" fmla="*/ 227946 w 1574500"/>
              <a:gd name="connsiteY14" fmla="*/ 874216 h 952845"/>
              <a:gd name="connsiteX15" fmla="*/ 312230 w 1574500"/>
              <a:gd name="connsiteY15" fmla="*/ 952209 h 952845"/>
              <a:gd name="connsiteX16" fmla="*/ 396844 w 1574500"/>
              <a:gd name="connsiteY16" fmla="*/ 938866 h 952845"/>
              <a:gd name="connsiteX17" fmla="*/ 455399 w 1574500"/>
              <a:gd name="connsiteY17" fmla="*/ 952845 h 952845"/>
              <a:gd name="connsiteX18" fmla="*/ 509209 w 1574500"/>
              <a:gd name="connsiteY18" fmla="*/ 899311 h 952845"/>
              <a:gd name="connsiteX19" fmla="*/ 560017 w 1574500"/>
              <a:gd name="connsiteY19" fmla="*/ 944594 h 952845"/>
              <a:gd name="connsiteX20" fmla="*/ 566547 w 1574500"/>
              <a:gd name="connsiteY20" fmla="*/ 844990 h 952845"/>
              <a:gd name="connsiteX21" fmla="*/ 1532250 w 1574500"/>
              <a:gd name="connsiteY21" fmla="*/ 935525 h 952845"/>
              <a:gd name="connsiteX22" fmla="*/ 1574500 w 1574500"/>
              <a:gd name="connsiteY22" fmla="*/ 190123 h 952845"/>
              <a:gd name="connsiteX23" fmla="*/ 1191236 w 1574500"/>
              <a:gd name="connsiteY23" fmla="*/ 156927 h 952845"/>
              <a:gd name="connsiteX24" fmla="*/ 1010167 w 1574500"/>
              <a:gd name="connsiteY24" fmla="*/ 141837 h 952845"/>
              <a:gd name="connsiteX25" fmla="*/ 910579 w 1574500"/>
              <a:gd name="connsiteY25" fmla="*/ 138820 h 952845"/>
              <a:gd name="connsiteX26" fmla="*/ 744599 w 1574500"/>
              <a:gd name="connsiteY26" fmla="*/ 111659 h 952845"/>
              <a:gd name="connsiteX27" fmla="*/ 599743 w 1574500"/>
              <a:gd name="connsiteY27" fmla="*/ 93552 h 952845"/>
              <a:gd name="connsiteX28" fmla="*/ 29375 w 1574500"/>
              <a:gd name="connsiteY28" fmla="*/ 0 h 952845"/>
              <a:gd name="connsiteX0" fmla="*/ 29375 w 1574500"/>
              <a:gd name="connsiteY0" fmla="*/ 0 h 952845"/>
              <a:gd name="connsiteX1" fmla="*/ 26357 w 1574500"/>
              <a:gd name="connsiteY1" fmla="*/ 63374 h 952845"/>
              <a:gd name="connsiteX2" fmla="*/ 2215 w 1574500"/>
              <a:gd name="connsiteY2" fmla="*/ 129766 h 952845"/>
              <a:gd name="connsiteX3" fmla="*/ 0 w 1574500"/>
              <a:gd name="connsiteY3" fmla="*/ 308931 h 952845"/>
              <a:gd name="connsiteX4" fmla="*/ 86191 w 1574500"/>
              <a:gd name="connsiteY4" fmla="*/ 429646 h 952845"/>
              <a:gd name="connsiteX5" fmla="*/ 148421 w 1574500"/>
              <a:gd name="connsiteY5" fmla="*/ 485877 h 952845"/>
              <a:gd name="connsiteX6" fmla="*/ 123656 w 1574500"/>
              <a:gd name="connsiteY6" fmla="*/ 567360 h 952845"/>
              <a:gd name="connsiteX7" fmla="*/ 132705 w 1574500"/>
              <a:gd name="connsiteY7" fmla="*/ 618663 h 952845"/>
              <a:gd name="connsiteX8" fmla="*/ 113874 w 1574500"/>
              <a:gd name="connsiteY8" fmla="*/ 645814 h 952845"/>
              <a:gd name="connsiteX9" fmla="*/ 119910 w 1574500"/>
              <a:gd name="connsiteY9" fmla="*/ 679010 h 952845"/>
              <a:gd name="connsiteX10" fmla="*/ 192337 w 1574500"/>
              <a:gd name="connsiteY10" fmla="*/ 675992 h 952845"/>
              <a:gd name="connsiteX11" fmla="*/ 210444 w 1574500"/>
              <a:gd name="connsiteY11" fmla="*/ 739366 h 952845"/>
              <a:gd name="connsiteX12" fmla="*/ 216480 w 1574500"/>
              <a:gd name="connsiteY12" fmla="*/ 775580 h 952845"/>
              <a:gd name="connsiteX13" fmla="*/ 237605 w 1574500"/>
              <a:gd name="connsiteY13" fmla="*/ 817830 h 952845"/>
              <a:gd name="connsiteX14" fmla="*/ 227946 w 1574500"/>
              <a:gd name="connsiteY14" fmla="*/ 874216 h 952845"/>
              <a:gd name="connsiteX15" fmla="*/ 312230 w 1574500"/>
              <a:gd name="connsiteY15" fmla="*/ 952209 h 952845"/>
              <a:gd name="connsiteX16" fmla="*/ 396844 w 1574500"/>
              <a:gd name="connsiteY16" fmla="*/ 938866 h 952845"/>
              <a:gd name="connsiteX17" fmla="*/ 455399 w 1574500"/>
              <a:gd name="connsiteY17" fmla="*/ 952845 h 952845"/>
              <a:gd name="connsiteX18" fmla="*/ 513669 w 1574500"/>
              <a:gd name="connsiteY18" fmla="*/ 904089 h 952845"/>
              <a:gd name="connsiteX19" fmla="*/ 560017 w 1574500"/>
              <a:gd name="connsiteY19" fmla="*/ 944594 h 952845"/>
              <a:gd name="connsiteX20" fmla="*/ 566547 w 1574500"/>
              <a:gd name="connsiteY20" fmla="*/ 844990 h 952845"/>
              <a:gd name="connsiteX21" fmla="*/ 1532250 w 1574500"/>
              <a:gd name="connsiteY21" fmla="*/ 935525 h 952845"/>
              <a:gd name="connsiteX22" fmla="*/ 1574500 w 1574500"/>
              <a:gd name="connsiteY22" fmla="*/ 190123 h 952845"/>
              <a:gd name="connsiteX23" fmla="*/ 1191236 w 1574500"/>
              <a:gd name="connsiteY23" fmla="*/ 156927 h 952845"/>
              <a:gd name="connsiteX24" fmla="*/ 1010167 w 1574500"/>
              <a:gd name="connsiteY24" fmla="*/ 141837 h 952845"/>
              <a:gd name="connsiteX25" fmla="*/ 910579 w 1574500"/>
              <a:gd name="connsiteY25" fmla="*/ 138820 h 952845"/>
              <a:gd name="connsiteX26" fmla="*/ 744599 w 1574500"/>
              <a:gd name="connsiteY26" fmla="*/ 111659 h 952845"/>
              <a:gd name="connsiteX27" fmla="*/ 599743 w 1574500"/>
              <a:gd name="connsiteY27" fmla="*/ 93552 h 952845"/>
              <a:gd name="connsiteX28" fmla="*/ 29375 w 1574500"/>
              <a:gd name="connsiteY28" fmla="*/ 0 h 9528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74500" h="952845">
                <a:moveTo>
                  <a:pt x="29375" y="0"/>
                </a:moveTo>
                <a:lnTo>
                  <a:pt x="26357" y="63374"/>
                </a:lnTo>
                <a:lnTo>
                  <a:pt x="2215" y="129766"/>
                </a:lnTo>
                <a:cubicBezTo>
                  <a:pt x="1477" y="189488"/>
                  <a:pt x="738" y="249209"/>
                  <a:pt x="0" y="308931"/>
                </a:cubicBezTo>
                <a:lnTo>
                  <a:pt x="86191" y="429646"/>
                </a:lnTo>
                <a:lnTo>
                  <a:pt x="148421" y="485877"/>
                </a:lnTo>
                <a:lnTo>
                  <a:pt x="123656" y="567360"/>
                </a:lnTo>
                <a:lnTo>
                  <a:pt x="132705" y="618663"/>
                </a:lnTo>
                <a:lnTo>
                  <a:pt x="113874" y="645814"/>
                </a:lnTo>
                <a:lnTo>
                  <a:pt x="119910" y="679010"/>
                </a:lnTo>
                <a:lnTo>
                  <a:pt x="192337" y="675992"/>
                </a:lnTo>
                <a:lnTo>
                  <a:pt x="210444" y="739366"/>
                </a:lnTo>
                <a:lnTo>
                  <a:pt x="216480" y="775580"/>
                </a:lnTo>
                <a:lnTo>
                  <a:pt x="237605" y="817830"/>
                </a:lnTo>
                <a:lnTo>
                  <a:pt x="227946" y="874216"/>
                </a:lnTo>
                <a:lnTo>
                  <a:pt x="312230" y="952209"/>
                </a:lnTo>
                <a:lnTo>
                  <a:pt x="396844" y="938866"/>
                </a:lnTo>
                <a:lnTo>
                  <a:pt x="455399" y="952845"/>
                </a:lnTo>
                <a:lnTo>
                  <a:pt x="513669" y="904089"/>
                </a:lnTo>
                <a:lnTo>
                  <a:pt x="560017" y="944594"/>
                </a:lnTo>
                <a:lnTo>
                  <a:pt x="566547" y="844990"/>
                </a:lnTo>
                <a:lnTo>
                  <a:pt x="1532250" y="935525"/>
                </a:lnTo>
                <a:lnTo>
                  <a:pt x="1574500" y="190123"/>
                </a:lnTo>
                <a:lnTo>
                  <a:pt x="1191236" y="156927"/>
                </a:lnTo>
                <a:lnTo>
                  <a:pt x="1010167" y="141837"/>
                </a:lnTo>
                <a:lnTo>
                  <a:pt x="910579" y="138820"/>
                </a:lnTo>
                <a:lnTo>
                  <a:pt x="744599" y="111659"/>
                </a:lnTo>
                <a:lnTo>
                  <a:pt x="599743" y="93552"/>
                </a:lnTo>
                <a:lnTo>
                  <a:pt x="29375"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6" name="Freeform 15"/>
          <p:cNvSpPr/>
          <p:nvPr/>
        </p:nvSpPr>
        <p:spPr>
          <a:xfrm>
            <a:off x="3759096" y="2032484"/>
            <a:ext cx="968018" cy="578823"/>
          </a:xfrm>
          <a:custGeom>
            <a:avLst/>
            <a:gdLst>
              <a:gd name="connsiteX0" fmla="*/ 27160 w 1001916"/>
              <a:gd name="connsiteY0" fmla="*/ 18107 h 597529"/>
              <a:gd name="connsiteX1" fmla="*/ 0 w 1001916"/>
              <a:gd name="connsiteY1" fmla="*/ 597529 h 597529"/>
              <a:gd name="connsiteX2" fmla="*/ 998899 w 1001916"/>
              <a:gd name="connsiteY2" fmla="*/ 588475 h 597529"/>
              <a:gd name="connsiteX3" fmla="*/ 1001916 w 1001916"/>
              <a:gd name="connsiteY3" fmla="*/ 537172 h 597529"/>
              <a:gd name="connsiteX4" fmla="*/ 974756 w 1001916"/>
              <a:gd name="connsiteY4" fmla="*/ 416459 h 597529"/>
              <a:gd name="connsiteX5" fmla="*/ 971738 w 1001916"/>
              <a:gd name="connsiteY5" fmla="*/ 316871 h 597529"/>
              <a:gd name="connsiteX6" fmla="*/ 932506 w 1001916"/>
              <a:gd name="connsiteY6" fmla="*/ 223319 h 597529"/>
              <a:gd name="connsiteX7" fmla="*/ 905346 w 1001916"/>
              <a:gd name="connsiteY7" fmla="*/ 196158 h 597529"/>
              <a:gd name="connsiteX8" fmla="*/ 911382 w 1001916"/>
              <a:gd name="connsiteY8" fmla="*/ 78463 h 597529"/>
              <a:gd name="connsiteX9" fmla="*/ 878186 w 1001916"/>
              <a:gd name="connsiteY9" fmla="*/ 0 h 597529"/>
              <a:gd name="connsiteX10" fmla="*/ 485869 w 1001916"/>
              <a:gd name="connsiteY10" fmla="*/ 27160 h 597529"/>
              <a:gd name="connsiteX11" fmla="*/ 350067 w 1001916"/>
              <a:gd name="connsiteY11" fmla="*/ 30178 h 597529"/>
              <a:gd name="connsiteX12" fmla="*/ 27160 w 1001916"/>
              <a:gd name="connsiteY12" fmla="*/ 18107 h 5975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001916" h="597529">
                <a:moveTo>
                  <a:pt x="27160" y="18107"/>
                </a:moveTo>
                <a:lnTo>
                  <a:pt x="0" y="597529"/>
                </a:lnTo>
                <a:lnTo>
                  <a:pt x="998899" y="588475"/>
                </a:lnTo>
                <a:lnTo>
                  <a:pt x="1001916" y="537172"/>
                </a:lnTo>
                <a:lnTo>
                  <a:pt x="974756" y="416459"/>
                </a:lnTo>
                <a:lnTo>
                  <a:pt x="971738" y="316871"/>
                </a:lnTo>
                <a:lnTo>
                  <a:pt x="932506" y="223319"/>
                </a:lnTo>
                <a:lnTo>
                  <a:pt x="905346" y="196158"/>
                </a:lnTo>
                <a:lnTo>
                  <a:pt x="911382" y="78463"/>
                </a:lnTo>
                <a:lnTo>
                  <a:pt x="878186" y="0"/>
                </a:lnTo>
                <a:lnTo>
                  <a:pt x="485869" y="27160"/>
                </a:lnTo>
                <a:lnTo>
                  <a:pt x="350067" y="30178"/>
                </a:lnTo>
                <a:lnTo>
                  <a:pt x="27160" y="18107"/>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7" name="Freeform 16"/>
          <p:cNvSpPr/>
          <p:nvPr/>
        </p:nvSpPr>
        <p:spPr>
          <a:xfrm>
            <a:off x="3729948" y="2594375"/>
            <a:ext cx="1061599" cy="631163"/>
          </a:xfrm>
          <a:custGeom>
            <a:avLst/>
            <a:gdLst>
              <a:gd name="connsiteX0" fmla="*/ 36214 w 1095470"/>
              <a:gd name="connsiteY0" fmla="*/ 12071 h 636760"/>
              <a:gd name="connsiteX1" fmla="*/ 0 w 1095470"/>
              <a:gd name="connsiteY1" fmla="*/ 555279 h 636760"/>
              <a:gd name="connsiteX2" fmla="*/ 437584 w 1095470"/>
              <a:gd name="connsiteY2" fmla="*/ 570368 h 636760"/>
              <a:gd name="connsiteX3" fmla="*/ 642796 w 1095470"/>
              <a:gd name="connsiteY3" fmla="*/ 567350 h 636760"/>
              <a:gd name="connsiteX4" fmla="*/ 772563 w 1095470"/>
              <a:gd name="connsiteY4" fmla="*/ 564333 h 636760"/>
              <a:gd name="connsiteX5" fmla="*/ 811794 w 1095470"/>
              <a:gd name="connsiteY5" fmla="*/ 570368 h 636760"/>
              <a:gd name="connsiteX6" fmla="*/ 863097 w 1095470"/>
              <a:gd name="connsiteY6" fmla="*/ 588475 h 636760"/>
              <a:gd name="connsiteX7" fmla="*/ 923454 w 1095470"/>
              <a:gd name="connsiteY7" fmla="*/ 567350 h 636760"/>
              <a:gd name="connsiteX8" fmla="*/ 974757 w 1095470"/>
              <a:gd name="connsiteY8" fmla="*/ 588475 h 636760"/>
              <a:gd name="connsiteX9" fmla="*/ 989846 w 1095470"/>
              <a:gd name="connsiteY9" fmla="*/ 609600 h 636760"/>
              <a:gd name="connsiteX10" fmla="*/ 1035113 w 1095470"/>
              <a:gd name="connsiteY10" fmla="*/ 603564 h 636760"/>
              <a:gd name="connsiteX11" fmla="*/ 1095470 w 1095470"/>
              <a:gd name="connsiteY11" fmla="*/ 636760 h 636760"/>
              <a:gd name="connsiteX12" fmla="*/ 1086416 w 1095470"/>
              <a:gd name="connsiteY12" fmla="*/ 585457 h 636760"/>
              <a:gd name="connsiteX13" fmla="*/ 1095470 w 1095470"/>
              <a:gd name="connsiteY13" fmla="*/ 528119 h 636760"/>
              <a:gd name="connsiteX14" fmla="*/ 1077363 w 1095470"/>
              <a:gd name="connsiteY14" fmla="*/ 461727 h 636760"/>
              <a:gd name="connsiteX15" fmla="*/ 1065291 w 1095470"/>
              <a:gd name="connsiteY15" fmla="*/ 111659 h 636760"/>
              <a:gd name="connsiteX16" fmla="*/ 1020024 w 1095470"/>
              <a:gd name="connsiteY16" fmla="*/ 81481 h 636760"/>
              <a:gd name="connsiteX17" fmla="*/ 1023042 w 1095470"/>
              <a:gd name="connsiteY17" fmla="*/ 45267 h 636760"/>
              <a:gd name="connsiteX18" fmla="*/ 1032095 w 1095470"/>
              <a:gd name="connsiteY18" fmla="*/ 0 h 636760"/>
              <a:gd name="connsiteX19" fmla="*/ 36214 w 1095470"/>
              <a:gd name="connsiteY19" fmla="*/ 12071 h 636760"/>
              <a:gd name="connsiteX0" fmla="*/ 26691 w 1095470"/>
              <a:gd name="connsiteY0" fmla="*/ 4928 h 636760"/>
              <a:gd name="connsiteX1" fmla="*/ 0 w 1095470"/>
              <a:gd name="connsiteY1" fmla="*/ 555279 h 636760"/>
              <a:gd name="connsiteX2" fmla="*/ 437584 w 1095470"/>
              <a:gd name="connsiteY2" fmla="*/ 570368 h 636760"/>
              <a:gd name="connsiteX3" fmla="*/ 642796 w 1095470"/>
              <a:gd name="connsiteY3" fmla="*/ 567350 h 636760"/>
              <a:gd name="connsiteX4" fmla="*/ 772563 w 1095470"/>
              <a:gd name="connsiteY4" fmla="*/ 564333 h 636760"/>
              <a:gd name="connsiteX5" fmla="*/ 811794 w 1095470"/>
              <a:gd name="connsiteY5" fmla="*/ 570368 h 636760"/>
              <a:gd name="connsiteX6" fmla="*/ 863097 w 1095470"/>
              <a:gd name="connsiteY6" fmla="*/ 588475 h 636760"/>
              <a:gd name="connsiteX7" fmla="*/ 923454 w 1095470"/>
              <a:gd name="connsiteY7" fmla="*/ 567350 h 636760"/>
              <a:gd name="connsiteX8" fmla="*/ 974757 w 1095470"/>
              <a:gd name="connsiteY8" fmla="*/ 588475 h 636760"/>
              <a:gd name="connsiteX9" fmla="*/ 989846 w 1095470"/>
              <a:gd name="connsiteY9" fmla="*/ 609600 h 636760"/>
              <a:gd name="connsiteX10" fmla="*/ 1035113 w 1095470"/>
              <a:gd name="connsiteY10" fmla="*/ 603564 h 636760"/>
              <a:gd name="connsiteX11" fmla="*/ 1095470 w 1095470"/>
              <a:gd name="connsiteY11" fmla="*/ 636760 h 636760"/>
              <a:gd name="connsiteX12" fmla="*/ 1086416 w 1095470"/>
              <a:gd name="connsiteY12" fmla="*/ 585457 h 636760"/>
              <a:gd name="connsiteX13" fmla="*/ 1095470 w 1095470"/>
              <a:gd name="connsiteY13" fmla="*/ 528119 h 636760"/>
              <a:gd name="connsiteX14" fmla="*/ 1077363 w 1095470"/>
              <a:gd name="connsiteY14" fmla="*/ 461727 h 636760"/>
              <a:gd name="connsiteX15" fmla="*/ 1065291 w 1095470"/>
              <a:gd name="connsiteY15" fmla="*/ 111659 h 636760"/>
              <a:gd name="connsiteX16" fmla="*/ 1020024 w 1095470"/>
              <a:gd name="connsiteY16" fmla="*/ 81481 h 636760"/>
              <a:gd name="connsiteX17" fmla="*/ 1023042 w 1095470"/>
              <a:gd name="connsiteY17" fmla="*/ 45267 h 636760"/>
              <a:gd name="connsiteX18" fmla="*/ 1032095 w 1095470"/>
              <a:gd name="connsiteY18" fmla="*/ 0 h 636760"/>
              <a:gd name="connsiteX19" fmla="*/ 26691 w 1095470"/>
              <a:gd name="connsiteY19" fmla="*/ 4928 h 636760"/>
              <a:gd name="connsiteX0" fmla="*/ 26691 w 1095470"/>
              <a:gd name="connsiteY0" fmla="*/ 16837 h 648669"/>
              <a:gd name="connsiteX1" fmla="*/ 0 w 1095470"/>
              <a:gd name="connsiteY1" fmla="*/ 567188 h 648669"/>
              <a:gd name="connsiteX2" fmla="*/ 437584 w 1095470"/>
              <a:gd name="connsiteY2" fmla="*/ 582277 h 648669"/>
              <a:gd name="connsiteX3" fmla="*/ 642796 w 1095470"/>
              <a:gd name="connsiteY3" fmla="*/ 579259 h 648669"/>
              <a:gd name="connsiteX4" fmla="*/ 772563 w 1095470"/>
              <a:gd name="connsiteY4" fmla="*/ 576242 h 648669"/>
              <a:gd name="connsiteX5" fmla="*/ 811794 w 1095470"/>
              <a:gd name="connsiteY5" fmla="*/ 582277 h 648669"/>
              <a:gd name="connsiteX6" fmla="*/ 863097 w 1095470"/>
              <a:gd name="connsiteY6" fmla="*/ 600384 h 648669"/>
              <a:gd name="connsiteX7" fmla="*/ 923454 w 1095470"/>
              <a:gd name="connsiteY7" fmla="*/ 579259 h 648669"/>
              <a:gd name="connsiteX8" fmla="*/ 974757 w 1095470"/>
              <a:gd name="connsiteY8" fmla="*/ 600384 h 648669"/>
              <a:gd name="connsiteX9" fmla="*/ 989846 w 1095470"/>
              <a:gd name="connsiteY9" fmla="*/ 621509 h 648669"/>
              <a:gd name="connsiteX10" fmla="*/ 1035113 w 1095470"/>
              <a:gd name="connsiteY10" fmla="*/ 615473 h 648669"/>
              <a:gd name="connsiteX11" fmla="*/ 1095470 w 1095470"/>
              <a:gd name="connsiteY11" fmla="*/ 648669 h 648669"/>
              <a:gd name="connsiteX12" fmla="*/ 1086416 w 1095470"/>
              <a:gd name="connsiteY12" fmla="*/ 597366 h 648669"/>
              <a:gd name="connsiteX13" fmla="*/ 1095470 w 1095470"/>
              <a:gd name="connsiteY13" fmla="*/ 540028 h 648669"/>
              <a:gd name="connsiteX14" fmla="*/ 1077363 w 1095470"/>
              <a:gd name="connsiteY14" fmla="*/ 473636 h 648669"/>
              <a:gd name="connsiteX15" fmla="*/ 1065291 w 1095470"/>
              <a:gd name="connsiteY15" fmla="*/ 123568 h 648669"/>
              <a:gd name="connsiteX16" fmla="*/ 1020024 w 1095470"/>
              <a:gd name="connsiteY16" fmla="*/ 93390 h 648669"/>
              <a:gd name="connsiteX17" fmla="*/ 1023042 w 1095470"/>
              <a:gd name="connsiteY17" fmla="*/ 57176 h 648669"/>
              <a:gd name="connsiteX18" fmla="*/ 1034566 w 1095470"/>
              <a:gd name="connsiteY18" fmla="*/ 0 h 648669"/>
              <a:gd name="connsiteX19" fmla="*/ 26691 w 1095470"/>
              <a:gd name="connsiteY19" fmla="*/ 16837 h 648669"/>
              <a:gd name="connsiteX0" fmla="*/ 26691 w 1095470"/>
              <a:gd name="connsiteY0" fmla="*/ 19220 h 651052"/>
              <a:gd name="connsiteX1" fmla="*/ 0 w 1095470"/>
              <a:gd name="connsiteY1" fmla="*/ 569571 h 651052"/>
              <a:gd name="connsiteX2" fmla="*/ 437584 w 1095470"/>
              <a:gd name="connsiteY2" fmla="*/ 584660 h 651052"/>
              <a:gd name="connsiteX3" fmla="*/ 642796 w 1095470"/>
              <a:gd name="connsiteY3" fmla="*/ 581642 h 651052"/>
              <a:gd name="connsiteX4" fmla="*/ 772563 w 1095470"/>
              <a:gd name="connsiteY4" fmla="*/ 578625 h 651052"/>
              <a:gd name="connsiteX5" fmla="*/ 811794 w 1095470"/>
              <a:gd name="connsiteY5" fmla="*/ 584660 h 651052"/>
              <a:gd name="connsiteX6" fmla="*/ 863097 w 1095470"/>
              <a:gd name="connsiteY6" fmla="*/ 602767 h 651052"/>
              <a:gd name="connsiteX7" fmla="*/ 923454 w 1095470"/>
              <a:gd name="connsiteY7" fmla="*/ 581642 h 651052"/>
              <a:gd name="connsiteX8" fmla="*/ 974757 w 1095470"/>
              <a:gd name="connsiteY8" fmla="*/ 602767 h 651052"/>
              <a:gd name="connsiteX9" fmla="*/ 989846 w 1095470"/>
              <a:gd name="connsiteY9" fmla="*/ 623892 h 651052"/>
              <a:gd name="connsiteX10" fmla="*/ 1035113 w 1095470"/>
              <a:gd name="connsiteY10" fmla="*/ 617856 h 651052"/>
              <a:gd name="connsiteX11" fmla="*/ 1095470 w 1095470"/>
              <a:gd name="connsiteY11" fmla="*/ 651052 h 651052"/>
              <a:gd name="connsiteX12" fmla="*/ 1086416 w 1095470"/>
              <a:gd name="connsiteY12" fmla="*/ 599749 h 651052"/>
              <a:gd name="connsiteX13" fmla="*/ 1095470 w 1095470"/>
              <a:gd name="connsiteY13" fmla="*/ 542411 h 651052"/>
              <a:gd name="connsiteX14" fmla="*/ 1077363 w 1095470"/>
              <a:gd name="connsiteY14" fmla="*/ 476019 h 651052"/>
              <a:gd name="connsiteX15" fmla="*/ 1065291 w 1095470"/>
              <a:gd name="connsiteY15" fmla="*/ 125951 h 651052"/>
              <a:gd name="connsiteX16" fmla="*/ 1020024 w 1095470"/>
              <a:gd name="connsiteY16" fmla="*/ 95773 h 651052"/>
              <a:gd name="connsiteX17" fmla="*/ 1023042 w 1095470"/>
              <a:gd name="connsiteY17" fmla="*/ 59559 h 651052"/>
              <a:gd name="connsiteX18" fmla="*/ 1044182 w 1095470"/>
              <a:gd name="connsiteY18" fmla="*/ 0 h 651052"/>
              <a:gd name="connsiteX19" fmla="*/ 26691 w 1095470"/>
              <a:gd name="connsiteY19" fmla="*/ 19220 h 651052"/>
              <a:gd name="connsiteX0" fmla="*/ 26691 w 1095470"/>
              <a:gd name="connsiteY0" fmla="*/ 19220 h 651052"/>
              <a:gd name="connsiteX1" fmla="*/ 0 w 1095470"/>
              <a:gd name="connsiteY1" fmla="*/ 569571 h 651052"/>
              <a:gd name="connsiteX2" fmla="*/ 437584 w 1095470"/>
              <a:gd name="connsiteY2" fmla="*/ 584660 h 651052"/>
              <a:gd name="connsiteX3" fmla="*/ 642796 w 1095470"/>
              <a:gd name="connsiteY3" fmla="*/ 581642 h 651052"/>
              <a:gd name="connsiteX4" fmla="*/ 772563 w 1095470"/>
              <a:gd name="connsiteY4" fmla="*/ 578625 h 651052"/>
              <a:gd name="connsiteX5" fmla="*/ 811794 w 1095470"/>
              <a:gd name="connsiteY5" fmla="*/ 584660 h 651052"/>
              <a:gd name="connsiteX6" fmla="*/ 863097 w 1095470"/>
              <a:gd name="connsiteY6" fmla="*/ 602767 h 651052"/>
              <a:gd name="connsiteX7" fmla="*/ 923454 w 1095470"/>
              <a:gd name="connsiteY7" fmla="*/ 581642 h 651052"/>
              <a:gd name="connsiteX8" fmla="*/ 974757 w 1095470"/>
              <a:gd name="connsiteY8" fmla="*/ 602767 h 651052"/>
              <a:gd name="connsiteX9" fmla="*/ 989846 w 1095470"/>
              <a:gd name="connsiteY9" fmla="*/ 623892 h 651052"/>
              <a:gd name="connsiteX10" fmla="*/ 1035113 w 1095470"/>
              <a:gd name="connsiteY10" fmla="*/ 617856 h 651052"/>
              <a:gd name="connsiteX11" fmla="*/ 1095470 w 1095470"/>
              <a:gd name="connsiteY11" fmla="*/ 651052 h 651052"/>
              <a:gd name="connsiteX12" fmla="*/ 1086416 w 1095470"/>
              <a:gd name="connsiteY12" fmla="*/ 599749 h 651052"/>
              <a:gd name="connsiteX13" fmla="*/ 1095470 w 1095470"/>
              <a:gd name="connsiteY13" fmla="*/ 542411 h 651052"/>
              <a:gd name="connsiteX14" fmla="*/ 1077363 w 1095470"/>
              <a:gd name="connsiteY14" fmla="*/ 476019 h 651052"/>
              <a:gd name="connsiteX15" fmla="*/ 1065291 w 1095470"/>
              <a:gd name="connsiteY15" fmla="*/ 125951 h 651052"/>
              <a:gd name="connsiteX16" fmla="*/ 1020024 w 1095470"/>
              <a:gd name="connsiteY16" fmla="*/ 95773 h 651052"/>
              <a:gd name="connsiteX17" fmla="*/ 1035038 w 1095470"/>
              <a:gd name="connsiteY17" fmla="*/ 59575 h 651052"/>
              <a:gd name="connsiteX18" fmla="*/ 1044182 w 1095470"/>
              <a:gd name="connsiteY18" fmla="*/ 0 h 651052"/>
              <a:gd name="connsiteX19" fmla="*/ 26691 w 1095470"/>
              <a:gd name="connsiteY19" fmla="*/ 19220 h 651052"/>
              <a:gd name="connsiteX0" fmla="*/ 26691 w 1095470"/>
              <a:gd name="connsiteY0" fmla="*/ 19220 h 651052"/>
              <a:gd name="connsiteX1" fmla="*/ 0 w 1095470"/>
              <a:gd name="connsiteY1" fmla="*/ 569571 h 651052"/>
              <a:gd name="connsiteX2" fmla="*/ 437584 w 1095470"/>
              <a:gd name="connsiteY2" fmla="*/ 584660 h 651052"/>
              <a:gd name="connsiteX3" fmla="*/ 642796 w 1095470"/>
              <a:gd name="connsiteY3" fmla="*/ 581642 h 651052"/>
              <a:gd name="connsiteX4" fmla="*/ 772563 w 1095470"/>
              <a:gd name="connsiteY4" fmla="*/ 578625 h 651052"/>
              <a:gd name="connsiteX5" fmla="*/ 811794 w 1095470"/>
              <a:gd name="connsiteY5" fmla="*/ 584660 h 651052"/>
              <a:gd name="connsiteX6" fmla="*/ 863097 w 1095470"/>
              <a:gd name="connsiteY6" fmla="*/ 602767 h 651052"/>
              <a:gd name="connsiteX7" fmla="*/ 923454 w 1095470"/>
              <a:gd name="connsiteY7" fmla="*/ 581642 h 651052"/>
              <a:gd name="connsiteX8" fmla="*/ 974757 w 1095470"/>
              <a:gd name="connsiteY8" fmla="*/ 602767 h 651052"/>
              <a:gd name="connsiteX9" fmla="*/ 989846 w 1095470"/>
              <a:gd name="connsiteY9" fmla="*/ 623892 h 651052"/>
              <a:gd name="connsiteX10" fmla="*/ 1035113 w 1095470"/>
              <a:gd name="connsiteY10" fmla="*/ 617856 h 651052"/>
              <a:gd name="connsiteX11" fmla="*/ 1095470 w 1095470"/>
              <a:gd name="connsiteY11" fmla="*/ 651052 h 651052"/>
              <a:gd name="connsiteX12" fmla="*/ 1086416 w 1095470"/>
              <a:gd name="connsiteY12" fmla="*/ 599749 h 651052"/>
              <a:gd name="connsiteX13" fmla="*/ 1095470 w 1095470"/>
              <a:gd name="connsiteY13" fmla="*/ 542411 h 651052"/>
              <a:gd name="connsiteX14" fmla="*/ 1077363 w 1095470"/>
              <a:gd name="connsiteY14" fmla="*/ 476019 h 651052"/>
              <a:gd name="connsiteX15" fmla="*/ 1077291 w 1095470"/>
              <a:gd name="connsiteY15" fmla="*/ 125985 h 651052"/>
              <a:gd name="connsiteX16" fmla="*/ 1020024 w 1095470"/>
              <a:gd name="connsiteY16" fmla="*/ 95773 h 651052"/>
              <a:gd name="connsiteX17" fmla="*/ 1035038 w 1095470"/>
              <a:gd name="connsiteY17" fmla="*/ 59575 h 651052"/>
              <a:gd name="connsiteX18" fmla="*/ 1044182 w 1095470"/>
              <a:gd name="connsiteY18" fmla="*/ 0 h 651052"/>
              <a:gd name="connsiteX19" fmla="*/ 26691 w 1095470"/>
              <a:gd name="connsiteY19" fmla="*/ 19220 h 651052"/>
              <a:gd name="connsiteX0" fmla="*/ 26691 w 1098889"/>
              <a:gd name="connsiteY0" fmla="*/ 19220 h 651052"/>
              <a:gd name="connsiteX1" fmla="*/ 0 w 1098889"/>
              <a:gd name="connsiteY1" fmla="*/ 569571 h 651052"/>
              <a:gd name="connsiteX2" fmla="*/ 437584 w 1098889"/>
              <a:gd name="connsiteY2" fmla="*/ 584660 h 651052"/>
              <a:gd name="connsiteX3" fmla="*/ 642796 w 1098889"/>
              <a:gd name="connsiteY3" fmla="*/ 581642 h 651052"/>
              <a:gd name="connsiteX4" fmla="*/ 772563 w 1098889"/>
              <a:gd name="connsiteY4" fmla="*/ 578625 h 651052"/>
              <a:gd name="connsiteX5" fmla="*/ 811794 w 1098889"/>
              <a:gd name="connsiteY5" fmla="*/ 584660 h 651052"/>
              <a:gd name="connsiteX6" fmla="*/ 863097 w 1098889"/>
              <a:gd name="connsiteY6" fmla="*/ 602767 h 651052"/>
              <a:gd name="connsiteX7" fmla="*/ 923454 w 1098889"/>
              <a:gd name="connsiteY7" fmla="*/ 581642 h 651052"/>
              <a:gd name="connsiteX8" fmla="*/ 974757 w 1098889"/>
              <a:gd name="connsiteY8" fmla="*/ 602767 h 651052"/>
              <a:gd name="connsiteX9" fmla="*/ 989846 w 1098889"/>
              <a:gd name="connsiteY9" fmla="*/ 623892 h 651052"/>
              <a:gd name="connsiteX10" fmla="*/ 1035113 w 1098889"/>
              <a:gd name="connsiteY10" fmla="*/ 617856 h 651052"/>
              <a:gd name="connsiteX11" fmla="*/ 1095470 w 1098889"/>
              <a:gd name="connsiteY11" fmla="*/ 651052 h 651052"/>
              <a:gd name="connsiteX12" fmla="*/ 1086416 w 1098889"/>
              <a:gd name="connsiteY12" fmla="*/ 599749 h 651052"/>
              <a:gd name="connsiteX13" fmla="*/ 1095470 w 1098889"/>
              <a:gd name="connsiteY13" fmla="*/ 542411 h 651052"/>
              <a:gd name="connsiteX14" fmla="*/ 1098889 w 1098889"/>
              <a:gd name="connsiteY14" fmla="*/ 476148 h 651052"/>
              <a:gd name="connsiteX15" fmla="*/ 1077291 w 1098889"/>
              <a:gd name="connsiteY15" fmla="*/ 125985 h 651052"/>
              <a:gd name="connsiteX16" fmla="*/ 1020024 w 1098889"/>
              <a:gd name="connsiteY16" fmla="*/ 95773 h 651052"/>
              <a:gd name="connsiteX17" fmla="*/ 1035038 w 1098889"/>
              <a:gd name="connsiteY17" fmla="*/ 59575 h 651052"/>
              <a:gd name="connsiteX18" fmla="*/ 1044182 w 1098889"/>
              <a:gd name="connsiteY18" fmla="*/ 0 h 651052"/>
              <a:gd name="connsiteX19" fmla="*/ 26691 w 1098889"/>
              <a:gd name="connsiteY19" fmla="*/ 19220 h 651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098889" h="651052">
                <a:moveTo>
                  <a:pt x="26691" y="19220"/>
                </a:moveTo>
                <a:lnTo>
                  <a:pt x="0" y="569571"/>
                </a:lnTo>
                <a:lnTo>
                  <a:pt x="437584" y="584660"/>
                </a:lnTo>
                <a:lnTo>
                  <a:pt x="642796" y="581642"/>
                </a:lnTo>
                <a:lnTo>
                  <a:pt x="772563" y="578625"/>
                </a:lnTo>
                <a:lnTo>
                  <a:pt x="811794" y="584660"/>
                </a:lnTo>
                <a:lnTo>
                  <a:pt x="863097" y="602767"/>
                </a:lnTo>
                <a:lnTo>
                  <a:pt x="923454" y="581642"/>
                </a:lnTo>
                <a:lnTo>
                  <a:pt x="974757" y="602767"/>
                </a:lnTo>
                <a:lnTo>
                  <a:pt x="989846" y="623892"/>
                </a:lnTo>
                <a:lnTo>
                  <a:pt x="1035113" y="617856"/>
                </a:lnTo>
                <a:lnTo>
                  <a:pt x="1095470" y="651052"/>
                </a:lnTo>
                <a:lnTo>
                  <a:pt x="1086416" y="599749"/>
                </a:lnTo>
                <a:lnTo>
                  <a:pt x="1095470" y="542411"/>
                </a:lnTo>
                <a:lnTo>
                  <a:pt x="1098889" y="476148"/>
                </a:lnTo>
                <a:lnTo>
                  <a:pt x="1077291" y="125985"/>
                </a:lnTo>
                <a:lnTo>
                  <a:pt x="1020024" y="95773"/>
                </a:lnTo>
                <a:lnTo>
                  <a:pt x="1035038" y="59575"/>
                </a:lnTo>
                <a:lnTo>
                  <a:pt x="1044182" y="0"/>
                </a:lnTo>
                <a:lnTo>
                  <a:pt x="26691" y="1922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8" name="Freeform 17"/>
          <p:cNvSpPr/>
          <p:nvPr/>
        </p:nvSpPr>
        <p:spPr>
          <a:xfrm>
            <a:off x="3717676" y="3143948"/>
            <a:ext cx="1254895" cy="558810"/>
          </a:xfrm>
          <a:custGeom>
            <a:avLst/>
            <a:gdLst>
              <a:gd name="connsiteX0" fmla="*/ 9054 w 1297663"/>
              <a:gd name="connsiteY0" fmla="*/ 0 h 567350"/>
              <a:gd name="connsiteX1" fmla="*/ 0 w 1297663"/>
              <a:gd name="connsiteY1" fmla="*/ 377227 h 567350"/>
              <a:gd name="connsiteX2" fmla="*/ 298764 w 1297663"/>
              <a:gd name="connsiteY2" fmla="*/ 404388 h 567350"/>
              <a:gd name="connsiteX3" fmla="*/ 301782 w 1297663"/>
              <a:gd name="connsiteY3" fmla="*/ 567350 h 567350"/>
              <a:gd name="connsiteX4" fmla="*/ 754455 w 1297663"/>
              <a:gd name="connsiteY4" fmla="*/ 555279 h 567350"/>
              <a:gd name="connsiteX5" fmla="*/ 838955 w 1297663"/>
              <a:gd name="connsiteY5" fmla="*/ 555279 h 567350"/>
              <a:gd name="connsiteX6" fmla="*/ 1219200 w 1297663"/>
              <a:gd name="connsiteY6" fmla="*/ 534154 h 567350"/>
              <a:gd name="connsiteX7" fmla="*/ 1282574 w 1297663"/>
              <a:gd name="connsiteY7" fmla="*/ 534154 h 567350"/>
              <a:gd name="connsiteX8" fmla="*/ 1297663 w 1297663"/>
              <a:gd name="connsiteY8" fmla="*/ 534154 h 567350"/>
              <a:gd name="connsiteX9" fmla="*/ 1249378 w 1297663"/>
              <a:gd name="connsiteY9" fmla="*/ 467762 h 567350"/>
              <a:gd name="connsiteX10" fmla="*/ 1222218 w 1297663"/>
              <a:gd name="connsiteY10" fmla="*/ 413441 h 567350"/>
              <a:gd name="connsiteX11" fmla="*/ 1222218 w 1297663"/>
              <a:gd name="connsiteY11" fmla="*/ 334978 h 567350"/>
              <a:gd name="connsiteX12" fmla="*/ 1201093 w 1297663"/>
              <a:gd name="connsiteY12" fmla="*/ 283675 h 567350"/>
              <a:gd name="connsiteX13" fmla="*/ 1201093 w 1297663"/>
              <a:gd name="connsiteY13" fmla="*/ 256515 h 567350"/>
              <a:gd name="connsiteX14" fmla="*/ 1173933 w 1297663"/>
              <a:gd name="connsiteY14" fmla="*/ 229354 h 567350"/>
              <a:gd name="connsiteX15" fmla="*/ 1170915 w 1297663"/>
              <a:gd name="connsiteY15" fmla="*/ 202194 h 567350"/>
              <a:gd name="connsiteX16" fmla="*/ 1134701 w 1297663"/>
              <a:gd name="connsiteY16" fmla="*/ 147873 h 567350"/>
              <a:gd name="connsiteX17" fmla="*/ 1113576 w 1297663"/>
              <a:gd name="connsiteY17" fmla="*/ 75445 h 567350"/>
              <a:gd name="connsiteX18" fmla="*/ 1056238 w 1297663"/>
              <a:gd name="connsiteY18" fmla="*/ 45267 h 567350"/>
              <a:gd name="connsiteX19" fmla="*/ 1001917 w 1297663"/>
              <a:gd name="connsiteY19" fmla="*/ 48285 h 567350"/>
              <a:gd name="connsiteX20" fmla="*/ 983810 w 1297663"/>
              <a:gd name="connsiteY20" fmla="*/ 27160 h 567350"/>
              <a:gd name="connsiteX21" fmla="*/ 935525 w 1297663"/>
              <a:gd name="connsiteY21" fmla="*/ 9053 h 567350"/>
              <a:gd name="connsiteX22" fmla="*/ 872151 w 1297663"/>
              <a:gd name="connsiteY22" fmla="*/ 33196 h 567350"/>
              <a:gd name="connsiteX23" fmla="*/ 802741 w 1297663"/>
              <a:gd name="connsiteY23" fmla="*/ 0 h 567350"/>
              <a:gd name="connsiteX24" fmla="*/ 9054 w 1297663"/>
              <a:gd name="connsiteY24" fmla="*/ 0 h 567350"/>
              <a:gd name="connsiteX0" fmla="*/ 13813 w 1297663"/>
              <a:gd name="connsiteY0" fmla="*/ 0 h 576885"/>
              <a:gd name="connsiteX1" fmla="*/ 0 w 1297663"/>
              <a:gd name="connsiteY1" fmla="*/ 386762 h 576885"/>
              <a:gd name="connsiteX2" fmla="*/ 298764 w 1297663"/>
              <a:gd name="connsiteY2" fmla="*/ 413923 h 576885"/>
              <a:gd name="connsiteX3" fmla="*/ 301782 w 1297663"/>
              <a:gd name="connsiteY3" fmla="*/ 576885 h 576885"/>
              <a:gd name="connsiteX4" fmla="*/ 754455 w 1297663"/>
              <a:gd name="connsiteY4" fmla="*/ 564814 h 576885"/>
              <a:gd name="connsiteX5" fmla="*/ 838955 w 1297663"/>
              <a:gd name="connsiteY5" fmla="*/ 564814 h 576885"/>
              <a:gd name="connsiteX6" fmla="*/ 1219200 w 1297663"/>
              <a:gd name="connsiteY6" fmla="*/ 543689 h 576885"/>
              <a:gd name="connsiteX7" fmla="*/ 1282574 w 1297663"/>
              <a:gd name="connsiteY7" fmla="*/ 543689 h 576885"/>
              <a:gd name="connsiteX8" fmla="*/ 1297663 w 1297663"/>
              <a:gd name="connsiteY8" fmla="*/ 543689 h 576885"/>
              <a:gd name="connsiteX9" fmla="*/ 1249378 w 1297663"/>
              <a:gd name="connsiteY9" fmla="*/ 477297 h 576885"/>
              <a:gd name="connsiteX10" fmla="*/ 1222218 w 1297663"/>
              <a:gd name="connsiteY10" fmla="*/ 422976 h 576885"/>
              <a:gd name="connsiteX11" fmla="*/ 1222218 w 1297663"/>
              <a:gd name="connsiteY11" fmla="*/ 344513 h 576885"/>
              <a:gd name="connsiteX12" fmla="*/ 1201093 w 1297663"/>
              <a:gd name="connsiteY12" fmla="*/ 293210 h 576885"/>
              <a:gd name="connsiteX13" fmla="*/ 1201093 w 1297663"/>
              <a:gd name="connsiteY13" fmla="*/ 266050 h 576885"/>
              <a:gd name="connsiteX14" fmla="*/ 1173933 w 1297663"/>
              <a:gd name="connsiteY14" fmla="*/ 238889 h 576885"/>
              <a:gd name="connsiteX15" fmla="*/ 1170915 w 1297663"/>
              <a:gd name="connsiteY15" fmla="*/ 211729 h 576885"/>
              <a:gd name="connsiteX16" fmla="*/ 1134701 w 1297663"/>
              <a:gd name="connsiteY16" fmla="*/ 157408 h 576885"/>
              <a:gd name="connsiteX17" fmla="*/ 1113576 w 1297663"/>
              <a:gd name="connsiteY17" fmla="*/ 84980 h 576885"/>
              <a:gd name="connsiteX18" fmla="*/ 1056238 w 1297663"/>
              <a:gd name="connsiteY18" fmla="*/ 54802 h 576885"/>
              <a:gd name="connsiteX19" fmla="*/ 1001917 w 1297663"/>
              <a:gd name="connsiteY19" fmla="*/ 57820 h 576885"/>
              <a:gd name="connsiteX20" fmla="*/ 983810 w 1297663"/>
              <a:gd name="connsiteY20" fmla="*/ 36695 h 576885"/>
              <a:gd name="connsiteX21" fmla="*/ 935525 w 1297663"/>
              <a:gd name="connsiteY21" fmla="*/ 18588 h 576885"/>
              <a:gd name="connsiteX22" fmla="*/ 872151 w 1297663"/>
              <a:gd name="connsiteY22" fmla="*/ 42731 h 576885"/>
              <a:gd name="connsiteX23" fmla="*/ 802741 w 1297663"/>
              <a:gd name="connsiteY23" fmla="*/ 9535 h 576885"/>
              <a:gd name="connsiteX24" fmla="*/ 13813 w 1297663"/>
              <a:gd name="connsiteY24" fmla="*/ 0 h 576885"/>
              <a:gd name="connsiteX0" fmla="*/ 13813 w 1297663"/>
              <a:gd name="connsiteY0" fmla="*/ 0 h 576885"/>
              <a:gd name="connsiteX1" fmla="*/ 0 w 1297663"/>
              <a:gd name="connsiteY1" fmla="*/ 386762 h 576885"/>
              <a:gd name="connsiteX2" fmla="*/ 298764 w 1297663"/>
              <a:gd name="connsiteY2" fmla="*/ 413923 h 576885"/>
              <a:gd name="connsiteX3" fmla="*/ 301782 w 1297663"/>
              <a:gd name="connsiteY3" fmla="*/ 576885 h 576885"/>
              <a:gd name="connsiteX4" fmla="*/ 754455 w 1297663"/>
              <a:gd name="connsiteY4" fmla="*/ 564814 h 576885"/>
              <a:gd name="connsiteX5" fmla="*/ 838955 w 1297663"/>
              <a:gd name="connsiteY5" fmla="*/ 564814 h 576885"/>
              <a:gd name="connsiteX6" fmla="*/ 1219200 w 1297663"/>
              <a:gd name="connsiteY6" fmla="*/ 543689 h 576885"/>
              <a:gd name="connsiteX7" fmla="*/ 1282574 w 1297663"/>
              <a:gd name="connsiteY7" fmla="*/ 543689 h 576885"/>
              <a:gd name="connsiteX8" fmla="*/ 1297663 w 1297663"/>
              <a:gd name="connsiteY8" fmla="*/ 543689 h 576885"/>
              <a:gd name="connsiteX9" fmla="*/ 1249378 w 1297663"/>
              <a:gd name="connsiteY9" fmla="*/ 477297 h 576885"/>
              <a:gd name="connsiteX10" fmla="*/ 1222218 w 1297663"/>
              <a:gd name="connsiteY10" fmla="*/ 422976 h 576885"/>
              <a:gd name="connsiteX11" fmla="*/ 1222218 w 1297663"/>
              <a:gd name="connsiteY11" fmla="*/ 344513 h 576885"/>
              <a:gd name="connsiteX12" fmla="*/ 1201093 w 1297663"/>
              <a:gd name="connsiteY12" fmla="*/ 293210 h 576885"/>
              <a:gd name="connsiteX13" fmla="*/ 1201093 w 1297663"/>
              <a:gd name="connsiteY13" fmla="*/ 266050 h 576885"/>
              <a:gd name="connsiteX14" fmla="*/ 1173933 w 1297663"/>
              <a:gd name="connsiteY14" fmla="*/ 238889 h 576885"/>
              <a:gd name="connsiteX15" fmla="*/ 1170915 w 1297663"/>
              <a:gd name="connsiteY15" fmla="*/ 211729 h 576885"/>
              <a:gd name="connsiteX16" fmla="*/ 1134701 w 1297663"/>
              <a:gd name="connsiteY16" fmla="*/ 157408 h 576885"/>
              <a:gd name="connsiteX17" fmla="*/ 1113576 w 1297663"/>
              <a:gd name="connsiteY17" fmla="*/ 84980 h 576885"/>
              <a:gd name="connsiteX18" fmla="*/ 1056238 w 1297663"/>
              <a:gd name="connsiteY18" fmla="*/ 54802 h 576885"/>
              <a:gd name="connsiteX19" fmla="*/ 1001917 w 1297663"/>
              <a:gd name="connsiteY19" fmla="*/ 57820 h 576885"/>
              <a:gd name="connsiteX20" fmla="*/ 983810 w 1297663"/>
              <a:gd name="connsiteY20" fmla="*/ 36695 h 576885"/>
              <a:gd name="connsiteX21" fmla="*/ 935525 w 1297663"/>
              <a:gd name="connsiteY21" fmla="*/ 18588 h 576885"/>
              <a:gd name="connsiteX22" fmla="*/ 874530 w 1297663"/>
              <a:gd name="connsiteY22" fmla="*/ 30812 h 576885"/>
              <a:gd name="connsiteX23" fmla="*/ 802741 w 1297663"/>
              <a:gd name="connsiteY23" fmla="*/ 9535 h 576885"/>
              <a:gd name="connsiteX24" fmla="*/ 13813 w 1297663"/>
              <a:gd name="connsiteY24" fmla="*/ 0 h 5768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297663" h="576885">
                <a:moveTo>
                  <a:pt x="13813" y="0"/>
                </a:moveTo>
                <a:lnTo>
                  <a:pt x="0" y="386762"/>
                </a:lnTo>
                <a:lnTo>
                  <a:pt x="298764" y="413923"/>
                </a:lnTo>
                <a:lnTo>
                  <a:pt x="301782" y="576885"/>
                </a:lnTo>
                <a:lnTo>
                  <a:pt x="754455" y="564814"/>
                </a:lnTo>
                <a:lnTo>
                  <a:pt x="838955" y="564814"/>
                </a:lnTo>
                <a:lnTo>
                  <a:pt x="1219200" y="543689"/>
                </a:lnTo>
                <a:lnTo>
                  <a:pt x="1282574" y="543689"/>
                </a:lnTo>
                <a:lnTo>
                  <a:pt x="1297663" y="543689"/>
                </a:lnTo>
                <a:lnTo>
                  <a:pt x="1249378" y="477297"/>
                </a:lnTo>
                <a:lnTo>
                  <a:pt x="1222218" y="422976"/>
                </a:lnTo>
                <a:lnTo>
                  <a:pt x="1222218" y="344513"/>
                </a:lnTo>
                <a:lnTo>
                  <a:pt x="1201093" y="293210"/>
                </a:lnTo>
                <a:lnTo>
                  <a:pt x="1201093" y="266050"/>
                </a:lnTo>
                <a:lnTo>
                  <a:pt x="1173933" y="238889"/>
                </a:lnTo>
                <a:lnTo>
                  <a:pt x="1170915" y="211729"/>
                </a:lnTo>
                <a:lnTo>
                  <a:pt x="1134701" y="157408"/>
                </a:lnTo>
                <a:lnTo>
                  <a:pt x="1113576" y="84980"/>
                </a:lnTo>
                <a:lnTo>
                  <a:pt x="1056238" y="54802"/>
                </a:lnTo>
                <a:lnTo>
                  <a:pt x="1001917" y="57820"/>
                </a:lnTo>
                <a:lnTo>
                  <a:pt x="983810" y="36695"/>
                </a:lnTo>
                <a:lnTo>
                  <a:pt x="935525" y="18588"/>
                </a:lnTo>
                <a:lnTo>
                  <a:pt x="874530" y="30812"/>
                </a:lnTo>
                <a:lnTo>
                  <a:pt x="802741" y="9535"/>
                </a:lnTo>
                <a:lnTo>
                  <a:pt x="13813"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19" name="Freeform 18"/>
          <p:cNvSpPr/>
          <p:nvPr/>
        </p:nvSpPr>
        <p:spPr>
          <a:xfrm>
            <a:off x="3992281" y="3667349"/>
            <a:ext cx="1130633" cy="609612"/>
          </a:xfrm>
          <a:custGeom>
            <a:avLst/>
            <a:gdLst>
              <a:gd name="connsiteX0" fmla="*/ 15089 w 1170915"/>
              <a:gd name="connsiteY0" fmla="*/ 21125 h 618653"/>
              <a:gd name="connsiteX1" fmla="*/ 0 w 1170915"/>
              <a:gd name="connsiteY1" fmla="*/ 618653 h 618653"/>
              <a:gd name="connsiteX2" fmla="*/ 467763 w 1170915"/>
              <a:gd name="connsiteY2" fmla="*/ 615636 h 618653"/>
              <a:gd name="connsiteX3" fmla="*/ 636761 w 1170915"/>
              <a:gd name="connsiteY3" fmla="*/ 612618 h 618653"/>
              <a:gd name="connsiteX4" fmla="*/ 887240 w 1170915"/>
              <a:gd name="connsiteY4" fmla="*/ 588475 h 618653"/>
              <a:gd name="connsiteX5" fmla="*/ 1170915 w 1170915"/>
              <a:gd name="connsiteY5" fmla="*/ 561315 h 618653"/>
              <a:gd name="connsiteX6" fmla="*/ 1143755 w 1170915"/>
              <a:gd name="connsiteY6" fmla="*/ 168998 h 618653"/>
              <a:gd name="connsiteX7" fmla="*/ 1068309 w 1170915"/>
              <a:gd name="connsiteY7" fmla="*/ 93552 h 618653"/>
              <a:gd name="connsiteX8" fmla="*/ 1080380 w 1170915"/>
              <a:gd name="connsiteY8" fmla="*/ 45267 h 618653"/>
              <a:gd name="connsiteX9" fmla="*/ 1017006 w 1170915"/>
              <a:gd name="connsiteY9" fmla="*/ 0 h 618653"/>
              <a:gd name="connsiteX10" fmla="*/ 15089 w 1170915"/>
              <a:gd name="connsiteY10" fmla="*/ 21125 h 618653"/>
              <a:gd name="connsiteX0" fmla="*/ 15089 w 1170915"/>
              <a:gd name="connsiteY0" fmla="*/ 21125 h 618653"/>
              <a:gd name="connsiteX1" fmla="*/ 0 w 1170915"/>
              <a:gd name="connsiteY1" fmla="*/ 618653 h 618653"/>
              <a:gd name="connsiteX2" fmla="*/ 467763 w 1170915"/>
              <a:gd name="connsiteY2" fmla="*/ 615636 h 618653"/>
              <a:gd name="connsiteX3" fmla="*/ 636761 w 1170915"/>
              <a:gd name="connsiteY3" fmla="*/ 612618 h 618653"/>
              <a:gd name="connsiteX4" fmla="*/ 887240 w 1170915"/>
              <a:gd name="connsiteY4" fmla="*/ 588475 h 618653"/>
              <a:gd name="connsiteX5" fmla="*/ 1170915 w 1170915"/>
              <a:gd name="connsiteY5" fmla="*/ 561315 h 618653"/>
              <a:gd name="connsiteX6" fmla="*/ 1153288 w 1170915"/>
              <a:gd name="connsiteY6" fmla="*/ 168998 h 618653"/>
              <a:gd name="connsiteX7" fmla="*/ 1068309 w 1170915"/>
              <a:gd name="connsiteY7" fmla="*/ 93552 h 618653"/>
              <a:gd name="connsiteX8" fmla="*/ 1080380 w 1170915"/>
              <a:gd name="connsiteY8" fmla="*/ 45267 h 618653"/>
              <a:gd name="connsiteX9" fmla="*/ 1017006 w 1170915"/>
              <a:gd name="connsiteY9" fmla="*/ 0 h 618653"/>
              <a:gd name="connsiteX10" fmla="*/ 15089 w 1170915"/>
              <a:gd name="connsiteY10" fmla="*/ 21125 h 618653"/>
              <a:gd name="connsiteX0" fmla="*/ 15089 w 1170915"/>
              <a:gd name="connsiteY0" fmla="*/ 21125 h 618653"/>
              <a:gd name="connsiteX1" fmla="*/ 0 w 1170915"/>
              <a:gd name="connsiteY1" fmla="*/ 618653 h 618653"/>
              <a:gd name="connsiteX2" fmla="*/ 467763 w 1170915"/>
              <a:gd name="connsiteY2" fmla="*/ 615636 h 618653"/>
              <a:gd name="connsiteX3" fmla="*/ 636761 w 1170915"/>
              <a:gd name="connsiteY3" fmla="*/ 612618 h 618653"/>
              <a:gd name="connsiteX4" fmla="*/ 887240 w 1170915"/>
              <a:gd name="connsiteY4" fmla="*/ 588475 h 618653"/>
              <a:gd name="connsiteX5" fmla="*/ 1170915 w 1170915"/>
              <a:gd name="connsiteY5" fmla="*/ 561315 h 618653"/>
              <a:gd name="connsiteX6" fmla="*/ 1153288 w 1170915"/>
              <a:gd name="connsiteY6" fmla="*/ 168998 h 618653"/>
              <a:gd name="connsiteX7" fmla="*/ 1087505 w 1170915"/>
              <a:gd name="connsiteY7" fmla="*/ 98350 h 618653"/>
              <a:gd name="connsiteX8" fmla="*/ 1068309 w 1170915"/>
              <a:gd name="connsiteY8" fmla="*/ 93552 h 618653"/>
              <a:gd name="connsiteX9" fmla="*/ 1080380 w 1170915"/>
              <a:gd name="connsiteY9" fmla="*/ 45267 h 618653"/>
              <a:gd name="connsiteX10" fmla="*/ 1017006 w 1170915"/>
              <a:gd name="connsiteY10" fmla="*/ 0 h 618653"/>
              <a:gd name="connsiteX11" fmla="*/ 15089 w 1170915"/>
              <a:gd name="connsiteY11" fmla="*/ 21125 h 618653"/>
              <a:gd name="connsiteX0" fmla="*/ 15089 w 1170915"/>
              <a:gd name="connsiteY0" fmla="*/ 30643 h 628171"/>
              <a:gd name="connsiteX1" fmla="*/ 0 w 1170915"/>
              <a:gd name="connsiteY1" fmla="*/ 628171 h 628171"/>
              <a:gd name="connsiteX2" fmla="*/ 467763 w 1170915"/>
              <a:gd name="connsiteY2" fmla="*/ 625154 h 628171"/>
              <a:gd name="connsiteX3" fmla="*/ 636761 w 1170915"/>
              <a:gd name="connsiteY3" fmla="*/ 622136 h 628171"/>
              <a:gd name="connsiteX4" fmla="*/ 887240 w 1170915"/>
              <a:gd name="connsiteY4" fmla="*/ 597993 h 628171"/>
              <a:gd name="connsiteX5" fmla="*/ 1170915 w 1170915"/>
              <a:gd name="connsiteY5" fmla="*/ 570833 h 628171"/>
              <a:gd name="connsiteX6" fmla="*/ 1153288 w 1170915"/>
              <a:gd name="connsiteY6" fmla="*/ 178516 h 628171"/>
              <a:gd name="connsiteX7" fmla="*/ 1087505 w 1170915"/>
              <a:gd name="connsiteY7" fmla="*/ 107868 h 628171"/>
              <a:gd name="connsiteX8" fmla="*/ 1068309 w 1170915"/>
              <a:gd name="connsiteY8" fmla="*/ 103070 h 628171"/>
              <a:gd name="connsiteX9" fmla="*/ 1080380 w 1170915"/>
              <a:gd name="connsiteY9" fmla="*/ 54785 h 628171"/>
              <a:gd name="connsiteX10" fmla="*/ 1021773 w 1170915"/>
              <a:gd name="connsiteY10" fmla="*/ 0 h 628171"/>
              <a:gd name="connsiteX11" fmla="*/ 15089 w 1170915"/>
              <a:gd name="connsiteY11" fmla="*/ 30643 h 628171"/>
              <a:gd name="connsiteX0" fmla="*/ 15089 w 1170915"/>
              <a:gd name="connsiteY0" fmla="*/ 30643 h 628171"/>
              <a:gd name="connsiteX1" fmla="*/ 0 w 1170915"/>
              <a:gd name="connsiteY1" fmla="*/ 628171 h 628171"/>
              <a:gd name="connsiteX2" fmla="*/ 467763 w 1170915"/>
              <a:gd name="connsiteY2" fmla="*/ 625154 h 628171"/>
              <a:gd name="connsiteX3" fmla="*/ 636761 w 1170915"/>
              <a:gd name="connsiteY3" fmla="*/ 622136 h 628171"/>
              <a:gd name="connsiteX4" fmla="*/ 887240 w 1170915"/>
              <a:gd name="connsiteY4" fmla="*/ 597993 h 628171"/>
              <a:gd name="connsiteX5" fmla="*/ 1170915 w 1170915"/>
              <a:gd name="connsiteY5" fmla="*/ 570833 h 628171"/>
              <a:gd name="connsiteX6" fmla="*/ 1153288 w 1170915"/>
              <a:gd name="connsiteY6" fmla="*/ 178516 h 628171"/>
              <a:gd name="connsiteX7" fmla="*/ 1087505 w 1170915"/>
              <a:gd name="connsiteY7" fmla="*/ 107868 h 628171"/>
              <a:gd name="connsiteX8" fmla="*/ 1080380 w 1170915"/>
              <a:gd name="connsiteY8" fmla="*/ 54785 h 628171"/>
              <a:gd name="connsiteX9" fmla="*/ 1021773 w 1170915"/>
              <a:gd name="connsiteY9" fmla="*/ 0 h 628171"/>
              <a:gd name="connsiteX10" fmla="*/ 15089 w 1170915"/>
              <a:gd name="connsiteY10" fmla="*/ 30643 h 6281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70915" h="628171">
                <a:moveTo>
                  <a:pt x="15089" y="30643"/>
                </a:moveTo>
                <a:lnTo>
                  <a:pt x="0" y="628171"/>
                </a:lnTo>
                <a:lnTo>
                  <a:pt x="467763" y="625154"/>
                </a:lnTo>
                <a:lnTo>
                  <a:pt x="636761" y="622136"/>
                </a:lnTo>
                <a:lnTo>
                  <a:pt x="887240" y="597993"/>
                </a:lnTo>
                <a:lnTo>
                  <a:pt x="1170915" y="570833"/>
                </a:lnTo>
                <a:lnTo>
                  <a:pt x="1153288" y="178516"/>
                </a:lnTo>
                <a:cubicBezTo>
                  <a:pt x="1128183" y="154967"/>
                  <a:pt x="1112610" y="131417"/>
                  <a:pt x="1087505" y="107868"/>
                </a:cubicBezTo>
                <a:lnTo>
                  <a:pt x="1080380" y="54785"/>
                </a:lnTo>
                <a:lnTo>
                  <a:pt x="1021773" y="0"/>
                </a:lnTo>
                <a:lnTo>
                  <a:pt x="15089" y="30643"/>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20" name="Freeform 19"/>
          <p:cNvSpPr/>
          <p:nvPr/>
        </p:nvSpPr>
        <p:spPr>
          <a:xfrm>
            <a:off x="3854211" y="4224622"/>
            <a:ext cx="1343874" cy="657333"/>
          </a:xfrm>
          <a:custGeom>
            <a:avLst/>
            <a:gdLst>
              <a:gd name="connsiteX0" fmla="*/ 0 w 1376126"/>
              <a:gd name="connsiteY0" fmla="*/ 51303 h 663920"/>
              <a:gd name="connsiteX1" fmla="*/ 3017 w 1376126"/>
              <a:gd name="connsiteY1" fmla="*/ 147873 h 663920"/>
              <a:gd name="connsiteX2" fmla="*/ 464744 w 1376126"/>
              <a:gd name="connsiteY2" fmla="*/ 156926 h 663920"/>
              <a:gd name="connsiteX3" fmla="*/ 461726 w 1376126"/>
              <a:gd name="connsiteY3" fmla="*/ 513029 h 663920"/>
              <a:gd name="connsiteX4" fmla="*/ 482851 w 1376126"/>
              <a:gd name="connsiteY4" fmla="*/ 525101 h 663920"/>
              <a:gd name="connsiteX5" fmla="*/ 525101 w 1376126"/>
              <a:gd name="connsiteY5" fmla="*/ 528118 h 663920"/>
              <a:gd name="connsiteX6" fmla="*/ 549243 w 1376126"/>
              <a:gd name="connsiteY6" fmla="*/ 534154 h 663920"/>
              <a:gd name="connsiteX7" fmla="*/ 564332 w 1376126"/>
              <a:gd name="connsiteY7" fmla="*/ 546225 h 663920"/>
              <a:gd name="connsiteX8" fmla="*/ 609600 w 1376126"/>
              <a:gd name="connsiteY8" fmla="*/ 540190 h 663920"/>
              <a:gd name="connsiteX9" fmla="*/ 633742 w 1376126"/>
              <a:gd name="connsiteY9" fmla="*/ 585457 h 663920"/>
              <a:gd name="connsiteX10" fmla="*/ 663920 w 1376126"/>
              <a:gd name="connsiteY10" fmla="*/ 579421 h 663920"/>
              <a:gd name="connsiteX11" fmla="*/ 691081 w 1376126"/>
              <a:gd name="connsiteY11" fmla="*/ 597528 h 663920"/>
              <a:gd name="connsiteX12" fmla="*/ 757473 w 1376126"/>
              <a:gd name="connsiteY12" fmla="*/ 585457 h 663920"/>
              <a:gd name="connsiteX13" fmla="*/ 841972 w 1376126"/>
              <a:gd name="connsiteY13" fmla="*/ 630724 h 663920"/>
              <a:gd name="connsiteX14" fmla="*/ 884221 w 1376126"/>
              <a:gd name="connsiteY14" fmla="*/ 615635 h 663920"/>
              <a:gd name="connsiteX15" fmla="*/ 920435 w 1376126"/>
              <a:gd name="connsiteY15" fmla="*/ 642796 h 663920"/>
              <a:gd name="connsiteX16" fmla="*/ 962685 w 1376126"/>
              <a:gd name="connsiteY16" fmla="*/ 636760 h 663920"/>
              <a:gd name="connsiteX17" fmla="*/ 1001917 w 1376126"/>
              <a:gd name="connsiteY17" fmla="*/ 648831 h 663920"/>
              <a:gd name="connsiteX18" fmla="*/ 1038130 w 1376126"/>
              <a:gd name="connsiteY18" fmla="*/ 645813 h 663920"/>
              <a:gd name="connsiteX19" fmla="*/ 1074344 w 1376126"/>
              <a:gd name="connsiteY19" fmla="*/ 663920 h 663920"/>
              <a:gd name="connsiteX20" fmla="*/ 1095469 w 1376126"/>
              <a:gd name="connsiteY20" fmla="*/ 660903 h 663920"/>
              <a:gd name="connsiteX21" fmla="*/ 1146772 w 1376126"/>
              <a:gd name="connsiteY21" fmla="*/ 624689 h 663920"/>
              <a:gd name="connsiteX22" fmla="*/ 1186004 w 1376126"/>
              <a:gd name="connsiteY22" fmla="*/ 615635 h 663920"/>
              <a:gd name="connsiteX23" fmla="*/ 1237307 w 1376126"/>
              <a:gd name="connsiteY23" fmla="*/ 621671 h 663920"/>
              <a:gd name="connsiteX24" fmla="*/ 1270503 w 1376126"/>
              <a:gd name="connsiteY24" fmla="*/ 609600 h 663920"/>
              <a:gd name="connsiteX25" fmla="*/ 1376126 w 1376126"/>
              <a:gd name="connsiteY25" fmla="*/ 657885 h 663920"/>
              <a:gd name="connsiteX26" fmla="*/ 1370091 w 1376126"/>
              <a:gd name="connsiteY26" fmla="*/ 353085 h 663920"/>
              <a:gd name="connsiteX27" fmla="*/ 1345948 w 1376126"/>
              <a:gd name="connsiteY27" fmla="*/ 196158 h 663920"/>
              <a:gd name="connsiteX28" fmla="*/ 1333877 w 1376126"/>
              <a:gd name="connsiteY28" fmla="*/ 90534 h 663920"/>
              <a:gd name="connsiteX29" fmla="*/ 1312752 w 1376126"/>
              <a:gd name="connsiteY29" fmla="*/ 0 h 663920"/>
              <a:gd name="connsiteX30" fmla="*/ 742384 w 1376126"/>
              <a:gd name="connsiteY30" fmla="*/ 45267 h 663920"/>
              <a:gd name="connsiteX31" fmla="*/ 0 w 1376126"/>
              <a:gd name="connsiteY31" fmla="*/ 51303 h 663920"/>
              <a:gd name="connsiteX0" fmla="*/ 0 w 1376126"/>
              <a:gd name="connsiteY0" fmla="*/ 51303 h 663920"/>
              <a:gd name="connsiteX1" fmla="*/ 3017 w 1376126"/>
              <a:gd name="connsiteY1" fmla="*/ 147873 h 663920"/>
              <a:gd name="connsiteX2" fmla="*/ 464744 w 1376126"/>
              <a:gd name="connsiteY2" fmla="*/ 156926 h 663920"/>
              <a:gd name="connsiteX3" fmla="*/ 461726 w 1376126"/>
              <a:gd name="connsiteY3" fmla="*/ 513029 h 663920"/>
              <a:gd name="connsiteX4" fmla="*/ 482851 w 1376126"/>
              <a:gd name="connsiteY4" fmla="*/ 525101 h 663920"/>
              <a:gd name="connsiteX5" fmla="*/ 525101 w 1376126"/>
              <a:gd name="connsiteY5" fmla="*/ 528118 h 663920"/>
              <a:gd name="connsiteX6" fmla="*/ 549243 w 1376126"/>
              <a:gd name="connsiteY6" fmla="*/ 534154 h 663920"/>
              <a:gd name="connsiteX7" fmla="*/ 564332 w 1376126"/>
              <a:gd name="connsiteY7" fmla="*/ 546225 h 663920"/>
              <a:gd name="connsiteX8" fmla="*/ 607114 w 1376126"/>
              <a:gd name="connsiteY8" fmla="*/ 550001 h 663920"/>
              <a:gd name="connsiteX9" fmla="*/ 633742 w 1376126"/>
              <a:gd name="connsiteY9" fmla="*/ 585457 h 663920"/>
              <a:gd name="connsiteX10" fmla="*/ 663920 w 1376126"/>
              <a:gd name="connsiteY10" fmla="*/ 579421 h 663920"/>
              <a:gd name="connsiteX11" fmla="*/ 691081 w 1376126"/>
              <a:gd name="connsiteY11" fmla="*/ 597528 h 663920"/>
              <a:gd name="connsiteX12" fmla="*/ 757473 w 1376126"/>
              <a:gd name="connsiteY12" fmla="*/ 585457 h 663920"/>
              <a:gd name="connsiteX13" fmla="*/ 841972 w 1376126"/>
              <a:gd name="connsiteY13" fmla="*/ 630724 h 663920"/>
              <a:gd name="connsiteX14" fmla="*/ 884221 w 1376126"/>
              <a:gd name="connsiteY14" fmla="*/ 615635 h 663920"/>
              <a:gd name="connsiteX15" fmla="*/ 920435 w 1376126"/>
              <a:gd name="connsiteY15" fmla="*/ 642796 h 663920"/>
              <a:gd name="connsiteX16" fmla="*/ 962685 w 1376126"/>
              <a:gd name="connsiteY16" fmla="*/ 636760 h 663920"/>
              <a:gd name="connsiteX17" fmla="*/ 1001917 w 1376126"/>
              <a:gd name="connsiteY17" fmla="*/ 648831 h 663920"/>
              <a:gd name="connsiteX18" fmla="*/ 1038130 w 1376126"/>
              <a:gd name="connsiteY18" fmla="*/ 645813 h 663920"/>
              <a:gd name="connsiteX19" fmla="*/ 1074344 w 1376126"/>
              <a:gd name="connsiteY19" fmla="*/ 663920 h 663920"/>
              <a:gd name="connsiteX20" fmla="*/ 1095469 w 1376126"/>
              <a:gd name="connsiteY20" fmla="*/ 660903 h 663920"/>
              <a:gd name="connsiteX21" fmla="*/ 1146772 w 1376126"/>
              <a:gd name="connsiteY21" fmla="*/ 624689 h 663920"/>
              <a:gd name="connsiteX22" fmla="*/ 1186004 w 1376126"/>
              <a:gd name="connsiteY22" fmla="*/ 615635 h 663920"/>
              <a:gd name="connsiteX23" fmla="*/ 1237307 w 1376126"/>
              <a:gd name="connsiteY23" fmla="*/ 621671 h 663920"/>
              <a:gd name="connsiteX24" fmla="*/ 1270503 w 1376126"/>
              <a:gd name="connsiteY24" fmla="*/ 609600 h 663920"/>
              <a:gd name="connsiteX25" fmla="*/ 1376126 w 1376126"/>
              <a:gd name="connsiteY25" fmla="*/ 657885 h 663920"/>
              <a:gd name="connsiteX26" fmla="*/ 1370091 w 1376126"/>
              <a:gd name="connsiteY26" fmla="*/ 353085 h 663920"/>
              <a:gd name="connsiteX27" fmla="*/ 1345948 w 1376126"/>
              <a:gd name="connsiteY27" fmla="*/ 196158 h 663920"/>
              <a:gd name="connsiteX28" fmla="*/ 1333877 w 1376126"/>
              <a:gd name="connsiteY28" fmla="*/ 90534 h 663920"/>
              <a:gd name="connsiteX29" fmla="*/ 1312752 w 1376126"/>
              <a:gd name="connsiteY29" fmla="*/ 0 h 663920"/>
              <a:gd name="connsiteX30" fmla="*/ 742384 w 1376126"/>
              <a:gd name="connsiteY30" fmla="*/ 45267 h 663920"/>
              <a:gd name="connsiteX31" fmla="*/ 0 w 1376126"/>
              <a:gd name="connsiteY31" fmla="*/ 51303 h 663920"/>
              <a:gd name="connsiteX0" fmla="*/ 0 w 1376126"/>
              <a:gd name="connsiteY0" fmla="*/ 51303 h 663920"/>
              <a:gd name="connsiteX1" fmla="*/ 3017 w 1376126"/>
              <a:gd name="connsiteY1" fmla="*/ 147873 h 663920"/>
              <a:gd name="connsiteX2" fmla="*/ 464744 w 1376126"/>
              <a:gd name="connsiteY2" fmla="*/ 156926 h 663920"/>
              <a:gd name="connsiteX3" fmla="*/ 461726 w 1376126"/>
              <a:gd name="connsiteY3" fmla="*/ 513029 h 663920"/>
              <a:gd name="connsiteX4" fmla="*/ 482851 w 1376126"/>
              <a:gd name="connsiteY4" fmla="*/ 525101 h 663920"/>
              <a:gd name="connsiteX5" fmla="*/ 525101 w 1376126"/>
              <a:gd name="connsiteY5" fmla="*/ 528118 h 663920"/>
              <a:gd name="connsiteX6" fmla="*/ 549243 w 1376126"/>
              <a:gd name="connsiteY6" fmla="*/ 534154 h 663920"/>
              <a:gd name="connsiteX7" fmla="*/ 564332 w 1376126"/>
              <a:gd name="connsiteY7" fmla="*/ 546225 h 663920"/>
              <a:gd name="connsiteX8" fmla="*/ 607114 w 1376126"/>
              <a:gd name="connsiteY8" fmla="*/ 550001 h 663920"/>
              <a:gd name="connsiteX9" fmla="*/ 633742 w 1376126"/>
              <a:gd name="connsiteY9" fmla="*/ 585457 h 663920"/>
              <a:gd name="connsiteX10" fmla="*/ 666187 w 1376126"/>
              <a:gd name="connsiteY10" fmla="*/ 589252 h 663920"/>
              <a:gd name="connsiteX11" fmla="*/ 691081 w 1376126"/>
              <a:gd name="connsiteY11" fmla="*/ 597528 h 663920"/>
              <a:gd name="connsiteX12" fmla="*/ 757473 w 1376126"/>
              <a:gd name="connsiteY12" fmla="*/ 585457 h 663920"/>
              <a:gd name="connsiteX13" fmla="*/ 841972 w 1376126"/>
              <a:gd name="connsiteY13" fmla="*/ 630724 h 663920"/>
              <a:gd name="connsiteX14" fmla="*/ 884221 w 1376126"/>
              <a:gd name="connsiteY14" fmla="*/ 615635 h 663920"/>
              <a:gd name="connsiteX15" fmla="*/ 920435 w 1376126"/>
              <a:gd name="connsiteY15" fmla="*/ 642796 h 663920"/>
              <a:gd name="connsiteX16" fmla="*/ 962685 w 1376126"/>
              <a:gd name="connsiteY16" fmla="*/ 636760 h 663920"/>
              <a:gd name="connsiteX17" fmla="*/ 1001917 w 1376126"/>
              <a:gd name="connsiteY17" fmla="*/ 648831 h 663920"/>
              <a:gd name="connsiteX18" fmla="*/ 1038130 w 1376126"/>
              <a:gd name="connsiteY18" fmla="*/ 645813 h 663920"/>
              <a:gd name="connsiteX19" fmla="*/ 1074344 w 1376126"/>
              <a:gd name="connsiteY19" fmla="*/ 663920 h 663920"/>
              <a:gd name="connsiteX20" fmla="*/ 1095469 w 1376126"/>
              <a:gd name="connsiteY20" fmla="*/ 660903 h 663920"/>
              <a:gd name="connsiteX21" fmla="*/ 1146772 w 1376126"/>
              <a:gd name="connsiteY21" fmla="*/ 624689 h 663920"/>
              <a:gd name="connsiteX22" fmla="*/ 1186004 w 1376126"/>
              <a:gd name="connsiteY22" fmla="*/ 615635 h 663920"/>
              <a:gd name="connsiteX23" fmla="*/ 1237307 w 1376126"/>
              <a:gd name="connsiteY23" fmla="*/ 621671 h 663920"/>
              <a:gd name="connsiteX24" fmla="*/ 1270503 w 1376126"/>
              <a:gd name="connsiteY24" fmla="*/ 609600 h 663920"/>
              <a:gd name="connsiteX25" fmla="*/ 1376126 w 1376126"/>
              <a:gd name="connsiteY25" fmla="*/ 657885 h 663920"/>
              <a:gd name="connsiteX26" fmla="*/ 1370091 w 1376126"/>
              <a:gd name="connsiteY26" fmla="*/ 353085 h 663920"/>
              <a:gd name="connsiteX27" fmla="*/ 1345948 w 1376126"/>
              <a:gd name="connsiteY27" fmla="*/ 196158 h 663920"/>
              <a:gd name="connsiteX28" fmla="*/ 1333877 w 1376126"/>
              <a:gd name="connsiteY28" fmla="*/ 90534 h 663920"/>
              <a:gd name="connsiteX29" fmla="*/ 1312752 w 1376126"/>
              <a:gd name="connsiteY29" fmla="*/ 0 h 663920"/>
              <a:gd name="connsiteX30" fmla="*/ 742384 w 1376126"/>
              <a:gd name="connsiteY30" fmla="*/ 45267 h 663920"/>
              <a:gd name="connsiteX31" fmla="*/ 0 w 1376126"/>
              <a:gd name="connsiteY31" fmla="*/ 51303 h 663920"/>
              <a:gd name="connsiteX0" fmla="*/ 0 w 1390176"/>
              <a:gd name="connsiteY0" fmla="*/ 51303 h 677287"/>
              <a:gd name="connsiteX1" fmla="*/ 3017 w 1390176"/>
              <a:gd name="connsiteY1" fmla="*/ 147873 h 677287"/>
              <a:gd name="connsiteX2" fmla="*/ 464744 w 1390176"/>
              <a:gd name="connsiteY2" fmla="*/ 156926 h 677287"/>
              <a:gd name="connsiteX3" fmla="*/ 461726 w 1390176"/>
              <a:gd name="connsiteY3" fmla="*/ 513029 h 677287"/>
              <a:gd name="connsiteX4" fmla="*/ 482851 w 1390176"/>
              <a:gd name="connsiteY4" fmla="*/ 525101 h 677287"/>
              <a:gd name="connsiteX5" fmla="*/ 525101 w 1390176"/>
              <a:gd name="connsiteY5" fmla="*/ 528118 h 677287"/>
              <a:gd name="connsiteX6" fmla="*/ 549243 w 1390176"/>
              <a:gd name="connsiteY6" fmla="*/ 534154 h 677287"/>
              <a:gd name="connsiteX7" fmla="*/ 564332 w 1390176"/>
              <a:gd name="connsiteY7" fmla="*/ 546225 h 677287"/>
              <a:gd name="connsiteX8" fmla="*/ 607114 w 1390176"/>
              <a:gd name="connsiteY8" fmla="*/ 550001 h 677287"/>
              <a:gd name="connsiteX9" fmla="*/ 633742 w 1390176"/>
              <a:gd name="connsiteY9" fmla="*/ 585457 h 677287"/>
              <a:gd name="connsiteX10" fmla="*/ 666187 w 1390176"/>
              <a:gd name="connsiteY10" fmla="*/ 589252 h 677287"/>
              <a:gd name="connsiteX11" fmla="*/ 691081 w 1390176"/>
              <a:gd name="connsiteY11" fmla="*/ 597528 h 677287"/>
              <a:gd name="connsiteX12" fmla="*/ 757473 w 1390176"/>
              <a:gd name="connsiteY12" fmla="*/ 585457 h 677287"/>
              <a:gd name="connsiteX13" fmla="*/ 841972 w 1390176"/>
              <a:gd name="connsiteY13" fmla="*/ 630724 h 677287"/>
              <a:gd name="connsiteX14" fmla="*/ 884221 w 1390176"/>
              <a:gd name="connsiteY14" fmla="*/ 615635 h 677287"/>
              <a:gd name="connsiteX15" fmla="*/ 920435 w 1390176"/>
              <a:gd name="connsiteY15" fmla="*/ 642796 h 677287"/>
              <a:gd name="connsiteX16" fmla="*/ 962685 w 1390176"/>
              <a:gd name="connsiteY16" fmla="*/ 636760 h 677287"/>
              <a:gd name="connsiteX17" fmla="*/ 1001917 w 1390176"/>
              <a:gd name="connsiteY17" fmla="*/ 648831 h 677287"/>
              <a:gd name="connsiteX18" fmla="*/ 1038130 w 1390176"/>
              <a:gd name="connsiteY18" fmla="*/ 645813 h 677287"/>
              <a:gd name="connsiteX19" fmla="*/ 1074344 w 1390176"/>
              <a:gd name="connsiteY19" fmla="*/ 663920 h 677287"/>
              <a:gd name="connsiteX20" fmla="*/ 1095469 w 1390176"/>
              <a:gd name="connsiteY20" fmla="*/ 660903 h 677287"/>
              <a:gd name="connsiteX21" fmla="*/ 1146772 w 1390176"/>
              <a:gd name="connsiteY21" fmla="*/ 624689 h 677287"/>
              <a:gd name="connsiteX22" fmla="*/ 1186004 w 1390176"/>
              <a:gd name="connsiteY22" fmla="*/ 615635 h 677287"/>
              <a:gd name="connsiteX23" fmla="*/ 1237307 w 1390176"/>
              <a:gd name="connsiteY23" fmla="*/ 621671 h 677287"/>
              <a:gd name="connsiteX24" fmla="*/ 1270503 w 1390176"/>
              <a:gd name="connsiteY24" fmla="*/ 609600 h 677287"/>
              <a:gd name="connsiteX25" fmla="*/ 1390176 w 1390176"/>
              <a:gd name="connsiteY25" fmla="*/ 677287 h 677287"/>
              <a:gd name="connsiteX26" fmla="*/ 1370091 w 1390176"/>
              <a:gd name="connsiteY26" fmla="*/ 353085 h 677287"/>
              <a:gd name="connsiteX27" fmla="*/ 1345948 w 1390176"/>
              <a:gd name="connsiteY27" fmla="*/ 196158 h 677287"/>
              <a:gd name="connsiteX28" fmla="*/ 1333877 w 1390176"/>
              <a:gd name="connsiteY28" fmla="*/ 90534 h 677287"/>
              <a:gd name="connsiteX29" fmla="*/ 1312752 w 1390176"/>
              <a:gd name="connsiteY29" fmla="*/ 0 h 677287"/>
              <a:gd name="connsiteX30" fmla="*/ 742384 w 1390176"/>
              <a:gd name="connsiteY30" fmla="*/ 45267 h 677287"/>
              <a:gd name="connsiteX31" fmla="*/ 0 w 1390176"/>
              <a:gd name="connsiteY31" fmla="*/ 51303 h 677287"/>
              <a:gd name="connsiteX0" fmla="*/ 0 w 1390176"/>
              <a:gd name="connsiteY0" fmla="*/ 51303 h 677287"/>
              <a:gd name="connsiteX1" fmla="*/ 3017 w 1390176"/>
              <a:gd name="connsiteY1" fmla="*/ 147873 h 677287"/>
              <a:gd name="connsiteX2" fmla="*/ 464744 w 1390176"/>
              <a:gd name="connsiteY2" fmla="*/ 156926 h 677287"/>
              <a:gd name="connsiteX3" fmla="*/ 461726 w 1390176"/>
              <a:gd name="connsiteY3" fmla="*/ 513029 h 677287"/>
              <a:gd name="connsiteX4" fmla="*/ 482851 w 1390176"/>
              <a:gd name="connsiteY4" fmla="*/ 525101 h 677287"/>
              <a:gd name="connsiteX5" fmla="*/ 525101 w 1390176"/>
              <a:gd name="connsiteY5" fmla="*/ 528118 h 677287"/>
              <a:gd name="connsiteX6" fmla="*/ 549243 w 1390176"/>
              <a:gd name="connsiteY6" fmla="*/ 534154 h 677287"/>
              <a:gd name="connsiteX7" fmla="*/ 564332 w 1390176"/>
              <a:gd name="connsiteY7" fmla="*/ 546225 h 677287"/>
              <a:gd name="connsiteX8" fmla="*/ 607114 w 1390176"/>
              <a:gd name="connsiteY8" fmla="*/ 550001 h 677287"/>
              <a:gd name="connsiteX9" fmla="*/ 633742 w 1390176"/>
              <a:gd name="connsiteY9" fmla="*/ 585457 h 677287"/>
              <a:gd name="connsiteX10" fmla="*/ 666187 w 1390176"/>
              <a:gd name="connsiteY10" fmla="*/ 589252 h 677287"/>
              <a:gd name="connsiteX11" fmla="*/ 691081 w 1390176"/>
              <a:gd name="connsiteY11" fmla="*/ 597528 h 677287"/>
              <a:gd name="connsiteX12" fmla="*/ 757473 w 1390176"/>
              <a:gd name="connsiteY12" fmla="*/ 585457 h 677287"/>
              <a:gd name="connsiteX13" fmla="*/ 841972 w 1390176"/>
              <a:gd name="connsiteY13" fmla="*/ 630724 h 677287"/>
              <a:gd name="connsiteX14" fmla="*/ 884221 w 1390176"/>
              <a:gd name="connsiteY14" fmla="*/ 615635 h 677287"/>
              <a:gd name="connsiteX15" fmla="*/ 920435 w 1390176"/>
              <a:gd name="connsiteY15" fmla="*/ 642796 h 677287"/>
              <a:gd name="connsiteX16" fmla="*/ 962685 w 1390176"/>
              <a:gd name="connsiteY16" fmla="*/ 636760 h 677287"/>
              <a:gd name="connsiteX17" fmla="*/ 1001917 w 1390176"/>
              <a:gd name="connsiteY17" fmla="*/ 648831 h 677287"/>
              <a:gd name="connsiteX18" fmla="*/ 1038130 w 1390176"/>
              <a:gd name="connsiteY18" fmla="*/ 645813 h 677287"/>
              <a:gd name="connsiteX19" fmla="*/ 1074344 w 1390176"/>
              <a:gd name="connsiteY19" fmla="*/ 663920 h 677287"/>
              <a:gd name="connsiteX20" fmla="*/ 1095469 w 1390176"/>
              <a:gd name="connsiteY20" fmla="*/ 660903 h 677287"/>
              <a:gd name="connsiteX21" fmla="*/ 1146772 w 1390176"/>
              <a:gd name="connsiteY21" fmla="*/ 624689 h 677287"/>
              <a:gd name="connsiteX22" fmla="*/ 1186004 w 1390176"/>
              <a:gd name="connsiteY22" fmla="*/ 615635 h 677287"/>
              <a:gd name="connsiteX23" fmla="*/ 1237307 w 1390176"/>
              <a:gd name="connsiteY23" fmla="*/ 621671 h 677287"/>
              <a:gd name="connsiteX24" fmla="*/ 1270503 w 1390176"/>
              <a:gd name="connsiteY24" fmla="*/ 609600 h 677287"/>
              <a:gd name="connsiteX25" fmla="*/ 1390176 w 1390176"/>
              <a:gd name="connsiteY25" fmla="*/ 677287 h 677287"/>
              <a:gd name="connsiteX26" fmla="*/ 1381761 w 1390176"/>
              <a:gd name="connsiteY26" fmla="*/ 353269 h 677287"/>
              <a:gd name="connsiteX27" fmla="*/ 1345948 w 1390176"/>
              <a:gd name="connsiteY27" fmla="*/ 196158 h 677287"/>
              <a:gd name="connsiteX28" fmla="*/ 1333877 w 1390176"/>
              <a:gd name="connsiteY28" fmla="*/ 90534 h 677287"/>
              <a:gd name="connsiteX29" fmla="*/ 1312752 w 1390176"/>
              <a:gd name="connsiteY29" fmla="*/ 0 h 677287"/>
              <a:gd name="connsiteX30" fmla="*/ 742384 w 1390176"/>
              <a:gd name="connsiteY30" fmla="*/ 45267 h 677287"/>
              <a:gd name="connsiteX31" fmla="*/ 0 w 1390176"/>
              <a:gd name="connsiteY31" fmla="*/ 51303 h 677287"/>
              <a:gd name="connsiteX0" fmla="*/ 0 w 1390176"/>
              <a:gd name="connsiteY0" fmla="*/ 51303 h 677287"/>
              <a:gd name="connsiteX1" fmla="*/ 3017 w 1390176"/>
              <a:gd name="connsiteY1" fmla="*/ 147873 h 677287"/>
              <a:gd name="connsiteX2" fmla="*/ 464744 w 1390176"/>
              <a:gd name="connsiteY2" fmla="*/ 156926 h 677287"/>
              <a:gd name="connsiteX3" fmla="*/ 461726 w 1390176"/>
              <a:gd name="connsiteY3" fmla="*/ 513029 h 677287"/>
              <a:gd name="connsiteX4" fmla="*/ 482851 w 1390176"/>
              <a:gd name="connsiteY4" fmla="*/ 525101 h 677287"/>
              <a:gd name="connsiteX5" fmla="*/ 525101 w 1390176"/>
              <a:gd name="connsiteY5" fmla="*/ 528118 h 677287"/>
              <a:gd name="connsiteX6" fmla="*/ 549243 w 1390176"/>
              <a:gd name="connsiteY6" fmla="*/ 534154 h 677287"/>
              <a:gd name="connsiteX7" fmla="*/ 564332 w 1390176"/>
              <a:gd name="connsiteY7" fmla="*/ 546225 h 677287"/>
              <a:gd name="connsiteX8" fmla="*/ 607114 w 1390176"/>
              <a:gd name="connsiteY8" fmla="*/ 550001 h 677287"/>
              <a:gd name="connsiteX9" fmla="*/ 633742 w 1390176"/>
              <a:gd name="connsiteY9" fmla="*/ 585457 h 677287"/>
              <a:gd name="connsiteX10" fmla="*/ 666187 w 1390176"/>
              <a:gd name="connsiteY10" fmla="*/ 589252 h 677287"/>
              <a:gd name="connsiteX11" fmla="*/ 691081 w 1390176"/>
              <a:gd name="connsiteY11" fmla="*/ 597528 h 677287"/>
              <a:gd name="connsiteX12" fmla="*/ 757473 w 1390176"/>
              <a:gd name="connsiteY12" fmla="*/ 585457 h 677287"/>
              <a:gd name="connsiteX13" fmla="*/ 841972 w 1390176"/>
              <a:gd name="connsiteY13" fmla="*/ 630724 h 677287"/>
              <a:gd name="connsiteX14" fmla="*/ 884221 w 1390176"/>
              <a:gd name="connsiteY14" fmla="*/ 615635 h 677287"/>
              <a:gd name="connsiteX15" fmla="*/ 920435 w 1390176"/>
              <a:gd name="connsiteY15" fmla="*/ 642796 h 677287"/>
              <a:gd name="connsiteX16" fmla="*/ 962685 w 1390176"/>
              <a:gd name="connsiteY16" fmla="*/ 636760 h 677287"/>
              <a:gd name="connsiteX17" fmla="*/ 1001917 w 1390176"/>
              <a:gd name="connsiteY17" fmla="*/ 648831 h 677287"/>
              <a:gd name="connsiteX18" fmla="*/ 1038130 w 1390176"/>
              <a:gd name="connsiteY18" fmla="*/ 645813 h 677287"/>
              <a:gd name="connsiteX19" fmla="*/ 1074344 w 1390176"/>
              <a:gd name="connsiteY19" fmla="*/ 663920 h 677287"/>
              <a:gd name="connsiteX20" fmla="*/ 1095469 w 1390176"/>
              <a:gd name="connsiteY20" fmla="*/ 660903 h 677287"/>
              <a:gd name="connsiteX21" fmla="*/ 1146772 w 1390176"/>
              <a:gd name="connsiteY21" fmla="*/ 624689 h 677287"/>
              <a:gd name="connsiteX22" fmla="*/ 1186004 w 1390176"/>
              <a:gd name="connsiteY22" fmla="*/ 615635 h 677287"/>
              <a:gd name="connsiteX23" fmla="*/ 1237307 w 1390176"/>
              <a:gd name="connsiteY23" fmla="*/ 621671 h 677287"/>
              <a:gd name="connsiteX24" fmla="*/ 1270503 w 1390176"/>
              <a:gd name="connsiteY24" fmla="*/ 609600 h 677287"/>
              <a:gd name="connsiteX25" fmla="*/ 1390176 w 1390176"/>
              <a:gd name="connsiteY25" fmla="*/ 677287 h 677287"/>
              <a:gd name="connsiteX26" fmla="*/ 1381761 w 1390176"/>
              <a:gd name="connsiteY26" fmla="*/ 353269 h 677287"/>
              <a:gd name="connsiteX27" fmla="*/ 1362384 w 1390176"/>
              <a:gd name="connsiteY27" fmla="*/ 196260 h 677287"/>
              <a:gd name="connsiteX28" fmla="*/ 1333877 w 1390176"/>
              <a:gd name="connsiteY28" fmla="*/ 90534 h 677287"/>
              <a:gd name="connsiteX29" fmla="*/ 1312752 w 1390176"/>
              <a:gd name="connsiteY29" fmla="*/ 0 h 677287"/>
              <a:gd name="connsiteX30" fmla="*/ 742384 w 1390176"/>
              <a:gd name="connsiteY30" fmla="*/ 45267 h 677287"/>
              <a:gd name="connsiteX31" fmla="*/ 0 w 1390176"/>
              <a:gd name="connsiteY31" fmla="*/ 51303 h 677287"/>
              <a:gd name="connsiteX0" fmla="*/ 0 w 1390176"/>
              <a:gd name="connsiteY0" fmla="*/ 51303 h 677924"/>
              <a:gd name="connsiteX1" fmla="*/ 3017 w 1390176"/>
              <a:gd name="connsiteY1" fmla="*/ 147873 h 677924"/>
              <a:gd name="connsiteX2" fmla="*/ 464744 w 1390176"/>
              <a:gd name="connsiteY2" fmla="*/ 156926 h 677924"/>
              <a:gd name="connsiteX3" fmla="*/ 461726 w 1390176"/>
              <a:gd name="connsiteY3" fmla="*/ 513029 h 677924"/>
              <a:gd name="connsiteX4" fmla="*/ 482851 w 1390176"/>
              <a:gd name="connsiteY4" fmla="*/ 525101 h 677924"/>
              <a:gd name="connsiteX5" fmla="*/ 525101 w 1390176"/>
              <a:gd name="connsiteY5" fmla="*/ 528118 h 677924"/>
              <a:gd name="connsiteX6" fmla="*/ 549243 w 1390176"/>
              <a:gd name="connsiteY6" fmla="*/ 534154 h 677924"/>
              <a:gd name="connsiteX7" fmla="*/ 564332 w 1390176"/>
              <a:gd name="connsiteY7" fmla="*/ 546225 h 677924"/>
              <a:gd name="connsiteX8" fmla="*/ 607114 w 1390176"/>
              <a:gd name="connsiteY8" fmla="*/ 550001 h 677924"/>
              <a:gd name="connsiteX9" fmla="*/ 633742 w 1390176"/>
              <a:gd name="connsiteY9" fmla="*/ 585457 h 677924"/>
              <a:gd name="connsiteX10" fmla="*/ 666187 w 1390176"/>
              <a:gd name="connsiteY10" fmla="*/ 589252 h 677924"/>
              <a:gd name="connsiteX11" fmla="*/ 691081 w 1390176"/>
              <a:gd name="connsiteY11" fmla="*/ 597528 h 677924"/>
              <a:gd name="connsiteX12" fmla="*/ 757473 w 1390176"/>
              <a:gd name="connsiteY12" fmla="*/ 585457 h 677924"/>
              <a:gd name="connsiteX13" fmla="*/ 841972 w 1390176"/>
              <a:gd name="connsiteY13" fmla="*/ 630724 h 677924"/>
              <a:gd name="connsiteX14" fmla="*/ 884221 w 1390176"/>
              <a:gd name="connsiteY14" fmla="*/ 615635 h 677924"/>
              <a:gd name="connsiteX15" fmla="*/ 920435 w 1390176"/>
              <a:gd name="connsiteY15" fmla="*/ 642796 h 677924"/>
              <a:gd name="connsiteX16" fmla="*/ 962685 w 1390176"/>
              <a:gd name="connsiteY16" fmla="*/ 636760 h 677924"/>
              <a:gd name="connsiteX17" fmla="*/ 1001917 w 1390176"/>
              <a:gd name="connsiteY17" fmla="*/ 648831 h 677924"/>
              <a:gd name="connsiteX18" fmla="*/ 1038130 w 1390176"/>
              <a:gd name="connsiteY18" fmla="*/ 645813 h 677924"/>
              <a:gd name="connsiteX19" fmla="*/ 1074344 w 1390176"/>
              <a:gd name="connsiteY19" fmla="*/ 663920 h 677924"/>
              <a:gd name="connsiteX20" fmla="*/ 1100043 w 1390176"/>
              <a:gd name="connsiteY20" fmla="*/ 677924 h 677924"/>
              <a:gd name="connsiteX21" fmla="*/ 1146772 w 1390176"/>
              <a:gd name="connsiteY21" fmla="*/ 624689 h 677924"/>
              <a:gd name="connsiteX22" fmla="*/ 1186004 w 1390176"/>
              <a:gd name="connsiteY22" fmla="*/ 615635 h 677924"/>
              <a:gd name="connsiteX23" fmla="*/ 1237307 w 1390176"/>
              <a:gd name="connsiteY23" fmla="*/ 621671 h 677924"/>
              <a:gd name="connsiteX24" fmla="*/ 1270503 w 1390176"/>
              <a:gd name="connsiteY24" fmla="*/ 609600 h 677924"/>
              <a:gd name="connsiteX25" fmla="*/ 1390176 w 1390176"/>
              <a:gd name="connsiteY25" fmla="*/ 677287 h 677924"/>
              <a:gd name="connsiteX26" fmla="*/ 1381761 w 1390176"/>
              <a:gd name="connsiteY26" fmla="*/ 353269 h 677924"/>
              <a:gd name="connsiteX27" fmla="*/ 1362384 w 1390176"/>
              <a:gd name="connsiteY27" fmla="*/ 196260 h 677924"/>
              <a:gd name="connsiteX28" fmla="*/ 1333877 w 1390176"/>
              <a:gd name="connsiteY28" fmla="*/ 90534 h 677924"/>
              <a:gd name="connsiteX29" fmla="*/ 1312752 w 1390176"/>
              <a:gd name="connsiteY29" fmla="*/ 0 h 677924"/>
              <a:gd name="connsiteX30" fmla="*/ 742384 w 1390176"/>
              <a:gd name="connsiteY30" fmla="*/ 45267 h 677924"/>
              <a:gd name="connsiteX31" fmla="*/ 0 w 1390176"/>
              <a:gd name="connsiteY31" fmla="*/ 51303 h 677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390176" h="677924">
                <a:moveTo>
                  <a:pt x="0" y="51303"/>
                </a:moveTo>
                <a:cubicBezTo>
                  <a:pt x="1006" y="83493"/>
                  <a:pt x="2011" y="115683"/>
                  <a:pt x="3017" y="147873"/>
                </a:cubicBezTo>
                <a:lnTo>
                  <a:pt x="464744" y="156926"/>
                </a:lnTo>
                <a:lnTo>
                  <a:pt x="461726" y="513029"/>
                </a:lnTo>
                <a:lnTo>
                  <a:pt x="482851" y="525101"/>
                </a:lnTo>
                <a:lnTo>
                  <a:pt x="525101" y="528118"/>
                </a:lnTo>
                <a:lnTo>
                  <a:pt x="549243" y="534154"/>
                </a:lnTo>
                <a:lnTo>
                  <a:pt x="564332" y="546225"/>
                </a:lnTo>
                <a:lnTo>
                  <a:pt x="607114" y="550001"/>
                </a:lnTo>
                <a:lnTo>
                  <a:pt x="633742" y="585457"/>
                </a:lnTo>
                <a:lnTo>
                  <a:pt x="666187" y="589252"/>
                </a:lnTo>
                <a:lnTo>
                  <a:pt x="691081" y="597528"/>
                </a:lnTo>
                <a:lnTo>
                  <a:pt x="757473" y="585457"/>
                </a:lnTo>
                <a:lnTo>
                  <a:pt x="841972" y="630724"/>
                </a:lnTo>
                <a:lnTo>
                  <a:pt x="884221" y="615635"/>
                </a:lnTo>
                <a:lnTo>
                  <a:pt x="920435" y="642796"/>
                </a:lnTo>
                <a:lnTo>
                  <a:pt x="962685" y="636760"/>
                </a:lnTo>
                <a:lnTo>
                  <a:pt x="1001917" y="648831"/>
                </a:lnTo>
                <a:lnTo>
                  <a:pt x="1038130" y="645813"/>
                </a:lnTo>
                <a:lnTo>
                  <a:pt x="1074344" y="663920"/>
                </a:lnTo>
                <a:lnTo>
                  <a:pt x="1100043" y="677924"/>
                </a:lnTo>
                <a:lnTo>
                  <a:pt x="1146772" y="624689"/>
                </a:lnTo>
                <a:lnTo>
                  <a:pt x="1186004" y="615635"/>
                </a:lnTo>
                <a:lnTo>
                  <a:pt x="1237307" y="621671"/>
                </a:lnTo>
                <a:lnTo>
                  <a:pt x="1270503" y="609600"/>
                </a:lnTo>
                <a:lnTo>
                  <a:pt x="1390176" y="677287"/>
                </a:lnTo>
                <a:lnTo>
                  <a:pt x="1381761" y="353269"/>
                </a:lnTo>
                <a:lnTo>
                  <a:pt x="1362384" y="196260"/>
                </a:lnTo>
                <a:lnTo>
                  <a:pt x="1333877" y="90534"/>
                </a:lnTo>
                <a:lnTo>
                  <a:pt x="1312752" y="0"/>
                </a:lnTo>
                <a:lnTo>
                  <a:pt x="742384" y="45267"/>
                </a:lnTo>
                <a:lnTo>
                  <a:pt x="0" y="51303"/>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21" name="Freeform 20"/>
          <p:cNvSpPr/>
          <p:nvPr/>
        </p:nvSpPr>
        <p:spPr>
          <a:xfrm>
            <a:off x="5150527" y="4253870"/>
            <a:ext cx="725631" cy="718910"/>
          </a:xfrm>
          <a:custGeom>
            <a:avLst/>
            <a:gdLst>
              <a:gd name="connsiteX0" fmla="*/ 0 w 751437"/>
              <a:gd name="connsiteY0" fmla="*/ 75445 h 742384"/>
              <a:gd name="connsiteX1" fmla="*/ 36213 w 751437"/>
              <a:gd name="connsiteY1" fmla="*/ 347049 h 742384"/>
              <a:gd name="connsiteX2" fmla="*/ 42249 w 751437"/>
              <a:gd name="connsiteY2" fmla="*/ 633742 h 742384"/>
              <a:gd name="connsiteX3" fmla="*/ 96570 w 751437"/>
              <a:gd name="connsiteY3" fmla="*/ 618653 h 742384"/>
              <a:gd name="connsiteX4" fmla="*/ 114677 w 751437"/>
              <a:gd name="connsiteY4" fmla="*/ 636760 h 742384"/>
              <a:gd name="connsiteX5" fmla="*/ 123730 w 751437"/>
              <a:gd name="connsiteY5" fmla="*/ 742384 h 742384"/>
              <a:gd name="connsiteX6" fmla="*/ 407405 w 751437"/>
              <a:gd name="connsiteY6" fmla="*/ 712206 h 742384"/>
              <a:gd name="connsiteX7" fmla="*/ 579421 w 751437"/>
              <a:gd name="connsiteY7" fmla="*/ 685045 h 742384"/>
              <a:gd name="connsiteX8" fmla="*/ 588475 w 751437"/>
              <a:gd name="connsiteY8" fmla="*/ 700134 h 742384"/>
              <a:gd name="connsiteX9" fmla="*/ 597528 w 751437"/>
              <a:gd name="connsiteY9" fmla="*/ 597528 h 742384"/>
              <a:gd name="connsiteX10" fmla="*/ 573386 w 751437"/>
              <a:gd name="connsiteY10" fmla="*/ 537172 h 742384"/>
              <a:gd name="connsiteX11" fmla="*/ 594510 w 751437"/>
              <a:gd name="connsiteY11" fmla="*/ 473798 h 742384"/>
              <a:gd name="connsiteX12" fmla="*/ 642796 w 751437"/>
              <a:gd name="connsiteY12" fmla="*/ 395334 h 742384"/>
              <a:gd name="connsiteX13" fmla="*/ 651849 w 751437"/>
              <a:gd name="connsiteY13" fmla="*/ 365156 h 742384"/>
              <a:gd name="connsiteX14" fmla="*/ 648831 w 751437"/>
              <a:gd name="connsiteY14" fmla="*/ 341014 h 742384"/>
              <a:gd name="connsiteX15" fmla="*/ 691081 w 751437"/>
              <a:gd name="connsiteY15" fmla="*/ 274622 h 742384"/>
              <a:gd name="connsiteX16" fmla="*/ 700134 w 751437"/>
              <a:gd name="connsiteY16" fmla="*/ 223319 h 742384"/>
              <a:gd name="connsiteX17" fmla="*/ 694099 w 751437"/>
              <a:gd name="connsiteY17" fmla="*/ 205212 h 742384"/>
              <a:gd name="connsiteX18" fmla="*/ 727295 w 751437"/>
              <a:gd name="connsiteY18" fmla="*/ 172016 h 742384"/>
              <a:gd name="connsiteX19" fmla="*/ 718241 w 751437"/>
              <a:gd name="connsiteY19" fmla="*/ 141837 h 742384"/>
              <a:gd name="connsiteX20" fmla="*/ 751437 w 751437"/>
              <a:gd name="connsiteY20" fmla="*/ 72427 h 742384"/>
              <a:gd name="connsiteX21" fmla="*/ 685045 w 751437"/>
              <a:gd name="connsiteY21" fmla="*/ 72427 h 742384"/>
              <a:gd name="connsiteX22" fmla="*/ 660903 w 751437"/>
              <a:gd name="connsiteY22" fmla="*/ 57338 h 742384"/>
              <a:gd name="connsiteX23" fmla="*/ 669956 w 751437"/>
              <a:gd name="connsiteY23" fmla="*/ 0 h 742384"/>
              <a:gd name="connsiteX24" fmla="*/ 669956 w 751437"/>
              <a:gd name="connsiteY24" fmla="*/ 0 h 742384"/>
              <a:gd name="connsiteX25" fmla="*/ 322906 w 751437"/>
              <a:gd name="connsiteY25" fmla="*/ 30178 h 742384"/>
              <a:gd name="connsiteX26" fmla="*/ 162962 w 751437"/>
              <a:gd name="connsiteY26" fmla="*/ 48285 h 742384"/>
              <a:gd name="connsiteX27" fmla="*/ 0 w 751437"/>
              <a:gd name="connsiteY27" fmla="*/ 75445 h 742384"/>
              <a:gd name="connsiteX0" fmla="*/ 0 w 751437"/>
              <a:gd name="connsiteY0" fmla="*/ 75445 h 742384"/>
              <a:gd name="connsiteX1" fmla="*/ 36213 w 751437"/>
              <a:gd name="connsiteY1" fmla="*/ 347049 h 742384"/>
              <a:gd name="connsiteX2" fmla="*/ 42249 w 751437"/>
              <a:gd name="connsiteY2" fmla="*/ 633742 h 742384"/>
              <a:gd name="connsiteX3" fmla="*/ 54809 w 751437"/>
              <a:gd name="connsiteY3" fmla="*/ 644618 h 742384"/>
              <a:gd name="connsiteX4" fmla="*/ 96570 w 751437"/>
              <a:gd name="connsiteY4" fmla="*/ 618653 h 742384"/>
              <a:gd name="connsiteX5" fmla="*/ 114677 w 751437"/>
              <a:gd name="connsiteY5" fmla="*/ 636760 h 742384"/>
              <a:gd name="connsiteX6" fmla="*/ 123730 w 751437"/>
              <a:gd name="connsiteY6" fmla="*/ 742384 h 742384"/>
              <a:gd name="connsiteX7" fmla="*/ 407405 w 751437"/>
              <a:gd name="connsiteY7" fmla="*/ 712206 h 742384"/>
              <a:gd name="connsiteX8" fmla="*/ 579421 w 751437"/>
              <a:gd name="connsiteY8" fmla="*/ 685045 h 742384"/>
              <a:gd name="connsiteX9" fmla="*/ 588475 w 751437"/>
              <a:gd name="connsiteY9" fmla="*/ 700134 h 742384"/>
              <a:gd name="connsiteX10" fmla="*/ 597528 w 751437"/>
              <a:gd name="connsiteY10" fmla="*/ 597528 h 742384"/>
              <a:gd name="connsiteX11" fmla="*/ 573386 w 751437"/>
              <a:gd name="connsiteY11" fmla="*/ 537172 h 742384"/>
              <a:gd name="connsiteX12" fmla="*/ 594510 w 751437"/>
              <a:gd name="connsiteY12" fmla="*/ 473798 h 742384"/>
              <a:gd name="connsiteX13" fmla="*/ 642796 w 751437"/>
              <a:gd name="connsiteY13" fmla="*/ 395334 h 742384"/>
              <a:gd name="connsiteX14" fmla="*/ 651849 w 751437"/>
              <a:gd name="connsiteY14" fmla="*/ 365156 h 742384"/>
              <a:gd name="connsiteX15" fmla="*/ 648831 w 751437"/>
              <a:gd name="connsiteY15" fmla="*/ 341014 h 742384"/>
              <a:gd name="connsiteX16" fmla="*/ 691081 w 751437"/>
              <a:gd name="connsiteY16" fmla="*/ 274622 h 742384"/>
              <a:gd name="connsiteX17" fmla="*/ 700134 w 751437"/>
              <a:gd name="connsiteY17" fmla="*/ 223319 h 742384"/>
              <a:gd name="connsiteX18" fmla="*/ 694099 w 751437"/>
              <a:gd name="connsiteY18" fmla="*/ 205212 h 742384"/>
              <a:gd name="connsiteX19" fmla="*/ 727295 w 751437"/>
              <a:gd name="connsiteY19" fmla="*/ 172016 h 742384"/>
              <a:gd name="connsiteX20" fmla="*/ 718241 w 751437"/>
              <a:gd name="connsiteY20" fmla="*/ 141837 h 742384"/>
              <a:gd name="connsiteX21" fmla="*/ 751437 w 751437"/>
              <a:gd name="connsiteY21" fmla="*/ 72427 h 742384"/>
              <a:gd name="connsiteX22" fmla="*/ 685045 w 751437"/>
              <a:gd name="connsiteY22" fmla="*/ 72427 h 742384"/>
              <a:gd name="connsiteX23" fmla="*/ 660903 w 751437"/>
              <a:gd name="connsiteY23" fmla="*/ 57338 h 742384"/>
              <a:gd name="connsiteX24" fmla="*/ 669956 w 751437"/>
              <a:gd name="connsiteY24" fmla="*/ 0 h 742384"/>
              <a:gd name="connsiteX25" fmla="*/ 669956 w 751437"/>
              <a:gd name="connsiteY25" fmla="*/ 0 h 742384"/>
              <a:gd name="connsiteX26" fmla="*/ 322906 w 751437"/>
              <a:gd name="connsiteY26" fmla="*/ 30178 h 742384"/>
              <a:gd name="connsiteX27" fmla="*/ 162962 w 751437"/>
              <a:gd name="connsiteY27" fmla="*/ 48285 h 742384"/>
              <a:gd name="connsiteX28" fmla="*/ 0 w 751437"/>
              <a:gd name="connsiteY28" fmla="*/ 75445 h 742384"/>
              <a:gd name="connsiteX0" fmla="*/ 0 w 751437"/>
              <a:gd name="connsiteY0" fmla="*/ 75445 h 742384"/>
              <a:gd name="connsiteX1" fmla="*/ 36213 w 751437"/>
              <a:gd name="connsiteY1" fmla="*/ 347049 h 742384"/>
              <a:gd name="connsiteX2" fmla="*/ 42249 w 751437"/>
              <a:gd name="connsiteY2" fmla="*/ 633742 h 742384"/>
              <a:gd name="connsiteX3" fmla="*/ 54809 w 751437"/>
              <a:gd name="connsiteY3" fmla="*/ 644618 h 742384"/>
              <a:gd name="connsiteX4" fmla="*/ 91803 w 751437"/>
              <a:gd name="connsiteY4" fmla="*/ 628191 h 742384"/>
              <a:gd name="connsiteX5" fmla="*/ 114677 w 751437"/>
              <a:gd name="connsiteY5" fmla="*/ 636760 h 742384"/>
              <a:gd name="connsiteX6" fmla="*/ 123730 w 751437"/>
              <a:gd name="connsiteY6" fmla="*/ 742384 h 742384"/>
              <a:gd name="connsiteX7" fmla="*/ 407405 w 751437"/>
              <a:gd name="connsiteY7" fmla="*/ 712206 h 742384"/>
              <a:gd name="connsiteX8" fmla="*/ 579421 w 751437"/>
              <a:gd name="connsiteY8" fmla="*/ 685045 h 742384"/>
              <a:gd name="connsiteX9" fmla="*/ 588475 w 751437"/>
              <a:gd name="connsiteY9" fmla="*/ 700134 h 742384"/>
              <a:gd name="connsiteX10" fmla="*/ 597528 w 751437"/>
              <a:gd name="connsiteY10" fmla="*/ 597528 h 742384"/>
              <a:gd name="connsiteX11" fmla="*/ 573386 w 751437"/>
              <a:gd name="connsiteY11" fmla="*/ 537172 h 742384"/>
              <a:gd name="connsiteX12" fmla="*/ 594510 w 751437"/>
              <a:gd name="connsiteY12" fmla="*/ 473798 h 742384"/>
              <a:gd name="connsiteX13" fmla="*/ 642796 w 751437"/>
              <a:gd name="connsiteY13" fmla="*/ 395334 h 742384"/>
              <a:gd name="connsiteX14" fmla="*/ 651849 w 751437"/>
              <a:gd name="connsiteY14" fmla="*/ 365156 h 742384"/>
              <a:gd name="connsiteX15" fmla="*/ 648831 w 751437"/>
              <a:gd name="connsiteY15" fmla="*/ 341014 h 742384"/>
              <a:gd name="connsiteX16" fmla="*/ 691081 w 751437"/>
              <a:gd name="connsiteY16" fmla="*/ 274622 h 742384"/>
              <a:gd name="connsiteX17" fmla="*/ 700134 w 751437"/>
              <a:gd name="connsiteY17" fmla="*/ 223319 h 742384"/>
              <a:gd name="connsiteX18" fmla="*/ 694099 w 751437"/>
              <a:gd name="connsiteY18" fmla="*/ 205212 h 742384"/>
              <a:gd name="connsiteX19" fmla="*/ 727295 w 751437"/>
              <a:gd name="connsiteY19" fmla="*/ 172016 h 742384"/>
              <a:gd name="connsiteX20" fmla="*/ 718241 w 751437"/>
              <a:gd name="connsiteY20" fmla="*/ 141837 h 742384"/>
              <a:gd name="connsiteX21" fmla="*/ 751437 w 751437"/>
              <a:gd name="connsiteY21" fmla="*/ 72427 h 742384"/>
              <a:gd name="connsiteX22" fmla="*/ 685045 w 751437"/>
              <a:gd name="connsiteY22" fmla="*/ 72427 h 742384"/>
              <a:gd name="connsiteX23" fmla="*/ 660903 w 751437"/>
              <a:gd name="connsiteY23" fmla="*/ 57338 h 742384"/>
              <a:gd name="connsiteX24" fmla="*/ 669956 w 751437"/>
              <a:gd name="connsiteY24" fmla="*/ 0 h 742384"/>
              <a:gd name="connsiteX25" fmla="*/ 669956 w 751437"/>
              <a:gd name="connsiteY25" fmla="*/ 0 h 742384"/>
              <a:gd name="connsiteX26" fmla="*/ 322906 w 751437"/>
              <a:gd name="connsiteY26" fmla="*/ 30178 h 742384"/>
              <a:gd name="connsiteX27" fmla="*/ 162962 w 751437"/>
              <a:gd name="connsiteY27" fmla="*/ 48285 h 742384"/>
              <a:gd name="connsiteX28" fmla="*/ 0 w 751437"/>
              <a:gd name="connsiteY28" fmla="*/ 75445 h 74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51437" h="742384">
                <a:moveTo>
                  <a:pt x="0" y="75445"/>
                </a:moveTo>
                <a:lnTo>
                  <a:pt x="36213" y="347049"/>
                </a:lnTo>
                <a:lnTo>
                  <a:pt x="42249" y="633742"/>
                </a:lnTo>
                <a:cubicBezTo>
                  <a:pt x="44847" y="632598"/>
                  <a:pt x="52211" y="645762"/>
                  <a:pt x="54809" y="644618"/>
                </a:cubicBezTo>
                <a:lnTo>
                  <a:pt x="91803" y="628191"/>
                </a:lnTo>
                <a:lnTo>
                  <a:pt x="114677" y="636760"/>
                </a:lnTo>
                <a:lnTo>
                  <a:pt x="123730" y="742384"/>
                </a:lnTo>
                <a:lnTo>
                  <a:pt x="407405" y="712206"/>
                </a:lnTo>
                <a:lnTo>
                  <a:pt x="579421" y="685045"/>
                </a:lnTo>
                <a:lnTo>
                  <a:pt x="588475" y="700134"/>
                </a:lnTo>
                <a:lnTo>
                  <a:pt x="597528" y="597528"/>
                </a:lnTo>
                <a:lnTo>
                  <a:pt x="573386" y="537172"/>
                </a:lnTo>
                <a:lnTo>
                  <a:pt x="594510" y="473798"/>
                </a:lnTo>
                <a:lnTo>
                  <a:pt x="642796" y="395334"/>
                </a:lnTo>
                <a:lnTo>
                  <a:pt x="651849" y="365156"/>
                </a:lnTo>
                <a:lnTo>
                  <a:pt x="648831" y="341014"/>
                </a:lnTo>
                <a:lnTo>
                  <a:pt x="691081" y="274622"/>
                </a:lnTo>
                <a:lnTo>
                  <a:pt x="700134" y="223319"/>
                </a:lnTo>
                <a:lnTo>
                  <a:pt x="694099" y="205212"/>
                </a:lnTo>
                <a:lnTo>
                  <a:pt x="727295" y="172016"/>
                </a:lnTo>
                <a:lnTo>
                  <a:pt x="718241" y="141837"/>
                </a:lnTo>
                <a:lnTo>
                  <a:pt x="751437" y="72427"/>
                </a:lnTo>
                <a:lnTo>
                  <a:pt x="685045" y="72427"/>
                </a:lnTo>
                <a:lnTo>
                  <a:pt x="660903" y="57338"/>
                </a:lnTo>
                <a:lnTo>
                  <a:pt x="669956" y="0"/>
                </a:lnTo>
                <a:lnTo>
                  <a:pt x="669956" y="0"/>
                </a:lnTo>
                <a:lnTo>
                  <a:pt x="322906" y="30178"/>
                </a:lnTo>
                <a:lnTo>
                  <a:pt x="162962" y="48285"/>
                </a:lnTo>
                <a:lnTo>
                  <a:pt x="0" y="75445"/>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22" name="Freeform 21"/>
          <p:cNvSpPr/>
          <p:nvPr/>
        </p:nvSpPr>
        <p:spPr>
          <a:xfrm>
            <a:off x="5688997" y="4463232"/>
            <a:ext cx="510856" cy="940587"/>
          </a:xfrm>
          <a:custGeom>
            <a:avLst/>
            <a:gdLst>
              <a:gd name="connsiteX0" fmla="*/ 132784 w 528118"/>
              <a:gd name="connsiteY0" fmla="*/ 54321 h 968721"/>
              <a:gd name="connsiteX1" fmla="*/ 87516 w 528118"/>
              <a:gd name="connsiteY1" fmla="*/ 126748 h 968721"/>
              <a:gd name="connsiteX2" fmla="*/ 93552 w 528118"/>
              <a:gd name="connsiteY2" fmla="*/ 162962 h 968721"/>
              <a:gd name="connsiteX3" fmla="*/ 30178 w 528118"/>
              <a:gd name="connsiteY3" fmla="*/ 265568 h 968721"/>
              <a:gd name="connsiteX4" fmla="*/ 9053 w 528118"/>
              <a:gd name="connsiteY4" fmla="*/ 322907 h 968721"/>
              <a:gd name="connsiteX5" fmla="*/ 36213 w 528118"/>
              <a:gd name="connsiteY5" fmla="*/ 392317 h 968721"/>
              <a:gd name="connsiteX6" fmla="*/ 42249 w 528118"/>
              <a:gd name="connsiteY6" fmla="*/ 494923 h 968721"/>
              <a:gd name="connsiteX7" fmla="*/ 63374 w 528118"/>
              <a:gd name="connsiteY7" fmla="*/ 600546 h 968721"/>
              <a:gd name="connsiteX8" fmla="*/ 39231 w 528118"/>
              <a:gd name="connsiteY8" fmla="*/ 621671 h 968721"/>
              <a:gd name="connsiteX9" fmla="*/ 54320 w 528118"/>
              <a:gd name="connsiteY9" fmla="*/ 669956 h 968721"/>
              <a:gd name="connsiteX10" fmla="*/ 27160 w 528118"/>
              <a:gd name="connsiteY10" fmla="*/ 703152 h 968721"/>
              <a:gd name="connsiteX11" fmla="*/ 21124 w 528118"/>
              <a:gd name="connsiteY11" fmla="*/ 718242 h 968721"/>
              <a:gd name="connsiteX12" fmla="*/ 3017 w 528118"/>
              <a:gd name="connsiteY12" fmla="*/ 742384 h 968721"/>
              <a:gd name="connsiteX13" fmla="*/ 0 w 528118"/>
              <a:gd name="connsiteY13" fmla="*/ 838954 h 968721"/>
              <a:gd name="connsiteX14" fmla="*/ 3017 w 528118"/>
              <a:gd name="connsiteY14" fmla="*/ 851026 h 968721"/>
              <a:gd name="connsiteX15" fmla="*/ 238407 w 528118"/>
              <a:gd name="connsiteY15" fmla="*/ 826883 h 968721"/>
              <a:gd name="connsiteX16" fmla="*/ 280657 w 528118"/>
              <a:gd name="connsiteY16" fmla="*/ 817830 h 968721"/>
              <a:gd name="connsiteX17" fmla="*/ 298764 w 528118"/>
              <a:gd name="connsiteY17" fmla="*/ 838954 h 968721"/>
              <a:gd name="connsiteX18" fmla="*/ 301782 w 528118"/>
              <a:gd name="connsiteY18" fmla="*/ 866115 h 968721"/>
              <a:gd name="connsiteX19" fmla="*/ 298764 w 528118"/>
              <a:gd name="connsiteY19" fmla="*/ 902329 h 968721"/>
              <a:gd name="connsiteX20" fmla="*/ 325924 w 528118"/>
              <a:gd name="connsiteY20" fmla="*/ 923453 h 968721"/>
              <a:gd name="connsiteX21" fmla="*/ 334978 w 528118"/>
              <a:gd name="connsiteY21" fmla="*/ 962685 h 968721"/>
              <a:gd name="connsiteX22" fmla="*/ 347049 w 528118"/>
              <a:gd name="connsiteY22" fmla="*/ 968721 h 968721"/>
              <a:gd name="connsiteX23" fmla="*/ 425512 w 528118"/>
              <a:gd name="connsiteY23" fmla="*/ 917418 h 968721"/>
              <a:gd name="connsiteX24" fmla="*/ 446637 w 528118"/>
              <a:gd name="connsiteY24" fmla="*/ 911382 h 968721"/>
              <a:gd name="connsiteX25" fmla="*/ 476815 w 528118"/>
              <a:gd name="connsiteY25" fmla="*/ 905346 h 968721"/>
              <a:gd name="connsiteX26" fmla="*/ 506994 w 528118"/>
              <a:gd name="connsiteY26" fmla="*/ 914400 h 968721"/>
              <a:gd name="connsiteX27" fmla="*/ 528118 w 528118"/>
              <a:gd name="connsiteY27" fmla="*/ 887240 h 968721"/>
              <a:gd name="connsiteX28" fmla="*/ 494922 w 528118"/>
              <a:gd name="connsiteY28" fmla="*/ 488887 h 968721"/>
              <a:gd name="connsiteX29" fmla="*/ 485869 w 528118"/>
              <a:gd name="connsiteY29" fmla="*/ 277640 h 968721"/>
              <a:gd name="connsiteX30" fmla="*/ 455691 w 528118"/>
              <a:gd name="connsiteY30" fmla="*/ 0 h 968721"/>
              <a:gd name="connsiteX31" fmla="*/ 446637 w 528118"/>
              <a:gd name="connsiteY31" fmla="*/ 15089 h 968721"/>
              <a:gd name="connsiteX32" fmla="*/ 404388 w 528118"/>
              <a:gd name="connsiteY32" fmla="*/ 12071 h 968721"/>
              <a:gd name="connsiteX33" fmla="*/ 132784 w 528118"/>
              <a:gd name="connsiteY33" fmla="*/ 54321 h 968721"/>
              <a:gd name="connsiteX0" fmla="*/ 132784 w 528118"/>
              <a:gd name="connsiteY0" fmla="*/ 54321 h 968721"/>
              <a:gd name="connsiteX1" fmla="*/ 87516 w 528118"/>
              <a:gd name="connsiteY1" fmla="*/ 126748 h 968721"/>
              <a:gd name="connsiteX2" fmla="*/ 93552 w 528118"/>
              <a:gd name="connsiteY2" fmla="*/ 162962 h 968721"/>
              <a:gd name="connsiteX3" fmla="*/ 30178 w 528118"/>
              <a:gd name="connsiteY3" fmla="*/ 265568 h 968721"/>
              <a:gd name="connsiteX4" fmla="*/ 9053 w 528118"/>
              <a:gd name="connsiteY4" fmla="*/ 322907 h 968721"/>
              <a:gd name="connsiteX5" fmla="*/ 36213 w 528118"/>
              <a:gd name="connsiteY5" fmla="*/ 392317 h 968721"/>
              <a:gd name="connsiteX6" fmla="*/ 42249 w 528118"/>
              <a:gd name="connsiteY6" fmla="*/ 494923 h 968721"/>
              <a:gd name="connsiteX7" fmla="*/ 49101 w 528118"/>
              <a:gd name="connsiteY7" fmla="*/ 593411 h 968721"/>
              <a:gd name="connsiteX8" fmla="*/ 39231 w 528118"/>
              <a:gd name="connsiteY8" fmla="*/ 621671 h 968721"/>
              <a:gd name="connsiteX9" fmla="*/ 54320 w 528118"/>
              <a:gd name="connsiteY9" fmla="*/ 669956 h 968721"/>
              <a:gd name="connsiteX10" fmla="*/ 27160 w 528118"/>
              <a:gd name="connsiteY10" fmla="*/ 703152 h 968721"/>
              <a:gd name="connsiteX11" fmla="*/ 21124 w 528118"/>
              <a:gd name="connsiteY11" fmla="*/ 718242 h 968721"/>
              <a:gd name="connsiteX12" fmla="*/ 3017 w 528118"/>
              <a:gd name="connsiteY12" fmla="*/ 742384 h 968721"/>
              <a:gd name="connsiteX13" fmla="*/ 0 w 528118"/>
              <a:gd name="connsiteY13" fmla="*/ 838954 h 968721"/>
              <a:gd name="connsiteX14" fmla="*/ 3017 w 528118"/>
              <a:gd name="connsiteY14" fmla="*/ 851026 h 968721"/>
              <a:gd name="connsiteX15" fmla="*/ 238407 w 528118"/>
              <a:gd name="connsiteY15" fmla="*/ 826883 h 968721"/>
              <a:gd name="connsiteX16" fmla="*/ 280657 w 528118"/>
              <a:gd name="connsiteY16" fmla="*/ 817830 h 968721"/>
              <a:gd name="connsiteX17" fmla="*/ 298764 w 528118"/>
              <a:gd name="connsiteY17" fmla="*/ 838954 h 968721"/>
              <a:gd name="connsiteX18" fmla="*/ 301782 w 528118"/>
              <a:gd name="connsiteY18" fmla="*/ 866115 h 968721"/>
              <a:gd name="connsiteX19" fmla="*/ 298764 w 528118"/>
              <a:gd name="connsiteY19" fmla="*/ 902329 h 968721"/>
              <a:gd name="connsiteX20" fmla="*/ 325924 w 528118"/>
              <a:gd name="connsiteY20" fmla="*/ 923453 h 968721"/>
              <a:gd name="connsiteX21" fmla="*/ 334978 w 528118"/>
              <a:gd name="connsiteY21" fmla="*/ 962685 h 968721"/>
              <a:gd name="connsiteX22" fmla="*/ 347049 w 528118"/>
              <a:gd name="connsiteY22" fmla="*/ 968721 h 968721"/>
              <a:gd name="connsiteX23" fmla="*/ 425512 w 528118"/>
              <a:gd name="connsiteY23" fmla="*/ 917418 h 968721"/>
              <a:gd name="connsiteX24" fmla="*/ 446637 w 528118"/>
              <a:gd name="connsiteY24" fmla="*/ 911382 h 968721"/>
              <a:gd name="connsiteX25" fmla="*/ 476815 w 528118"/>
              <a:gd name="connsiteY25" fmla="*/ 905346 h 968721"/>
              <a:gd name="connsiteX26" fmla="*/ 506994 w 528118"/>
              <a:gd name="connsiteY26" fmla="*/ 914400 h 968721"/>
              <a:gd name="connsiteX27" fmla="*/ 528118 w 528118"/>
              <a:gd name="connsiteY27" fmla="*/ 887240 h 968721"/>
              <a:gd name="connsiteX28" fmla="*/ 494922 w 528118"/>
              <a:gd name="connsiteY28" fmla="*/ 488887 h 968721"/>
              <a:gd name="connsiteX29" fmla="*/ 485869 w 528118"/>
              <a:gd name="connsiteY29" fmla="*/ 277640 h 968721"/>
              <a:gd name="connsiteX30" fmla="*/ 455691 w 528118"/>
              <a:gd name="connsiteY30" fmla="*/ 0 h 968721"/>
              <a:gd name="connsiteX31" fmla="*/ 446637 w 528118"/>
              <a:gd name="connsiteY31" fmla="*/ 15089 h 968721"/>
              <a:gd name="connsiteX32" fmla="*/ 404388 w 528118"/>
              <a:gd name="connsiteY32" fmla="*/ 12071 h 968721"/>
              <a:gd name="connsiteX33" fmla="*/ 132784 w 528118"/>
              <a:gd name="connsiteY33" fmla="*/ 54321 h 968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528118" h="968721">
                <a:moveTo>
                  <a:pt x="132784" y="54321"/>
                </a:moveTo>
                <a:lnTo>
                  <a:pt x="87516" y="126748"/>
                </a:lnTo>
                <a:lnTo>
                  <a:pt x="93552" y="162962"/>
                </a:lnTo>
                <a:lnTo>
                  <a:pt x="30178" y="265568"/>
                </a:lnTo>
                <a:lnTo>
                  <a:pt x="9053" y="322907"/>
                </a:lnTo>
                <a:lnTo>
                  <a:pt x="36213" y="392317"/>
                </a:lnTo>
                <a:lnTo>
                  <a:pt x="42249" y="494923"/>
                </a:lnTo>
                <a:lnTo>
                  <a:pt x="49101" y="593411"/>
                </a:lnTo>
                <a:lnTo>
                  <a:pt x="39231" y="621671"/>
                </a:lnTo>
                <a:lnTo>
                  <a:pt x="54320" y="669956"/>
                </a:lnTo>
                <a:lnTo>
                  <a:pt x="27160" y="703152"/>
                </a:lnTo>
                <a:lnTo>
                  <a:pt x="21124" y="718242"/>
                </a:lnTo>
                <a:lnTo>
                  <a:pt x="3017" y="742384"/>
                </a:lnTo>
                <a:cubicBezTo>
                  <a:pt x="2011" y="774574"/>
                  <a:pt x="1006" y="806764"/>
                  <a:pt x="0" y="838954"/>
                </a:cubicBezTo>
                <a:lnTo>
                  <a:pt x="3017" y="851026"/>
                </a:lnTo>
                <a:lnTo>
                  <a:pt x="238407" y="826883"/>
                </a:lnTo>
                <a:lnTo>
                  <a:pt x="280657" y="817830"/>
                </a:lnTo>
                <a:lnTo>
                  <a:pt x="298764" y="838954"/>
                </a:lnTo>
                <a:lnTo>
                  <a:pt x="301782" y="866115"/>
                </a:lnTo>
                <a:lnTo>
                  <a:pt x="298764" y="902329"/>
                </a:lnTo>
                <a:lnTo>
                  <a:pt x="325924" y="923453"/>
                </a:lnTo>
                <a:lnTo>
                  <a:pt x="334978" y="962685"/>
                </a:lnTo>
                <a:lnTo>
                  <a:pt x="347049" y="968721"/>
                </a:lnTo>
                <a:lnTo>
                  <a:pt x="425512" y="917418"/>
                </a:lnTo>
                <a:lnTo>
                  <a:pt x="446637" y="911382"/>
                </a:lnTo>
                <a:lnTo>
                  <a:pt x="476815" y="905346"/>
                </a:lnTo>
                <a:lnTo>
                  <a:pt x="506994" y="914400"/>
                </a:lnTo>
                <a:lnTo>
                  <a:pt x="528118" y="887240"/>
                </a:lnTo>
                <a:lnTo>
                  <a:pt x="494922" y="488887"/>
                </a:lnTo>
                <a:lnTo>
                  <a:pt x="485869" y="277640"/>
                </a:lnTo>
                <a:lnTo>
                  <a:pt x="455691" y="0"/>
                </a:lnTo>
                <a:lnTo>
                  <a:pt x="446637" y="15089"/>
                </a:lnTo>
                <a:lnTo>
                  <a:pt x="404388" y="12071"/>
                </a:lnTo>
                <a:lnTo>
                  <a:pt x="132784" y="54321"/>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23" name="Freeform 22"/>
          <p:cNvSpPr/>
          <p:nvPr/>
        </p:nvSpPr>
        <p:spPr>
          <a:xfrm>
            <a:off x="4915809" y="3527263"/>
            <a:ext cx="1053928" cy="805118"/>
          </a:xfrm>
          <a:custGeom>
            <a:avLst/>
            <a:gdLst>
              <a:gd name="connsiteX0" fmla="*/ 0 w 1089433"/>
              <a:gd name="connsiteY0" fmla="*/ 63374 h 826883"/>
              <a:gd name="connsiteX1" fmla="*/ 57338 w 1089433"/>
              <a:gd name="connsiteY1" fmla="*/ 159945 h 826883"/>
              <a:gd name="connsiteX2" fmla="*/ 117695 w 1089433"/>
              <a:gd name="connsiteY2" fmla="*/ 202194 h 826883"/>
              <a:gd name="connsiteX3" fmla="*/ 120713 w 1089433"/>
              <a:gd name="connsiteY3" fmla="*/ 262550 h 826883"/>
              <a:gd name="connsiteX4" fmla="*/ 193140 w 1089433"/>
              <a:gd name="connsiteY4" fmla="*/ 331960 h 826883"/>
              <a:gd name="connsiteX5" fmla="*/ 214265 w 1089433"/>
              <a:gd name="connsiteY5" fmla="*/ 721259 h 826883"/>
              <a:gd name="connsiteX6" fmla="*/ 247461 w 1089433"/>
              <a:gd name="connsiteY6" fmla="*/ 826883 h 826883"/>
              <a:gd name="connsiteX7" fmla="*/ 905346 w 1089433"/>
              <a:gd name="connsiteY7" fmla="*/ 754455 h 826883"/>
              <a:gd name="connsiteX8" fmla="*/ 908364 w 1089433"/>
              <a:gd name="connsiteY8" fmla="*/ 805758 h 826883"/>
              <a:gd name="connsiteX9" fmla="*/ 932507 w 1089433"/>
              <a:gd name="connsiteY9" fmla="*/ 823865 h 826883"/>
              <a:gd name="connsiteX10" fmla="*/ 989845 w 1089433"/>
              <a:gd name="connsiteY10" fmla="*/ 823865 h 826883"/>
              <a:gd name="connsiteX11" fmla="*/ 998899 w 1089433"/>
              <a:gd name="connsiteY11" fmla="*/ 799723 h 826883"/>
              <a:gd name="connsiteX12" fmla="*/ 995881 w 1089433"/>
              <a:gd name="connsiteY12" fmla="*/ 772562 h 826883"/>
              <a:gd name="connsiteX13" fmla="*/ 1029077 w 1089433"/>
              <a:gd name="connsiteY13" fmla="*/ 700135 h 826883"/>
              <a:gd name="connsiteX14" fmla="*/ 1056237 w 1089433"/>
              <a:gd name="connsiteY14" fmla="*/ 675992 h 826883"/>
              <a:gd name="connsiteX15" fmla="*/ 1089433 w 1089433"/>
              <a:gd name="connsiteY15" fmla="*/ 682028 h 826883"/>
              <a:gd name="connsiteX16" fmla="*/ 1068309 w 1089433"/>
              <a:gd name="connsiteY16" fmla="*/ 648832 h 826883"/>
              <a:gd name="connsiteX17" fmla="*/ 1065291 w 1089433"/>
              <a:gd name="connsiteY17" fmla="*/ 597529 h 826883"/>
              <a:gd name="connsiteX18" fmla="*/ 1035113 w 1089433"/>
              <a:gd name="connsiteY18" fmla="*/ 588475 h 826883"/>
              <a:gd name="connsiteX19" fmla="*/ 1001917 w 1089433"/>
              <a:gd name="connsiteY19" fmla="*/ 576404 h 826883"/>
              <a:gd name="connsiteX20" fmla="*/ 977774 w 1089433"/>
              <a:gd name="connsiteY20" fmla="*/ 528119 h 826883"/>
              <a:gd name="connsiteX21" fmla="*/ 965703 w 1089433"/>
              <a:gd name="connsiteY21" fmla="*/ 479834 h 826883"/>
              <a:gd name="connsiteX22" fmla="*/ 935525 w 1089433"/>
              <a:gd name="connsiteY22" fmla="*/ 461727 h 826883"/>
              <a:gd name="connsiteX23" fmla="*/ 872150 w 1089433"/>
              <a:gd name="connsiteY23" fmla="*/ 422495 h 826883"/>
              <a:gd name="connsiteX24" fmla="*/ 829901 w 1089433"/>
              <a:gd name="connsiteY24" fmla="*/ 356103 h 826883"/>
              <a:gd name="connsiteX25" fmla="*/ 838954 w 1089433"/>
              <a:gd name="connsiteY25" fmla="*/ 328943 h 826883"/>
              <a:gd name="connsiteX26" fmla="*/ 866115 w 1089433"/>
              <a:gd name="connsiteY26" fmla="*/ 301782 h 826883"/>
              <a:gd name="connsiteX27" fmla="*/ 817830 w 1089433"/>
              <a:gd name="connsiteY27" fmla="*/ 256515 h 826883"/>
              <a:gd name="connsiteX28" fmla="*/ 805758 w 1089433"/>
              <a:gd name="connsiteY28" fmla="*/ 271604 h 826883"/>
              <a:gd name="connsiteX29" fmla="*/ 787651 w 1089433"/>
              <a:gd name="connsiteY29" fmla="*/ 277640 h 826883"/>
              <a:gd name="connsiteX30" fmla="*/ 766527 w 1089433"/>
              <a:gd name="connsiteY30" fmla="*/ 241426 h 826883"/>
              <a:gd name="connsiteX31" fmla="*/ 745402 w 1089433"/>
              <a:gd name="connsiteY31" fmla="*/ 181069 h 826883"/>
              <a:gd name="connsiteX32" fmla="*/ 712206 w 1089433"/>
              <a:gd name="connsiteY32" fmla="*/ 168998 h 826883"/>
              <a:gd name="connsiteX33" fmla="*/ 675992 w 1089433"/>
              <a:gd name="connsiteY33" fmla="*/ 156927 h 826883"/>
              <a:gd name="connsiteX34" fmla="*/ 657885 w 1089433"/>
              <a:gd name="connsiteY34" fmla="*/ 141838 h 826883"/>
              <a:gd name="connsiteX35" fmla="*/ 648831 w 1089433"/>
              <a:gd name="connsiteY35" fmla="*/ 90535 h 826883"/>
              <a:gd name="connsiteX36" fmla="*/ 639778 w 1089433"/>
              <a:gd name="connsiteY36" fmla="*/ 57339 h 826883"/>
              <a:gd name="connsiteX37" fmla="*/ 633742 w 1089433"/>
              <a:gd name="connsiteY37" fmla="*/ 24143 h 826883"/>
              <a:gd name="connsiteX38" fmla="*/ 576404 w 1089433"/>
              <a:gd name="connsiteY38" fmla="*/ 0 h 826883"/>
              <a:gd name="connsiteX39" fmla="*/ 0 w 1089433"/>
              <a:gd name="connsiteY39" fmla="*/ 63374 h 826883"/>
              <a:gd name="connsiteX0" fmla="*/ 0 w 1089433"/>
              <a:gd name="connsiteY0" fmla="*/ 63374 h 829264"/>
              <a:gd name="connsiteX1" fmla="*/ 57338 w 1089433"/>
              <a:gd name="connsiteY1" fmla="*/ 159945 h 829264"/>
              <a:gd name="connsiteX2" fmla="*/ 117695 w 1089433"/>
              <a:gd name="connsiteY2" fmla="*/ 202194 h 829264"/>
              <a:gd name="connsiteX3" fmla="*/ 120713 w 1089433"/>
              <a:gd name="connsiteY3" fmla="*/ 262550 h 829264"/>
              <a:gd name="connsiteX4" fmla="*/ 193140 w 1089433"/>
              <a:gd name="connsiteY4" fmla="*/ 331960 h 829264"/>
              <a:gd name="connsiteX5" fmla="*/ 214265 w 1089433"/>
              <a:gd name="connsiteY5" fmla="*/ 721259 h 829264"/>
              <a:gd name="connsiteX6" fmla="*/ 235568 w 1089433"/>
              <a:gd name="connsiteY6" fmla="*/ 829264 h 829264"/>
              <a:gd name="connsiteX7" fmla="*/ 905346 w 1089433"/>
              <a:gd name="connsiteY7" fmla="*/ 754455 h 829264"/>
              <a:gd name="connsiteX8" fmla="*/ 908364 w 1089433"/>
              <a:gd name="connsiteY8" fmla="*/ 805758 h 829264"/>
              <a:gd name="connsiteX9" fmla="*/ 932507 w 1089433"/>
              <a:gd name="connsiteY9" fmla="*/ 823865 h 829264"/>
              <a:gd name="connsiteX10" fmla="*/ 989845 w 1089433"/>
              <a:gd name="connsiteY10" fmla="*/ 823865 h 829264"/>
              <a:gd name="connsiteX11" fmla="*/ 998899 w 1089433"/>
              <a:gd name="connsiteY11" fmla="*/ 799723 h 829264"/>
              <a:gd name="connsiteX12" fmla="*/ 995881 w 1089433"/>
              <a:gd name="connsiteY12" fmla="*/ 772562 h 829264"/>
              <a:gd name="connsiteX13" fmla="*/ 1029077 w 1089433"/>
              <a:gd name="connsiteY13" fmla="*/ 700135 h 829264"/>
              <a:gd name="connsiteX14" fmla="*/ 1056237 w 1089433"/>
              <a:gd name="connsiteY14" fmla="*/ 675992 h 829264"/>
              <a:gd name="connsiteX15" fmla="*/ 1089433 w 1089433"/>
              <a:gd name="connsiteY15" fmla="*/ 682028 h 829264"/>
              <a:gd name="connsiteX16" fmla="*/ 1068309 w 1089433"/>
              <a:gd name="connsiteY16" fmla="*/ 648832 h 829264"/>
              <a:gd name="connsiteX17" fmla="*/ 1065291 w 1089433"/>
              <a:gd name="connsiteY17" fmla="*/ 597529 h 829264"/>
              <a:gd name="connsiteX18" fmla="*/ 1035113 w 1089433"/>
              <a:gd name="connsiteY18" fmla="*/ 588475 h 829264"/>
              <a:gd name="connsiteX19" fmla="*/ 1001917 w 1089433"/>
              <a:gd name="connsiteY19" fmla="*/ 576404 h 829264"/>
              <a:gd name="connsiteX20" fmla="*/ 977774 w 1089433"/>
              <a:gd name="connsiteY20" fmla="*/ 528119 h 829264"/>
              <a:gd name="connsiteX21" fmla="*/ 965703 w 1089433"/>
              <a:gd name="connsiteY21" fmla="*/ 479834 h 829264"/>
              <a:gd name="connsiteX22" fmla="*/ 935525 w 1089433"/>
              <a:gd name="connsiteY22" fmla="*/ 461727 h 829264"/>
              <a:gd name="connsiteX23" fmla="*/ 872150 w 1089433"/>
              <a:gd name="connsiteY23" fmla="*/ 422495 h 829264"/>
              <a:gd name="connsiteX24" fmla="*/ 829901 w 1089433"/>
              <a:gd name="connsiteY24" fmla="*/ 356103 h 829264"/>
              <a:gd name="connsiteX25" fmla="*/ 838954 w 1089433"/>
              <a:gd name="connsiteY25" fmla="*/ 328943 h 829264"/>
              <a:gd name="connsiteX26" fmla="*/ 866115 w 1089433"/>
              <a:gd name="connsiteY26" fmla="*/ 301782 h 829264"/>
              <a:gd name="connsiteX27" fmla="*/ 817830 w 1089433"/>
              <a:gd name="connsiteY27" fmla="*/ 256515 h 829264"/>
              <a:gd name="connsiteX28" fmla="*/ 805758 w 1089433"/>
              <a:gd name="connsiteY28" fmla="*/ 271604 h 829264"/>
              <a:gd name="connsiteX29" fmla="*/ 787651 w 1089433"/>
              <a:gd name="connsiteY29" fmla="*/ 277640 h 829264"/>
              <a:gd name="connsiteX30" fmla="*/ 766527 w 1089433"/>
              <a:gd name="connsiteY30" fmla="*/ 241426 h 829264"/>
              <a:gd name="connsiteX31" fmla="*/ 745402 w 1089433"/>
              <a:gd name="connsiteY31" fmla="*/ 181069 h 829264"/>
              <a:gd name="connsiteX32" fmla="*/ 712206 w 1089433"/>
              <a:gd name="connsiteY32" fmla="*/ 168998 h 829264"/>
              <a:gd name="connsiteX33" fmla="*/ 675992 w 1089433"/>
              <a:gd name="connsiteY33" fmla="*/ 156927 h 829264"/>
              <a:gd name="connsiteX34" fmla="*/ 657885 w 1089433"/>
              <a:gd name="connsiteY34" fmla="*/ 141838 h 829264"/>
              <a:gd name="connsiteX35" fmla="*/ 648831 w 1089433"/>
              <a:gd name="connsiteY35" fmla="*/ 90535 h 829264"/>
              <a:gd name="connsiteX36" fmla="*/ 639778 w 1089433"/>
              <a:gd name="connsiteY36" fmla="*/ 57339 h 829264"/>
              <a:gd name="connsiteX37" fmla="*/ 633742 w 1089433"/>
              <a:gd name="connsiteY37" fmla="*/ 24143 h 829264"/>
              <a:gd name="connsiteX38" fmla="*/ 576404 w 1089433"/>
              <a:gd name="connsiteY38" fmla="*/ 0 h 829264"/>
              <a:gd name="connsiteX39" fmla="*/ 0 w 1089433"/>
              <a:gd name="connsiteY39" fmla="*/ 63374 h 829264"/>
              <a:gd name="connsiteX0" fmla="*/ 0 w 1089433"/>
              <a:gd name="connsiteY0" fmla="*/ 63374 h 829264"/>
              <a:gd name="connsiteX1" fmla="*/ 57338 w 1089433"/>
              <a:gd name="connsiteY1" fmla="*/ 159945 h 829264"/>
              <a:gd name="connsiteX2" fmla="*/ 117695 w 1089433"/>
              <a:gd name="connsiteY2" fmla="*/ 202194 h 829264"/>
              <a:gd name="connsiteX3" fmla="*/ 120713 w 1089433"/>
              <a:gd name="connsiteY3" fmla="*/ 262550 h 829264"/>
              <a:gd name="connsiteX4" fmla="*/ 193140 w 1089433"/>
              <a:gd name="connsiteY4" fmla="*/ 331960 h 829264"/>
              <a:gd name="connsiteX5" fmla="*/ 214265 w 1089433"/>
              <a:gd name="connsiteY5" fmla="*/ 721259 h 829264"/>
              <a:gd name="connsiteX6" fmla="*/ 235568 w 1089433"/>
              <a:gd name="connsiteY6" fmla="*/ 829264 h 829264"/>
              <a:gd name="connsiteX7" fmla="*/ 905346 w 1089433"/>
              <a:gd name="connsiteY7" fmla="*/ 754455 h 829264"/>
              <a:gd name="connsiteX8" fmla="*/ 908364 w 1089433"/>
              <a:gd name="connsiteY8" fmla="*/ 805758 h 829264"/>
              <a:gd name="connsiteX9" fmla="*/ 932507 w 1089433"/>
              <a:gd name="connsiteY9" fmla="*/ 823865 h 829264"/>
              <a:gd name="connsiteX10" fmla="*/ 989845 w 1089433"/>
              <a:gd name="connsiteY10" fmla="*/ 823865 h 829264"/>
              <a:gd name="connsiteX11" fmla="*/ 998899 w 1089433"/>
              <a:gd name="connsiteY11" fmla="*/ 799723 h 829264"/>
              <a:gd name="connsiteX12" fmla="*/ 995881 w 1089433"/>
              <a:gd name="connsiteY12" fmla="*/ 772562 h 829264"/>
              <a:gd name="connsiteX13" fmla="*/ 1029077 w 1089433"/>
              <a:gd name="connsiteY13" fmla="*/ 700135 h 829264"/>
              <a:gd name="connsiteX14" fmla="*/ 1060995 w 1089433"/>
              <a:gd name="connsiteY14" fmla="*/ 687895 h 829264"/>
              <a:gd name="connsiteX15" fmla="*/ 1089433 w 1089433"/>
              <a:gd name="connsiteY15" fmla="*/ 682028 h 829264"/>
              <a:gd name="connsiteX16" fmla="*/ 1068309 w 1089433"/>
              <a:gd name="connsiteY16" fmla="*/ 648832 h 829264"/>
              <a:gd name="connsiteX17" fmla="*/ 1065291 w 1089433"/>
              <a:gd name="connsiteY17" fmla="*/ 597529 h 829264"/>
              <a:gd name="connsiteX18" fmla="*/ 1035113 w 1089433"/>
              <a:gd name="connsiteY18" fmla="*/ 588475 h 829264"/>
              <a:gd name="connsiteX19" fmla="*/ 1001917 w 1089433"/>
              <a:gd name="connsiteY19" fmla="*/ 576404 h 829264"/>
              <a:gd name="connsiteX20" fmla="*/ 977774 w 1089433"/>
              <a:gd name="connsiteY20" fmla="*/ 528119 h 829264"/>
              <a:gd name="connsiteX21" fmla="*/ 965703 w 1089433"/>
              <a:gd name="connsiteY21" fmla="*/ 479834 h 829264"/>
              <a:gd name="connsiteX22" fmla="*/ 935525 w 1089433"/>
              <a:gd name="connsiteY22" fmla="*/ 461727 h 829264"/>
              <a:gd name="connsiteX23" fmla="*/ 872150 w 1089433"/>
              <a:gd name="connsiteY23" fmla="*/ 422495 h 829264"/>
              <a:gd name="connsiteX24" fmla="*/ 829901 w 1089433"/>
              <a:gd name="connsiteY24" fmla="*/ 356103 h 829264"/>
              <a:gd name="connsiteX25" fmla="*/ 838954 w 1089433"/>
              <a:gd name="connsiteY25" fmla="*/ 328943 h 829264"/>
              <a:gd name="connsiteX26" fmla="*/ 866115 w 1089433"/>
              <a:gd name="connsiteY26" fmla="*/ 301782 h 829264"/>
              <a:gd name="connsiteX27" fmla="*/ 817830 w 1089433"/>
              <a:gd name="connsiteY27" fmla="*/ 256515 h 829264"/>
              <a:gd name="connsiteX28" fmla="*/ 805758 w 1089433"/>
              <a:gd name="connsiteY28" fmla="*/ 271604 h 829264"/>
              <a:gd name="connsiteX29" fmla="*/ 787651 w 1089433"/>
              <a:gd name="connsiteY29" fmla="*/ 277640 h 829264"/>
              <a:gd name="connsiteX30" fmla="*/ 766527 w 1089433"/>
              <a:gd name="connsiteY30" fmla="*/ 241426 h 829264"/>
              <a:gd name="connsiteX31" fmla="*/ 745402 w 1089433"/>
              <a:gd name="connsiteY31" fmla="*/ 181069 h 829264"/>
              <a:gd name="connsiteX32" fmla="*/ 712206 w 1089433"/>
              <a:gd name="connsiteY32" fmla="*/ 168998 h 829264"/>
              <a:gd name="connsiteX33" fmla="*/ 675992 w 1089433"/>
              <a:gd name="connsiteY33" fmla="*/ 156927 h 829264"/>
              <a:gd name="connsiteX34" fmla="*/ 657885 w 1089433"/>
              <a:gd name="connsiteY34" fmla="*/ 141838 h 829264"/>
              <a:gd name="connsiteX35" fmla="*/ 648831 w 1089433"/>
              <a:gd name="connsiteY35" fmla="*/ 90535 h 829264"/>
              <a:gd name="connsiteX36" fmla="*/ 639778 w 1089433"/>
              <a:gd name="connsiteY36" fmla="*/ 57339 h 829264"/>
              <a:gd name="connsiteX37" fmla="*/ 633742 w 1089433"/>
              <a:gd name="connsiteY37" fmla="*/ 24143 h 829264"/>
              <a:gd name="connsiteX38" fmla="*/ 576404 w 1089433"/>
              <a:gd name="connsiteY38" fmla="*/ 0 h 829264"/>
              <a:gd name="connsiteX39" fmla="*/ 0 w 1089433"/>
              <a:gd name="connsiteY39" fmla="*/ 63374 h 829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89433" h="829264">
                <a:moveTo>
                  <a:pt x="0" y="63374"/>
                </a:moveTo>
                <a:lnTo>
                  <a:pt x="57338" y="159945"/>
                </a:lnTo>
                <a:lnTo>
                  <a:pt x="117695" y="202194"/>
                </a:lnTo>
                <a:lnTo>
                  <a:pt x="120713" y="262550"/>
                </a:lnTo>
                <a:lnTo>
                  <a:pt x="193140" y="331960"/>
                </a:lnTo>
                <a:lnTo>
                  <a:pt x="214265" y="721259"/>
                </a:lnTo>
                <a:lnTo>
                  <a:pt x="235568" y="829264"/>
                </a:lnTo>
                <a:lnTo>
                  <a:pt x="905346" y="754455"/>
                </a:lnTo>
                <a:lnTo>
                  <a:pt x="908364" y="805758"/>
                </a:lnTo>
                <a:lnTo>
                  <a:pt x="932507" y="823865"/>
                </a:lnTo>
                <a:lnTo>
                  <a:pt x="989845" y="823865"/>
                </a:lnTo>
                <a:lnTo>
                  <a:pt x="998899" y="799723"/>
                </a:lnTo>
                <a:lnTo>
                  <a:pt x="995881" y="772562"/>
                </a:lnTo>
                <a:lnTo>
                  <a:pt x="1029077" y="700135"/>
                </a:lnTo>
                <a:lnTo>
                  <a:pt x="1060995" y="687895"/>
                </a:lnTo>
                <a:lnTo>
                  <a:pt x="1089433" y="682028"/>
                </a:lnTo>
                <a:lnTo>
                  <a:pt x="1068309" y="648832"/>
                </a:lnTo>
                <a:lnTo>
                  <a:pt x="1065291" y="597529"/>
                </a:lnTo>
                <a:lnTo>
                  <a:pt x="1035113" y="588475"/>
                </a:lnTo>
                <a:lnTo>
                  <a:pt x="1001917" y="576404"/>
                </a:lnTo>
                <a:lnTo>
                  <a:pt x="977774" y="528119"/>
                </a:lnTo>
                <a:lnTo>
                  <a:pt x="965703" y="479834"/>
                </a:lnTo>
                <a:lnTo>
                  <a:pt x="935525" y="461727"/>
                </a:lnTo>
                <a:lnTo>
                  <a:pt x="872150" y="422495"/>
                </a:lnTo>
                <a:lnTo>
                  <a:pt x="829901" y="356103"/>
                </a:lnTo>
                <a:lnTo>
                  <a:pt x="838954" y="328943"/>
                </a:lnTo>
                <a:lnTo>
                  <a:pt x="866115" y="301782"/>
                </a:lnTo>
                <a:lnTo>
                  <a:pt x="817830" y="256515"/>
                </a:lnTo>
                <a:lnTo>
                  <a:pt x="805758" y="271604"/>
                </a:lnTo>
                <a:lnTo>
                  <a:pt x="787651" y="277640"/>
                </a:lnTo>
                <a:lnTo>
                  <a:pt x="766527" y="241426"/>
                </a:lnTo>
                <a:lnTo>
                  <a:pt x="745402" y="181069"/>
                </a:lnTo>
                <a:lnTo>
                  <a:pt x="712206" y="168998"/>
                </a:lnTo>
                <a:lnTo>
                  <a:pt x="675992" y="156927"/>
                </a:lnTo>
                <a:lnTo>
                  <a:pt x="657885" y="141838"/>
                </a:lnTo>
                <a:lnTo>
                  <a:pt x="648831" y="90535"/>
                </a:lnTo>
                <a:lnTo>
                  <a:pt x="639778" y="57339"/>
                </a:lnTo>
                <a:lnTo>
                  <a:pt x="633742" y="24143"/>
                </a:lnTo>
                <a:lnTo>
                  <a:pt x="576404" y="0"/>
                </a:lnTo>
                <a:lnTo>
                  <a:pt x="0" y="63374"/>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24" name="Freeform 23"/>
          <p:cNvSpPr/>
          <p:nvPr/>
        </p:nvSpPr>
        <p:spPr>
          <a:xfrm>
            <a:off x="5208824" y="2354224"/>
            <a:ext cx="800801" cy="798960"/>
          </a:xfrm>
          <a:custGeom>
            <a:avLst/>
            <a:gdLst>
              <a:gd name="connsiteX0" fmla="*/ 84499 w 829901"/>
              <a:gd name="connsiteY0" fmla="*/ 33196 h 823866"/>
              <a:gd name="connsiteX1" fmla="*/ 57339 w 829901"/>
              <a:gd name="connsiteY1" fmla="*/ 96571 h 823866"/>
              <a:gd name="connsiteX2" fmla="*/ 66392 w 829901"/>
              <a:gd name="connsiteY2" fmla="*/ 175034 h 823866"/>
              <a:gd name="connsiteX3" fmla="*/ 0 w 829901"/>
              <a:gd name="connsiteY3" fmla="*/ 259533 h 823866"/>
              <a:gd name="connsiteX4" fmla="*/ 33196 w 829901"/>
              <a:gd name="connsiteY4" fmla="*/ 301783 h 823866"/>
              <a:gd name="connsiteX5" fmla="*/ 45267 w 829901"/>
              <a:gd name="connsiteY5" fmla="*/ 331961 h 823866"/>
              <a:gd name="connsiteX6" fmla="*/ 36214 w 829901"/>
              <a:gd name="connsiteY6" fmla="*/ 374210 h 823866"/>
              <a:gd name="connsiteX7" fmla="*/ 27160 w 829901"/>
              <a:gd name="connsiteY7" fmla="*/ 380246 h 823866"/>
              <a:gd name="connsiteX8" fmla="*/ 36214 w 829901"/>
              <a:gd name="connsiteY8" fmla="*/ 446638 h 823866"/>
              <a:gd name="connsiteX9" fmla="*/ 75446 w 829901"/>
              <a:gd name="connsiteY9" fmla="*/ 449656 h 823866"/>
              <a:gd name="connsiteX10" fmla="*/ 102606 w 829901"/>
              <a:gd name="connsiteY10" fmla="*/ 461727 h 823866"/>
              <a:gd name="connsiteX11" fmla="*/ 150891 w 829901"/>
              <a:gd name="connsiteY11" fmla="*/ 476816 h 823866"/>
              <a:gd name="connsiteX12" fmla="*/ 190123 w 829901"/>
              <a:gd name="connsiteY12" fmla="*/ 531137 h 823866"/>
              <a:gd name="connsiteX13" fmla="*/ 220301 w 829901"/>
              <a:gd name="connsiteY13" fmla="*/ 537173 h 823866"/>
              <a:gd name="connsiteX14" fmla="*/ 256515 w 829901"/>
              <a:gd name="connsiteY14" fmla="*/ 561315 h 823866"/>
              <a:gd name="connsiteX15" fmla="*/ 277640 w 829901"/>
              <a:gd name="connsiteY15" fmla="*/ 564333 h 823866"/>
              <a:gd name="connsiteX16" fmla="*/ 292729 w 829901"/>
              <a:gd name="connsiteY16" fmla="*/ 618654 h 823866"/>
              <a:gd name="connsiteX17" fmla="*/ 292729 w 829901"/>
              <a:gd name="connsiteY17" fmla="*/ 636761 h 823866"/>
              <a:gd name="connsiteX18" fmla="*/ 301782 w 829901"/>
              <a:gd name="connsiteY18" fmla="*/ 666939 h 823866"/>
              <a:gd name="connsiteX19" fmla="*/ 298764 w 829901"/>
              <a:gd name="connsiteY19" fmla="*/ 682028 h 823866"/>
              <a:gd name="connsiteX20" fmla="*/ 304800 w 829901"/>
              <a:gd name="connsiteY20" fmla="*/ 697117 h 823866"/>
              <a:gd name="connsiteX21" fmla="*/ 301782 w 829901"/>
              <a:gd name="connsiteY21" fmla="*/ 763509 h 823866"/>
              <a:gd name="connsiteX22" fmla="*/ 337996 w 829901"/>
              <a:gd name="connsiteY22" fmla="*/ 793688 h 823866"/>
              <a:gd name="connsiteX23" fmla="*/ 380246 w 829901"/>
              <a:gd name="connsiteY23" fmla="*/ 808777 h 823866"/>
              <a:gd name="connsiteX24" fmla="*/ 404388 w 829901"/>
              <a:gd name="connsiteY24" fmla="*/ 823866 h 823866"/>
              <a:gd name="connsiteX25" fmla="*/ 473798 w 829901"/>
              <a:gd name="connsiteY25" fmla="*/ 808777 h 823866"/>
              <a:gd name="connsiteX26" fmla="*/ 790669 w 829901"/>
              <a:gd name="connsiteY26" fmla="*/ 751438 h 823866"/>
              <a:gd name="connsiteX27" fmla="*/ 802741 w 829901"/>
              <a:gd name="connsiteY27" fmla="*/ 751438 h 823866"/>
              <a:gd name="connsiteX28" fmla="*/ 802741 w 829901"/>
              <a:gd name="connsiteY28" fmla="*/ 688064 h 823866"/>
              <a:gd name="connsiteX29" fmla="*/ 766527 w 829901"/>
              <a:gd name="connsiteY29" fmla="*/ 579422 h 823866"/>
              <a:gd name="connsiteX30" fmla="*/ 772562 w 829901"/>
              <a:gd name="connsiteY30" fmla="*/ 522084 h 823866"/>
              <a:gd name="connsiteX31" fmla="*/ 757473 w 829901"/>
              <a:gd name="connsiteY31" fmla="*/ 473798 h 823866"/>
              <a:gd name="connsiteX32" fmla="*/ 778598 w 829901"/>
              <a:gd name="connsiteY32" fmla="*/ 443620 h 823866"/>
              <a:gd name="connsiteX33" fmla="*/ 781616 w 829901"/>
              <a:gd name="connsiteY33" fmla="*/ 407406 h 823866"/>
              <a:gd name="connsiteX34" fmla="*/ 772562 w 829901"/>
              <a:gd name="connsiteY34" fmla="*/ 353086 h 823866"/>
              <a:gd name="connsiteX35" fmla="*/ 811794 w 829901"/>
              <a:gd name="connsiteY35" fmla="*/ 292729 h 823866"/>
              <a:gd name="connsiteX36" fmla="*/ 829901 w 829901"/>
              <a:gd name="connsiteY36" fmla="*/ 226337 h 823866"/>
              <a:gd name="connsiteX37" fmla="*/ 823865 w 829901"/>
              <a:gd name="connsiteY37" fmla="*/ 220301 h 823866"/>
              <a:gd name="connsiteX38" fmla="*/ 805758 w 829901"/>
              <a:gd name="connsiteY38" fmla="*/ 235391 h 823866"/>
              <a:gd name="connsiteX39" fmla="*/ 787651 w 829901"/>
              <a:gd name="connsiteY39" fmla="*/ 271604 h 823866"/>
              <a:gd name="connsiteX40" fmla="*/ 769545 w 829901"/>
              <a:gd name="connsiteY40" fmla="*/ 307818 h 823866"/>
              <a:gd name="connsiteX41" fmla="*/ 751438 w 829901"/>
              <a:gd name="connsiteY41" fmla="*/ 316872 h 823866"/>
              <a:gd name="connsiteX42" fmla="*/ 745402 w 829901"/>
              <a:gd name="connsiteY42" fmla="*/ 341014 h 823866"/>
              <a:gd name="connsiteX43" fmla="*/ 727295 w 829901"/>
              <a:gd name="connsiteY43" fmla="*/ 362139 h 823866"/>
              <a:gd name="connsiteX44" fmla="*/ 715224 w 829901"/>
              <a:gd name="connsiteY44" fmla="*/ 371193 h 823866"/>
              <a:gd name="connsiteX45" fmla="*/ 715224 w 829901"/>
              <a:gd name="connsiteY45" fmla="*/ 371193 h 823866"/>
              <a:gd name="connsiteX46" fmla="*/ 715224 w 829901"/>
              <a:gd name="connsiteY46" fmla="*/ 371193 h 823866"/>
              <a:gd name="connsiteX47" fmla="*/ 721259 w 829901"/>
              <a:gd name="connsiteY47" fmla="*/ 316872 h 823866"/>
              <a:gd name="connsiteX48" fmla="*/ 718242 w 829901"/>
              <a:gd name="connsiteY48" fmla="*/ 301783 h 823866"/>
              <a:gd name="connsiteX49" fmla="*/ 730313 w 829901"/>
              <a:gd name="connsiteY49" fmla="*/ 265569 h 823866"/>
              <a:gd name="connsiteX50" fmla="*/ 727295 w 829901"/>
              <a:gd name="connsiteY50" fmla="*/ 226337 h 823866"/>
              <a:gd name="connsiteX51" fmla="*/ 703152 w 829901"/>
              <a:gd name="connsiteY51" fmla="*/ 193141 h 823866"/>
              <a:gd name="connsiteX52" fmla="*/ 697117 w 829901"/>
              <a:gd name="connsiteY52" fmla="*/ 178052 h 823866"/>
              <a:gd name="connsiteX53" fmla="*/ 706170 w 829901"/>
              <a:gd name="connsiteY53" fmla="*/ 162963 h 823866"/>
              <a:gd name="connsiteX54" fmla="*/ 709188 w 829901"/>
              <a:gd name="connsiteY54" fmla="*/ 147874 h 823866"/>
              <a:gd name="connsiteX55" fmla="*/ 691081 w 829901"/>
              <a:gd name="connsiteY55" fmla="*/ 147874 h 823866"/>
              <a:gd name="connsiteX56" fmla="*/ 672974 w 829901"/>
              <a:gd name="connsiteY56" fmla="*/ 147874 h 823866"/>
              <a:gd name="connsiteX57" fmla="*/ 654867 w 829901"/>
              <a:gd name="connsiteY57" fmla="*/ 117695 h 823866"/>
              <a:gd name="connsiteX58" fmla="*/ 615636 w 829901"/>
              <a:gd name="connsiteY58" fmla="*/ 117695 h 823866"/>
              <a:gd name="connsiteX59" fmla="*/ 564333 w 829901"/>
              <a:gd name="connsiteY59" fmla="*/ 111660 h 823866"/>
              <a:gd name="connsiteX60" fmla="*/ 497941 w 829901"/>
              <a:gd name="connsiteY60" fmla="*/ 99589 h 823866"/>
              <a:gd name="connsiteX61" fmla="*/ 443620 w 829901"/>
              <a:gd name="connsiteY61" fmla="*/ 99589 h 823866"/>
              <a:gd name="connsiteX62" fmla="*/ 401370 w 829901"/>
              <a:gd name="connsiteY62" fmla="*/ 93553 h 823866"/>
              <a:gd name="connsiteX63" fmla="*/ 347049 w 829901"/>
              <a:gd name="connsiteY63" fmla="*/ 72428 h 823866"/>
              <a:gd name="connsiteX64" fmla="*/ 328943 w 829901"/>
              <a:gd name="connsiteY64" fmla="*/ 48286 h 823866"/>
              <a:gd name="connsiteX65" fmla="*/ 250479 w 829901"/>
              <a:gd name="connsiteY65" fmla="*/ 51303 h 823866"/>
              <a:gd name="connsiteX66" fmla="*/ 235390 w 829901"/>
              <a:gd name="connsiteY66" fmla="*/ 0 h 823866"/>
              <a:gd name="connsiteX67" fmla="*/ 168998 w 829901"/>
              <a:gd name="connsiteY67" fmla="*/ 30179 h 823866"/>
              <a:gd name="connsiteX68" fmla="*/ 84499 w 829901"/>
              <a:gd name="connsiteY68" fmla="*/ 33196 h 823866"/>
              <a:gd name="connsiteX0" fmla="*/ 84499 w 829901"/>
              <a:gd name="connsiteY0" fmla="*/ 33196 h 823866"/>
              <a:gd name="connsiteX1" fmla="*/ 57339 w 829901"/>
              <a:gd name="connsiteY1" fmla="*/ 96571 h 823866"/>
              <a:gd name="connsiteX2" fmla="*/ 66392 w 829901"/>
              <a:gd name="connsiteY2" fmla="*/ 175034 h 823866"/>
              <a:gd name="connsiteX3" fmla="*/ 0 w 829901"/>
              <a:gd name="connsiteY3" fmla="*/ 259533 h 823866"/>
              <a:gd name="connsiteX4" fmla="*/ 33196 w 829901"/>
              <a:gd name="connsiteY4" fmla="*/ 301783 h 823866"/>
              <a:gd name="connsiteX5" fmla="*/ 45267 w 829901"/>
              <a:gd name="connsiteY5" fmla="*/ 331961 h 823866"/>
              <a:gd name="connsiteX6" fmla="*/ 36214 w 829901"/>
              <a:gd name="connsiteY6" fmla="*/ 374210 h 823866"/>
              <a:gd name="connsiteX7" fmla="*/ 27160 w 829901"/>
              <a:gd name="connsiteY7" fmla="*/ 380246 h 823866"/>
              <a:gd name="connsiteX8" fmla="*/ 36214 w 829901"/>
              <a:gd name="connsiteY8" fmla="*/ 446638 h 823866"/>
              <a:gd name="connsiteX9" fmla="*/ 75446 w 829901"/>
              <a:gd name="connsiteY9" fmla="*/ 449656 h 823866"/>
              <a:gd name="connsiteX10" fmla="*/ 102606 w 829901"/>
              <a:gd name="connsiteY10" fmla="*/ 461727 h 823866"/>
              <a:gd name="connsiteX11" fmla="*/ 150891 w 829901"/>
              <a:gd name="connsiteY11" fmla="*/ 476816 h 823866"/>
              <a:gd name="connsiteX12" fmla="*/ 190123 w 829901"/>
              <a:gd name="connsiteY12" fmla="*/ 531137 h 823866"/>
              <a:gd name="connsiteX13" fmla="*/ 220301 w 829901"/>
              <a:gd name="connsiteY13" fmla="*/ 537173 h 823866"/>
              <a:gd name="connsiteX14" fmla="*/ 249361 w 829901"/>
              <a:gd name="connsiteY14" fmla="*/ 585126 h 823866"/>
              <a:gd name="connsiteX15" fmla="*/ 277640 w 829901"/>
              <a:gd name="connsiteY15" fmla="*/ 564333 h 823866"/>
              <a:gd name="connsiteX16" fmla="*/ 292729 w 829901"/>
              <a:gd name="connsiteY16" fmla="*/ 618654 h 823866"/>
              <a:gd name="connsiteX17" fmla="*/ 292729 w 829901"/>
              <a:gd name="connsiteY17" fmla="*/ 636761 h 823866"/>
              <a:gd name="connsiteX18" fmla="*/ 301782 w 829901"/>
              <a:gd name="connsiteY18" fmla="*/ 666939 h 823866"/>
              <a:gd name="connsiteX19" fmla="*/ 298764 w 829901"/>
              <a:gd name="connsiteY19" fmla="*/ 682028 h 823866"/>
              <a:gd name="connsiteX20" fmla="*/ 304800 w 829901"/>
              <a:gd name="connsiteY20" fmla="*/ 697117 h 823866"/>
              <a:gd name="connsiteX21" fmla="*/ 301782 w 829901"/>
              <a:gd name="connsiteY21" fmla="*/ 763509 h 823866"/>
              <a:gd name="connsiteX22" fmla="*/ 337996 w 829901"/>
              <a:gd name="connsiteY22" fmla="*/ 793688 h 823866"/>
              <a:gd name="connsiteX23" fmla="*/ 380246 w 829901"/>
              <a:gd name="connsiteY23" fmla="*/ 808777 h 823866"/>
              <a:gd name="connsiteX24" fmla="*/ 404388 w 829901"/>
              <a:gd name="connsiteY24" fmla="*/ 823866 h 823866"/>
              <a:gd name="connsiteX25" fmla="*/ 473798 w 829901"/>
              <a:gd name="connsiteY25" fmla="*/ 808777 h 823866"/>
              <a:gd name="connsiteX26" fmla="*/ 790669 w 829901"/>
              <a:gd name="connsiteY26" fmla="*/ 751438 h 823866"/>
              <a:gd name="connsiteX27" fmla="*/ 802741 w 829901"/>
              <a:gd name="connsiteY27" fmla="*/ 751438 h 823866"/>
              <a:gd name="connsiteX28" fmla="*/ 802741 w 829901"/>
              <a:gd name="connsiteY28" fmla="*/ 688064 h 823866"/>
              <a:gd name="connsiteX29" fmla="*/ 766527 w 829901"/>
              <a:gd name="connsiteY29" fmla="*/ 579422 h 823866"/>
              <a:gd name="connsiteX30" fmla="*/ 772562 w 829901"/>
              <a:gd name="connsiteY30" fmla="*/ 522084 h 823866"/>
              <a:gd name="connsiteX31" fmla="*/ 757473 w 829901"/>
              <a:gd name="connsiteY31" fmla="*/ 473798 h 823866"/>
              <a:gd name="connsiteX32" fmla="*/ 778598 w 829901"/>
              <a:gd name="connsiteY32" fmla="*/ 443620 h 823866"/>
              <a:gd name="connsiteX33" fmla="*/ 781616 w 829901"/>
              <a:gd name="connsiteY33" fmla="*/ 407406 h 823866"/>
              <a:gd name="connsiteX34" fmla="*/ 772562 w 829901"/>
              <a:gd name="connsiteY34" fmla="*/ 353086 h 823866"/>
              <a:gd name="connsiteX35" fmla="*/ 811794 w 829901"/>
              <a:gd name="connsiteY35" fmla="*/ 292729 h 823866"/>
              <a:gd name="connsiteX36" fmla="*/ 829901 w 829901"/>
              <a:gd name="connsiteY36" fmla="*/ 226337 h 823866"/>
              <a:gd name="connsiteX37" fmla="*/ 823865 w 829901"/>
              <a:gd name="connsiteY37" fmla="*/ 220301 h 823866"/>
              <a:gd name="connsiteX38" fmla="*/ 805758 w 829901"/>
              <a:gd name="connsiteY38" fmla="*/ 235391 h 823866"/>
              <a:gd name="connsiteX39" fmla="*/ 787651 w 829901"/>
              <a:gd name="connsiteY39" fmla="*/ 271604 h 823866"/>
              <a:gd name="connsiteX40" fmla="*/ 769545 w 829901"/>
              <a:gd name="connsiteY40" fmla="*/ 307818 h 823866"/>
              <a:gd name="connsiteX41" fmla="*/ 751438 w 829901"/>
              <a:gd name="connsiteY41" fmla="*/ 316872 h 823866"/>
              <a:gd name="connsiteX42" fmla="*/ 745402 w 829901"/>
              <a:gd name="connsiteY42" fmla="*/ 341014 h 823866"/>
              <a:gd name="connsiteX43" fmla="*/ 727295 w 829901"/>
              <a:gd name="connsiteY43" fmla="*/ 362139 h 823866"/>
              <a:gd name="connsiteX44" fmla="*/ 715224 w 829901"/>
              <a:gd name="connsiteY44" fmla="*/ 371193 h 823866"/>
              <a:gd name="connsiteX45" fmla="*/ 715224 w 829901"/>
              <a:gd name="connsiteY45" fmla="*/ 371193 h 823866"/>
              <a:gd name="connsiteX46" fmla="*/ 715224 w 829901"/>
              <a:gd name="connsiteY46" fmla="*/ 371193 h 823866"/>
              <a:gd name="connsiteX47" fmla="*/ 721259 w 829901"/>
              <a:gd name="connsiteY47" fmla="*/ 316872 h 823866"/>
              <a:gd name="connsiteX48" fmla="*/ 718242 w 829901"/>
              <a:gd name="connsiteY48" fmla="*/ 301783 h 823866"/>
              <a:gd name="connsiteX49" fmla="*/ 730313 w 829901"/>
              <a:gd name="connsiteY49" fmla="*/ 265569 h 823866"/>
              <a:gd name="connsiteX50" fmla="*/ 727295 w 829901"/>
              <a:gd name="connsiteY50" fmla="*/ 226337 h 823866"/>
              <a:gd name="connsiteX51" fmla="*/ 703152 w 829901"/>
              <a:gd name="connsiteY51" fmla="*/ 193141 h 823866"/>
              <a:gd name="connsiteX52" fmla="*/ 697117 w 829901"/>
              <a:gd name="connsiteY52" fmla="*/ 178052 h 823866"/>
              <a:gd name="connsiteX53" fmla="*/ 706170 w 829901"/>
              <a:gd name="connsiteY53" fmla="*/ 162963 h 823866"/>
              <a:gd name="connsiteX54" fmla="*/ 709188 w 829901"/>
              <a:gd name="connsiteY54" fmla="*/ 147874 h 823866"/>
              <a:gd name="connsiteX55" fmla="*/ 691081 w 829901"/>
              <a:gd name="connsiteY55" fmla="*/ 147874 h 823866"/>
              <a:gd name="connsiteX56" fmla="*/ 672974 w 829901"/>
              <a:gd name="connsiteY56" fmla="*/ 147874 h 823866"/>
              <a:gd name="connsiteX57" fmla="*/ 654867 w 829901"/>
              <a:gd name="connsiteY57" fmla="*/ 117695 h 823866"/>
              <a:gd name="connsiteX58" fmla="*/ 615636 w 829901"/>
              <a:gd name="connsiteY58" fmla="*/ 117695 h 823866"/>
              <a:gd name="connsiteX59" fmla="*/ 564333 w 829901"/>
              <a:gd name="connsiteY59" fmla="*/ 111660 h 823866"/>
              <a:gd name="connsiteX60" fmla="*/ 497941 w 829901"/>
              <a:gd name="connsiteY60" fmla="*/ 99589 h 823866"/>
              <a:gd name="connsiteX61" fmla="*/ 443620 w 829901"/>
              <a:gd name="connsiteY61" fmla="*/ 99589 h 823866"/>
              <a:gd name="connsiteX62" fmla="*/ 401370 w 829901"/>
              <a:gd name="connsiteY62" fmla="*/ 93553 h 823866"/>
              <a:gd name="connsiteX63" fmla="*/ 347049 w 829901"/>
              <a:gd name="connsiteY63" fmla="*/ 72428 h 823866"/>
              <a:gd name="connsiteX64" fmla="*/ 328943 w 829901"/>
              <a:gd name="connsiteY64" fmla="*/ 48286 h 823866"/>
              <a:gd name="connsiteX65" fmla="*/ 250479 w 829901"/>
              <a:gd name="connsiteY65" fmla="*/ 51303 h 823866"/>
              <a:gd name="connsiteX66" fmla="*/ 235390 w 829901"/>
              <a:gd name="connsiteY66" fmla="*/ 0 h 823866"/>
              <a:gd name="connsiteX67" fmla="*/ 168998 w 829901"/>
              <a:gd name="connsiteY67" fmla="*/ 30179 h 823866"/>
              <a:gd name="connsiteX68" fmla="*/ 84499 w 829901"/>
              <a:gd name="connsiteY68" fmla="*/ 33196 h 823866"/>
              <a:gd name="connsiteX0" fmla="*/ 84499 w 829901"/>
              <a:gd name="connsiteY0" fmla="*/ 33196 h 823866"/>
              <a:gd name="connsiteX1" fmla="*/ 57339 w 829901"/>
              <a:gd name="connsiteY1" fmla="*/ 96571 h 823866"/>
              <a:gd name="connsiteX2" fmla="*/ 66392 w 829901"/>
              <a:gd name="connsiteY2" fmla="*/ 175034 h 823866"/>
              <a:gd name="connsiteX3" fmla="*/ 0 w 829901"/>
              <a:gd name="connsiteY3" fmla="*/ 259533 h 823866"/>
              <a:gd name="connsiteX4" fmla="*/ 33196 w 829901"/>
              <a:gd name="connsiteY4" fmla="*/ 301783 h 823866"/>
              <a:gd name="connsiteX5" fmla="*/ 45267 w 829901"/>
              <a:gd name="connsiteY5" fmla="*/ 331961 h 823866"/>
              <a:gd name="connsiteX6" fmla="*/ 36214 w 829901"/>
              <a:gd name="connsiteY6" fmla="*/ 374210 h 823866"/>
              <a:gd name="connsiteX7" fmla="*/ 27160 w 829901"/>
              <a:gd name="connsiteY7" fmla="*/ 380246 h 823866"/>
              <a:gd name="connsiteX8" fmla="*/ 36214 w 829901"/>
              <a:gd name="connsiteY8" fmla="*/ 446638 h 823866"/>
              <a:gd name="connsiteX9" fmla="*/ 75446 w 829901"/>
              <a:gd name="connsiteY9" fmla="*/ 449656 h 823866"/>
              <a:gd name="connsiteX10" fmla="*/ 102606 w 829901"/>
              <a:gd name="connsiteY10" fmla="*/ 461727 h 823866"/>
              <a:gd name="connsiteX11" fmla="*/ 150891 w 829901"/>
              <a:gd name="connsiteY11" fmla="*/ 476816 h 823866"/>
              <a:gd name="connsiteX12" fmla="*/ 175815 w 829901"/>
              <a:gd name="connsiteY12" fmla="*/ 538280 h 823866"/>
              <a:gd name="connsiteX13" fmla="*/ 220301 w 829901"/>
              <a:gd name="connsiteY13" fmla="*/ 537173 h 823866"/>
              <a:gd name="connsiteX14" fmla="*/ 249361 w 829901"/>
              <a:gd name="connsiteY14" fmla="*/ 585126 h 823866"/>
              <a:gd name="connsiteX15" fmla="*/ 277640 w 829901"/>
              <a:gd name="connsiteY15" fmla="*/ 564333 h 823866"/>
              <a:gd name="connsiteX16" fmla="*/ 292729 w 829901"/>
              <a:gd name="connsiteY16" fmla="*/ 618654 h 823866"/>
              <a:gd name="connsiteX17" fmla="*/ 292729 w 829901"/>
              <a:gd name="connsiteY17" fmla="*/ 636761 h 823866"/>
              <a:gd name="connsiteX18" fmla="*/ 301782 w 829901"/>
              <a:gd name="connsiteY18" fmla="*/ 666939 h 823866"/>
              <a:gd name="connsiteX19" fmla="*/ 298764 w 829901"/>
              <a:gd name="connsiteY19" fmla="*/ 682028 h 823866"/>
              <a:gd name="connsiteX20" fmla="*/ 304800 w 829901"/>
              <a:gd name="connsiteY20" fmla="*/ 697117 h 823866"/>
              <a:gd name="connsiteX21" fmla="*/ 301782 w 829901"/>
              <a:gd name="connsiteY21" fmla="*/ 763509 h 823866"/>
              <a:gd name="connsiteX22" fmla="*/ 337996 w 829901"/>
              <a:gd name="connsiteY22" fmla="*/ 793688 h 823866"/>
              <a:gd name="connsiteX23" fmla="*/ 380246 w 829901"/>
              <a:gd name="connsiteY23" fmla="*/ 808777 h 823866"/>
              <a:gd name="connsiteX24" fmla="*/ 404388 w 829901"/>
              <a:gd name="connsiteY24" fmla="*/ 823866 h 823866"/>
              <a:gd name="connsiteX25" fmla="*/ 473798 w 829901"/>
              <a:gd name="connsiteY25" fmla="*/ 808777 h 823866"/>
              <a:gd name="connsiteX26" fmla="*/ 790669 w 829901"/>
              <a:gd name="connsiteY26" fmla="*/ 751438 h 823866"/>
              <a:gd name="connsiteX27" fmla="*/ 802741 w 829901"/>
              <a:gd name="connsiteY27" fmla="*/ 751438 h 823866"/>
              <a:gd name="connsiteX28" fmla="*/ 802741 w 829901"/>
              <a:gd name="connsiteY28" fmla="*/ 688064 h 823866"/>
              <a:gd name="connsiteX29" fmla="*/ 766527 w 829901"/>
              <a:gd name="connsiteY29" fmla="*/ 579422 h 823866"/>
              <a:gd name="connsiteX30" fmla="*/ 772562 w 829901"/>
              <a:gd name="connsiteY30" fmla="*/ 522084 h 823866"/>
              <a:gd name="connsiteX31" fmla="*/ 757473 w 829901"/>
              <a:gd name="connsiteY31" fmla="*/ 473798 h 823866"/>
              <a:gd name="connsiteX32" fmla="*/ 778598 w 829901"/>
              <a:gd name="connsiteY32" fmla="*/ 443620 h 823866"/>
              <a:gd name="connsiteX33" fmla="*/ 781616 w 829901"/>
              <a:gd name="connsiteY33" fmla="*/ 407406 h 823866"/>
              <a:gd name="connsiteX34" fmla="*/ 772562 w 829901"/>
              <a:gd name="connsiteY34" fmla="*/ 353086 h 823866"/>
              <a:gd name="connsiteX35" fmla="*/ 811794 w 829901"/>
              <a:gd name="connsiteY35" fmla="*/ 292729 h 823866"/>
              <a:gd name="connsiteX36" fmla="*/ 829901 w 829901"/>
              <a:gd name="connsiteY36" fmla="*/ 226337 h 823866"/>
              <a:gd name="connsiteX37" fmla="*/ 823865 w 829901"/>
              <a:gd name="connsiteY37" fmla="*/ 220301 h 823866"/>
              <a:gd name="connsiteX38" fmla="*/ 805758 w 829901"/>
              <a:gd name="connsiteY38" fmla="*/ 235391 h 823866"/>
              <a:gd name="connsiteX39" fmla="*/ 787651 w 829901"/>
              <a:gd name="connsiteY39" fmla="*/ 271604 h 823866"/>
              <a:gd name="connsiteX40" fmla="*/ 769545 w 829901"/>
              <a:gd name="connsiteY40" fmla="*/ 307818 h 823866"/>
              <a:gd name="connsiteX41" fmla="*/ 751438 w 829901"/>
              <a:gd name="connsiteY41" fmla="*/ 316872 h 823866"/>
              <a:gd name="connsiteX42" fmla="*/ 745402 w 829901"/>
              <a:gd name="connsiteY42" fmla="*/ 341014 h 823866"/>
              <a:gd name="connsiteX43" fmla="*/ 727295 w 829901"/>
              <a:gd name="connsiteY43" fmla="*/ 362139 h 823866"/>
              <a:gd name="connsiteX44" fmla="*/ 715224 w 829901"/>
              <a:gd name="connsiteY44" fmla="*/ 371193 h 823866"/>
              <a:gd name="connsiteX45" fmla="*/ 715224 w 829901"/>
              <a:gd name="connsiteY45" fmla="*/ 371193 h 823866"/>
              <a:gd name="connsiteX46" fmla="*/ 715224 w 829901"/>
              <a:gd name="connsiteY46" fmla="*/ 371193 h 823866"/>
              <a:gd name="connsiteX47" fmla="*/ 721259 w 829901"/>
              <a:gd name="connsiteY47" fmla="*/ 316872 h 823866"/>
              <a:gd name="connsiteX48" fmla="*/ 718242 w 829901"/>
              <a:gd name="connsiteY48" fmla="*/ 301783 h 823866"/>
              <a:gd name="connsiteX49" fmla="*/ 730313 w 829901"/>
              <a:gd name="connsiteY49" fmla="*/ 265569 h 823866"/>
              <a:gd name="connsiteX50" fmla="*/ 727295 w 829901"/>
              <a:gd name="connsiteY50" fmla="*/ 226337 h 823866"/>
              <a:gd name="connsiteX51" fmla="*/ 703152 w 829901"/>
              <a:gd name="connsiteY51" fmla="*/ 193141 h 823866"/>
              <a:gd name="connsiteX52" fmla="*/ 697117 w 829901"/>
              <a:gd name="connsiteY52" fmla="*/ 178052 h 823866"/>
              <a:gd name="connsiteX53" fmla="*/ 706170 w 829901"/>
              <a:gd name="connsiteY53" fmla="*/ 162963 h 823866"/>
              <a:gd name="connsiteX54" fmla="*/ 709188 w 829901"/>
              <a:gd name="connsiteY54" fmla="*/ 147874 h 823866"/>
              <a:gd name="connsiteX55" fmla="*/ 691081 w 829901"/>
              <a:gd name="connsiteY55" fmla="*/ 147874 h 823866"/>
              <a:gd name="connsiteX56" fmla="*/ 672974 w 829901"/>
              <a:gd name="connsiteY56" fmla="*/ 147874 h 823866"/>
              <a:gd name="connsiteX57" fmla="*/ 654867 w 829901"/>
              <a:gd name="connsiteY57" fmla="*/ 117695 h 823866"/>
              <a:gd name="connsiteX58" fmla="*/ 615636 w 829901"/>
              <a:gd name="connsiteY58" fmla="*/ 117695 h 823866"/>
              <a:gd name="connsiteX59" fmla="*/ 564333 w 829901"/>
              <a:gd name="connsiteY59" fmla="*/ 111660 h 823866"/>
              <a:gd name="connsiteX60" fmla="*/ 497941 w 829901"/>
              <a:gd name="connsiteY60" fmla="*/ 99589 h 823866"/>
              <a:gd name="connsiteX61" fmla="*/ 443620 w 829901"/>
              <a:gd name="connsiteY61" fmla="*/ 99589 h 823866"/>
              <a:gd name="connsiteX62" fmla="*/ 401370 w 829901"/>
              <a:gd name="connsiteY62" fmla="*/ 93553 h 823866"/>
              <a:gd name="connsiteX63" fmla="*/ 347049 w 829901"/>
              <a:gd name="connsiteY63" fmla="*/ 72428 h 823866"/>
              <a:gd name="connsiteX64" fmla="*/ 328943 w 829901"/>
              <a:gd name="connsiteY64" fmla="*/ 48286 h 823866"/>
              <a:gd name="connsiteX65" fmla="*/ 250479 w 829901"/>
              <a:gd name="connsiteY65" fmla="*/ 51303 h 823866"/>
              <a:gd name="connsiteX66" fmla="*/ 235390 w 829901"/>
              <a:gd name="connsiteY66" fmla="*/ 0 h 823866"/>
              <a:gd name="connsiteX67" fmla="*/ 168998 w 829901"/>
              <a:gd name="connsiteY67" fmla="*/ 30179 h 823866"/>
              <a:gd name="connsiteX68" fmla="*/ 84499 w 829901"/>
              <a:gd name="connsiteY68" fmla="*/ 33196 h 823866"/>
              <a:gd name="connsiteX0" fmla="*/ 84499 w 829901"/>
              <a:gd name="connsiteY0" fmla="*/ 33196 h 823866"/>
              <a:gd name="connsiteX1" fmla="*/ 57339 w 829901"/>
              <a:gd name="connsiteY1" fmla="*/ 96571 h 823866"/>
              <a:gd name="connsiteX2" fmla="*/ 66392 w 829901"/>
              <a:gd name="connsiteY2" fmla="*/ 175034 h 823866"/>
              <a:gd name="connsiteX3" fmla="*/ 0 w 829901"/>
              <a:gd name="connsiteY3" fmla="*/ 259533 h 823866"/>
              <a:gd name="connsiteX4" fmla="*/ 33196 w 829901"/>
              <a:gd name="connsiteY4" fmla="*/ 301783 h 823866"/>
              <a:gd name="connsiteX5" fmla="*/ 45267 w 829901"/>
              <a:gd name="connsiteY5" fmla="*/ 331961 h 823866"/>
              <a:gd name="connsiteX6" fmla="*/ 36214 w 829901"/>
              <a:gd name="connsiteY6" fmla="*/ 374210 h 823866"/>
              <a:gd name="connsiteX7" fmla="*/ 27160 w 829901"/>
              <a:gd name="connsiteY7" fmla="*/ 380246 h 823866"/>
              <a:gd name="connsiteX8" fmla="*/ 36214 w 829901"/>
              <a:gd name="connsiteY8" fmla="*/ 446638 h 823866"/>
              <a:gd name="connsiteX9" fmla="*/ 75446 w 829901"/>
              <a:gd name="connsiteY9" fmla="*/ 449656 h 823866"/>
              <a:gd name="connsiteX10" fmla="*/ 102606 w 829901"/>
              <a:gd name="connsiteY10" fmla="*/ 461727 h 823866"/>
              <a:gd name="connsiteX11" fmla="*/ 138967 w 829901"/>
              <a:gd name="connsiteY11" fmla="*/ 486341 h 823866"/>
              <a:gd name="connsiteX12" fmla="*/ 175815 w 829901"/>
              <a:gd name="connsiteY12" fmla="*/ 538280 h 823866"/>
              <a:gd name="connsiteX13" fmla="*/ 220301 w 829901"/>
              <a:gd name="connsiteY13" fmla="*/ 537173 h 823866"/>
              <a:gd name="connsiteX14" fmla="*/ 249361 w 829901"/>
              <a:gd name="connsiteY14" fmla="*/ 585126 h 823866"/>
              <a:gd name="connsiteX15" fmla="*/ 277640 w 829901"/>
              <a:gd name="connsiteY15" fmla="*/ 564333 h 823866"/>
              <a:gd name="connsiteX16" fmla="*/ 292729 w 829901"/>
              <a:gd name="connsiteY16" fmla="*/ 618654 h 823866"/>
              <a:gd name="connsiteX17" fmla="*/ 292729 w 829901"/>
              <a:gd name="connsiteY17" fmla="*/ 636761 h 823866"/>
              <a:gd name="connsiteX18" fmla="*/ 301782 w 829901"/>
              <a:gd name="connsiteY18" fmla="*/ 666939 h 823866"/>
              <a:gd name="connsiteX19" fmla="*/ 298764 w 829901"/>
              <a:gd name="connsiteY19" fmla="*/ 682028 h 823866"/>
              <a:gd name="connsiteX20" fmla="*/ 304800 w 829901"/>
              <a:gd name="connsiteY20" fmla="*/ 697117 h 823866"/>
              <a:gd name="connsiteX21" fmla="*/ 301782 w 829901"/>
              <a:gd name="connsiteY21" fmla="*/ 763509 h 823866"/>
              <a:gd name="connsiteX22" fmla="*/ 337996 w 829901"/>
              <a:gd name="connsiteY22" fmla="*/ 793688 h 823866"/>
              <a:gd name="connsiteX23" fmla="*/ 380246 w 829901"/>
              <a:gd name="connsiteY23" fmla="*/ 808777 h 823866"/>
              <a:gd name="connsiteX24" fmla="*/ 404388 w 829901"/>
              <a:gd name="connsiteY24" fmla="*/ 823866 h 823866"/>
              <a:gd name="connsiteX25" fmla="*/ 473798 w 829901"/>
              <a:gd name="connsiteY25" fmla="*/ 808777 h 823866"/>
              <a:gd name="connsiteX26" fmla="*/ 790669 w 829901"/>
              <a:gd name="connsiteY26" fmla="*/ 751438 h 823866"/>
              <a:gd name="connsiteX27" fmla="*/ 802741 w 829901"/>
              <a:gd name="connsiteY27" fmla="*/ 751438 h 823866"/>
              <a:gd name="connsiteX28" fmla="*/ 802741 w 829901"/>
              <a:gd name="connsiteY28" fmla="*/ 688064 h 823866"/>
              <a:gd name="connsiteX29" fmla="*/ 766527 w 829901"/>
              <a:gd name="connsiteY29" fmla="*/ 579422 h 823866"/>
              <a:gd name="connsiteX30" fmla="*/ 772562 w 829901"/>
              <a:gd name="connsiteY30" fmla="*/ 522084 h 823866"/>
              <a:gd name="connsiteX31" fmla="*/ 757473 w 829901"/>
              <a:gd name="connsiteY31" fmla="*/ 473798 h 823866"/>
              <a:gd name="connsiteX32" fmla="*/ 778598 w 829901"/>
              <a:gd name="connsiteY32" fmla="*/ 443620 h 823866"/>
              <a:gd name="connsiteX33" fmla="*/ 781616 w 829901"/>
              <a:gd name="connsiteY33" fmla="*/ 407406 h 823866"/>
              <a:gd name="connsiteX34" fmla="*/ 772562 w 829901"/>
              <a:gd name="connsiteY34" fmla="*/ 353086 h 823866"/>
              <a:gd name="connsiteX35" fmla="*/ 811794 w 829901"/>
              <a:gd name="connsiteY35" fmla="*/ 292729 h 823866"/>
              <a:gd name="connsiteX36" fmla="*/ 829901 w 829901"/>
              <a:gd name="connsiteY36" fmla="*/ 226337 h 823866"/>
              <a:gd name="connsiteX37" fmla="*/ 823865 w 829901"/>
              <a:gd name="connsiteY37" fmla="*/ 220301 h 823866"/>
              <a:gd name="connsiteX38" fmla="*/ 805758 w 829901"/>
              <a:gd name="connsiteY38" fmla="*/ 235391 h 823866"/>
              <a:gd name="connsiteX39" fmla="*/ 787651 w 829901"/>
              <a:gd name="connsiteY39" fmla="*/ 271604 h 823866"/>
              <a:gd name="connsiteX40" fmla="*/ 769545 w 829901"/>
              <a:gd name="connsiteY40" fmla="*/ 307818 h 823866"/>
              <a:gd name="connsiteX41" fmla="*/ 751438 w 829901"/>
              <a:gd name="connsiteY41" fmla="*/ 316872 h 823866"/>
              <a:gd name="connsiteX42" fmla="*/ 745402 w 829901"/>
              <a:gd name="connsiteY42" fmla="*/ 341014 h 823866"/>
              <a:gd name="connsiteX43" fmla="*/ 727295 w 829901"/>
              <a:gd name="connsiteY43" fmla="*/ 362139 h 823866"/>
              <a:gd name="connsiteX44" fmla="*/ 715224 w 829901"/>
              <a:gd name="connsiteY44" fmla="*/ 371193 h 823866"/>
              <a:gd name="connsiteX45" fmla="*/ 715224 w 829901"/>
              <a:gd name="connsiteY45" fmla="*/ 371193 h 823866"/>
              <a:gd name="connsiteX46" fmla="*/ 715224 w 829901"/>
              <a:gd name="connsiteY46" fmla="*/ 371193 h 823866"/>
              <a:gd name="connsiteX47" fmla="*/ 721259 w 829901"/>
              <a:gd name="connsiteY47" fmla="*/ 316872 h 823866"/>
              <a:gd name="connsiteX48" fmla="*/ 718242 w 829901"/>
              <a:gd name="connsiteY48" fmla="*/ 301783 h 823866"/>
              <a:gd name="connsiteX49" fmla="*/ 730313 w 829901"/>
              <a:gd name="connsiteY49" fmla="*/ 265569 h 823866"/>
              <a:gd name="connsiteX50" fmla="*/ 727295 w 829901"/>
              <a:gd name="connsiteY50" fmla="*/ 226337 h 823866"/>
              <a:gd name="connsiteX51" fmla="*/ 703152 w 829901"/>
              <a:gd name="connsiteY51" fmla="*/ 193141 h 823866"/>
              <a:gd name="connsiteX52" fmla="*/ 697117 w 829901"/>
              <a:gd name="connsiteY52" fmla="*/ 178052 h 823866"/>
              <a:gd name="connsiteX53" fmla="*/ 706170 w 829901"/>
              <a:gd name="connsiteY53" fmla="*/ 162963 h 823866"/>
              <a:gd name="connsiteX54" fmla="*/ 709188 w 829901"/>
              <a:gd name="connsiteY54" fmla="*/ 147874 h 823866"/>
              <a:gd name="connsiteX55" fmla="*/ 691081 w 829901"/>
              <a:gd name="connsiteY55" fmla="*/ 147874 h 823866"/>
              <a:gd name="connsiteX56" fmla="*/ 672974 w 829901"/>
              <a:gd name="connsiteY56" fmla="*/ 147874 h 823866"/>
              <a:gd name="connsiteX57" fmla="*/ 654867 w 829901"/>
              <a:gd name="connsiteY57" fmla="*/ 117695 h 823866"/>
              <a:gd name="connsiteX58" fmla="*/ 615636 w 829901"/>
              <a:gd name="connsiteY58" fmla="*/ 117695 h 823866"/>
              <a:gd name="connsiteX59" fmla="*/ 564333 w 829901"/>
              <a:gd name="connsiteY59" fmla="*/ 111660 h 823866"/>
              <a:gd name="connsiteX60" fmla="*/ 497941 w 829901"/>
              <a:gd name="connsiteY60" fmla="*/ 99589 h 823866"/>
              <a:gd name="connsiteX61" fmla="*/ 443620 w 829901"/>
              <a:gd name="connsiteY61" fmla="*/ 99589 h 823866"/>
              <a:gd name="connsiteX62" fmla="*/ 401370 w 829901"/>
              <a:gd name="connsiteY62" fmla="*/ 93553 h 823866"/>
              <a:gd name="connsiteX63" fmla="*/ 347049 w 829901"/>
              <a:gd name="connsiteY63" fmla="*/ 72428 h 823866"/>
              <a:gd name="connsiteX64" fmla="*/ 328943 w 829901"/>
              <a:gd name="connsiteY64" fmla="*/ 48286 h 823866"/>
              <a:gd name="connsiteX65" fmla="*/ 250479 w 829901"/>
              <a:gd name="connsiteY65" fmla="*/ 51303 h 823866"/>
              <a:gd name="connsiteX66" fmla="*/ 235390 w 829901"/>
              <a:gd name="connsiteY66" fmla="*/ 0 h 823866"/>
              <a:gd name="connsiteX67" fmla="*/ 168998 w 829901"/>
              <a:gd name="connsiteY67" fmla="*/ 30179 h 823866"/>
              <a:gd name="connsiteX68" fmla="*/ 84499 w 829901"/>
              <a:gd name="connsiteY68" fmla="*/ 33196 h 823866"/>
              <a:gd name="connsiteX0" fmla="*/ 84499 w 829901"/>
              <a:gd name="connsiteY0" fmla="*/ 33196 h 823866"/>
              <a:gd name="connsiteX1" fmla="*/ 57339 w 829901"/>
              <a:gd name="connsiteY1" fmla="*/ 96571 h 823866"/>
              <a:gd name="connsiteX2" fmla="*/ 66392 w 829901"/>
              <a:gd name="connsiteY2" fmla="*/ 175034 h 823866"/>
              <a:gd name="connsiteX3" fmla="*/ 0 w 829901"/>
              <a:gd name="connsiteY3" fmla="*/ 259533 h 823866"/>
              <a:gd name="connsiteX4" fmla="*/ 33196 w 829901"/>
              <a:gd name="connsiteY4" fmla="*/ 301783 h 823866"/>
              <a:gd name="connsiteX5" fmla="*/ 45267 w 829901"/>
              <a:gd name="connsiteY5" fmla="*/ 331961 h 823866"/>
              <a:gd name="connsiteX6" fmla="*/ 36214 w 829901"/>
              <a:gd name="connsiteY6" fmla="*/ 374210 h 823866"/>
              <a:gd name="connsiteX7" fmla="*/ 27160 w 829901"/>
              <a:gd name="connsiteY7" fmla="*/ 380246 h 823866"/>
              <a:gd name="connsiteX8" fmla="*/ 36214 w 829901"/>
              <a:gd name="connsiteY8" fmla="*/ 446638 h 823866"/>
              <a:gd name="connsiteX9" fmla="*/ 75446 w 829901"/>
              <a:gd name="connsiteY9" fmla="*/ 449656 h 823866"/>
              <a:gd name="connsiteX10" fmla="*/ 100221 w 829901"/>
              <a:gd name="connsiteY10" fmla="*/ 468870 h 823866"/>
              <a:gd name="connsiteX11" fmla="*/ 138967 w 829901"/>
              <a:gd name="connsiteY11" fmla="*/ 486341 h 823866"/>
              <a:gd name="connsiteX12" fmla="*/ 175815 w 829901"/>
              <a:gd name="connsiteY12" fmla="*/ 538280 h 823866"/>
              <a:gd name="connsiteX13" fmla="*/ 220301 w 829901"/>
              <a:gd name="connsiteY13" fmla="*/ 537173 h 823866"/>
              <a:gd name="connsiteX14" fmla="*/ 249361 w 829901"/>
              <a:gd name="connsiteY14" fmla="*/ 585126 h 823866"/>
              <a:gd name="connsiteX15" fmla="*/ 277640 w 829901"/>
              <a:gd name="connsiteY15" fmla="*/ 564333 h 823866"/>
              <a:gd name="connsiteX16" fmla="*/ 292729 w 829901"/>
              <a:gd name="connsiteY16" fmla="*/ 618654 h 823866"/>
              <a:gd name="connsiteX17" fmla="*/ 292729 w 829901"/>
              <a:gd name="connsiteY17" fmla="*/ 636761 h 823866"/>
              <a:gd name="connsiteX18" fmla="*/ 301782 w 829901"/>
              <a:gd name="connsiteY18" fmla="*/ 666939 h 823866"/>
              <a:gd name="connsiteX19" fmla="*/ 298764 w 829901"/>
              <a:gd name="connsiteY19" fmla="*/ 682028 h 823866"/>
              <a:gd name="connsiteX20" fmla="*/ 304800 w 829901"/>
              <a:gd name="connsiteY20" fmla="*/ 697117 h 823866"/>
              <a:gd name="connsiteX21" fmla="*/ 301782 w 829901"/>
              <a:gd name="connsiteY21" fmla="*/ 763509 h 823866"/>
              <a:gd name="connsiteX22" fmla="*/ 337996 w 829901"/>
              <a:gd name="connsiteY22" fmla="*/ 793688 h 823866"/>
              <a:gd name="connsiteX23" fmla="*/ 380246 w 829901"/>
              <a:gd name="connsiteY23" fmla="*/ 808777 h 823866"/>
              <a:gd name="connsiteX24" fmla="*/ 404388 w 829901"/>
              <a:gd name="connsiteY24" fmla="*/ 823866 h 823866"/>
              <a:gd name="connsiteX25" fmla="*/ 473798 w 829901"/>
              <a:gd name="connsiteY25" fmla="*/ 808777 h 823866"/>
              <a:gd name="connsiteX26" fmla="*/ 790669 w 829901"/>
              <a:gd name="connsiteY26" fmla="*/ 751438 h 823866"/>
              <a:gd name="connsiteX27" fmla="*/ 802741 w 829901"/>
              <a:gd name="connsiteY27" fmla="*/ 751438 h 823866"/>
              <a:gd name="connsiteX28" fmla="*/ 802741 w 829901"/>
              <a:gd name="connsiteY28" fmla="*/ 688064 h 823866"/>
              <a:gd name="connsiteX29" fmla="*/ 766527 w 829901"/>
              <a:gd name="connsiteY29" fmla="*/ 579422 h 823866"/>
              <a:gd name="connsiteX30" fmla="*/ 772562 w 829901"/>
              <a:gd name="connsiteY30" fmla="*/ 522084 h 823866"/>
              <a:gd name="connsiteX31" fmla="*/ 757473 w 829901"/>
              <a:gd name="connsiteY31" fmla="*/ 473798 h 823866"/>
              <a:gd name="connsiteX32" fmla="*/ 778598 w 829901"/>
              <a:gd name="connsiteY32" fmla="*/ 443620 h 823866"/>
              <a:gd name="connsiteX33" fmla="*/ 781616 w 829901"/>
              <a:gd name="connsiteY33" fmla="*/ 407406 h 823866"/>
              <a:gd name="connsiteX34" fmla="*/ 772562 w 829901"/>
              <a:gd name="connsiteY34" fmla="*/ 353086 h 823866"/>
              <a:gd name="connsiteX35" fmla="*/ 811794 w 829901"/>
              <a:gd name="connsiteY35" fmla="*/ 292729 h 823866"/>
              <a:gd name="connsiteX36" fmla="*/ 829901 w 829901"/>
              <a:gd name="connsiteY36" fmla="*/ 226337 h 823866"/>
              <a:gd name="connsiteX37" fmla="*/ 823865 w 829901"/>
              <a:gd name="connsiteY37" fmla="*/ 220301 h 823866"/>
              <a:gd name="connsiteX38" fmla="*/ 805758 w 829901"/>
              <a:gd name="connsiteY38" fmla="*/ 235391 h 823866"/>
              <a:gd name="connsiteX39" fmla="*/ 787651 w 829901"/>
              <a:gd name="connsiteY39" fmla="*/ 271604 h 823866"/>
              <a:gd name="connsiteX40" fmla="*/ 769545 w 829901"/>
              <a:gd name="connsiteY40" fmla="*/ 307818 h 823866"/>
              <a:gd name="connsiteX41" fmla="*/ 751438 w 829901"/>
              <a:gd name="connsiteY41" fmla="*/ 316872 h 823866"/>
              <a:gd name="connsiteX42" fmla="*/ 745402 w 829901"/>
              <a:gd name="connsiteY42" fmla="*/ 341014 h 823866"/>
              <a:gd name="connsiteX43" fmla="*/ 727295 w 829901"/>
              <a:gd name="connsiteY43" fmla="*/ 362139 h 823866"/>
              <a:gd name="connsiteX44" fmla="*/ 715224 w 829901"/>
              <a:gd name="connsiteY44" fmla="*/ 371193 h 823866"/>
              <a:gd name="connsiteX45" fmla="*/ 715224 w 829901"/>
              <a:gd name="connsiteY45" fmla="*/ 371193 h 823866"/>
              <a:gd name="connsiteX46" fmla="*/ 715224 w 829901"/>
              <a:gd name="connsiteY46" fmla="*/ 371193 h 823866"/>
              <a:gd name="connsiteX47" fmla="*/ 721259 w 829901"/>
              <a:gd name="connsiteY47" fmla="*/ 316872 h 823866"/>
              <a:gd name="connsiteX48" fmla="*/ 718242 w 829901"/>
              <a:gd name="connsiteY48" fmla="*/ 301783 h 823866"/>
              <a:gd name="connsiteX49" fmla="*/ 730313 w 829901"/>
              <a:gd name="connsiteY49" fmla="*/ 265569 h 823866"/>
              <a:gd name="connsiteX50" fmla="*/ 727295 w 829901"/>
              <a:gd name="connsiteY50" fmla="*/ 226337 h 823866"/>
              <a:gd name="connsiteX51" fmla="*/ 703152 w 829901"/>
              <a:gd name="connsiteY51" fmla="*/ 193141 h 823866"/>
              <a:gd name="connsiteX52" fmla="*/ 697117 w 829901"/>
              <a:gd name="connsiteY52" fmla="*/ 178052 h 823866"/>
              <a:gd name="connsiteX53" fmla="*/ 706170 w 829901"/>
              <a:gd name="connsiteY53" fmla="*/ 162963 h 823866"/>
              <a:gd name="connsiteX54" fmla="*/ 709188 w 829901"/>
              <a:gd name="connsiteY54" fmla="*/ 147874 h 823866"/>
              <a:gd name="connsiteX55" fmla="*/ 691081 w 829901"/>
              <a:gd name="connsiteY55" fmla="*/ 147874 h 823866"/>
              <a:gd name="connsiteX56" fmla="*/ 672974 w 829901"/>
              <a:gd name="connsiteY56" fmla="*/ 147874 h 823866"/>
              <a:gd name="connsiteX57" fmla="*/ 654867 w 829901"/>
              <a:gd name="connsiteY57" fmla="*/ 117695 h 823866"/>
              <a:gd name="connsiteX58" fmla="*/ 615636 w 829901"/>
              <a:gd name="connsiteY58" fmla="*/ 117695 h 823866"/>
              <a:gd name="connsiteX59" fmla="*/ 564333 w 829901"/>
              <a:gd name="connsiteY59" fmla="*/ 111660 h 823866"/>
              <a:gd name="connsiteX60" fmla="*/ 497941 w 829901"/>
              <a:gd name="connsiteY60" fmla="*/ 99589 h 823866"/>
              <a:gd name="connsiteX61" fmla="*/ 443620 w 829901"/>
              <a:gd name="connsiteY61" fmla="*/ 99589 h 823866"/>
              <a:gd name="connsiteX62" fmla="*/ 401370 w 829901"/>
              <a:gd name="connsiteY62" fmla="*/ 93553 h 823866"/>
              <a:gd name="connsiteX63" fmla="*/ 347049 w 829901"/>
              <a:gd name="connsiteY63" fmla="*/ 72428 h 823866"/>
              <a:gd name="connsiteX64" fmla="*/ 328943 w 829901"/>
              <a:gd name="connsiteY64" fmla="*/ 48286 h 823866"/>
              <a:gd name="connsiteX65" fmla="*/ 250479 w 829901"/>
              <a:gd name="connsiteY65" fmla="*/ 51303 h 823866"/>
              <a:gd name="connsiteX66" fmla="*/ 235390 w 829901"/>
              <a:gd name="connsiteY66" fmla="*/ 0 h 823866"/>
              <a:gd name="connsiteX67" fmla="*/ 168998 w 829901"/>
              <a:gd name="connsiteY67" fmla="*/ 30179 h 823866"/>
              <a:gd name="connsiteX68" fmla="*/ 84499 w 829901"/>
              <a:gd name="connsiteY68" fmla="*/ 33196 h 823866"/>
              <a:gd name="connsiteX0" fmla="*/ 84499 w 829901"/>
              <a:gd name="connsiteY0" fmla="*/ 33196 h 823866"/>
              <a:gd name="connsiteX1" fmla="*/ 57339 w 829901"/>
              <a:gd name="connsiteY1" fmla="*/ 96571 h 823866"/>
              <a:gd name="connsiteX2" fmla="*/ 66392 w 829901"/>
              <a:gd name="connsiteY2" fmla="*/ 175034 h 823866"/>
              <a:gd name="connsiteX3" fmla="*/ 0 w 829901"/>
              <a:gd name="connsiteY3" fmla="*/ 259533 h 823866"/>
              <a:gd name="connsiteX4" fmla="*/ 33196 w 829901"/>
              <a:gd name="connsiteY4" fmla="*/ 301783 h 823866"/>
              <a:gd name="connsiteX5" fmla="*/ 45267 w 829901"/>
              <a:gd name="connsiteY5" fmla="*/ 331961 h 823866"/>
              <a:gd name="connsiteX6" fmla="*/ 27160 w 829901"/>
              <a:gd name="connsiteY6" fmla="*/ 380246 h 823866"/>
              <a:gd name="connsiteX7" fmla="*/ 36214 w 829901"/>
              <a:gd name="connsiteY7" fmla="*/ 446638 h 823866"/>
              <a:gd name="connsiteX8" fmla="*/ 75446 w 829901"/>
              <a:gd name="connsiteY8" fmla="*/ 449656 h 823866"/>
              <a:gd name="connsiteX9" fmla="*/ 100221 w 829901"/>
              <a:gd name="connsiteY9" fmla="*/ 468870 h 823866"/>
              <a:gd name="connsiteX10" fmla="*/ 138967 w 829901"/>
              <a:gd name="connsiteY10" fmla="*/ 486341 h 823866"/>
              <a:gd name="connsiteX11" fmla="*/ 175815 w 829901"/>
              <a:gd name="connsiteY11" fmla="*/ 538280 h 823866"/>
              <a:gd name="connsiteX12" fmla="*/ 220301 w 829901"/>
              <a:gd name="connsiteY12" fmla="*/ 537173 h 823866"/>
              <a:gd name="connsiteX13" fmla="*/ 249361 w 829901"/>
              <a:gd name="connsiteY13" fmla="*/ 585126 h 823866"/>
              <a:gd name="connsiteX14" fmla="*/ 277640 w 829901"/>
              <a:gd name="connsiteY14" fmla="*/ 564333 h 823866"/>
              <a:gd name="connsiteX15" fmla="*/ 292729 w 829901"/>
              <a:gd name="connsiteY15" fmla="*/ 618654 h 823866"/>
              <a:gd name="connsiteX16" fmla="*/ 292729 w 829901"/>
              <a:gd name="connsiteY16" fmla="*/ 636761 h 823866"/>
              <a:gd name="connsiteX17" fmla="*/ 301782 w 829901"/>
              <a:gd name="connsiteY17" fmla="*/ 666939 h 823866"/>
              <a:gd name="connsiteX18" fmla="*/ 298764 w 829901"/>
              <a:gd name="connsiteY18" fmla="*/ 682028 h 823866"/>
              <a:gd name="connsiteX19" fmla="*/ 304800 w 829901"/>
              <a:gd name="connsiteY19" fmla="*/ 697117 h 823866"/>
              <a:gd name="connsiteX20" fmla="*/ 301782 w 829901"/>
              <a:gd name="connsiteY20" fmla="*/ 763509 h 823866"/>
              <a:gd name="connsiteX21" fmla="*/ 337996 w 829901"/>
              <a:gd name="connsiteY21" fmla="*/ 793688 h 823866"/>
              <a:gd name="connsiteX22" fmla="*/ 380246 w 829901"/>
              <a:gd name="connsiteY22" fmla="*/ 808777 h 823866"/>
              <a:gd name="connsiteX23" fmla="*/ 404388 w 829901"/>
              <a:gd name="connsiteY23" fmla="*/ 823866 h 823866"/>
              <a:gd name="connsiteX24" fmla="*/ 473798 w 829901"/>
              <a:gd name="connsiteY24" fmla="*/ 808777 h 823866"/>
              <a:gd name="connsiteX25" fmla="*/ 790669 w 829901"/>
              <a:gd name="connsiteY25" fmla="*/ 751438 h 823866"/>
              <a:gd name="connsiteX26" fmla="*/ 802741 w 829901"/>
              <a:gd name="connsiteY26" fmla="*/ 751438 h 823866"/>
              <a:gd name="connsiteX27" fmla="*/ 802741 w 829901"/>
              <a:gd name="connsiteY27" fmla="*/ 688064 h 823866"/>
              <a:gd name="connsiteX28" fmla="*/ 766527 w 829901"/>
              <a:gd name="connsiteY28" fmla="*/ 579422 h 823866"/>
              <a:gd name="connsiteX29" fmla="*/ 772562 w 829901"/>
              <a:gd name="connsiteY29" fmla="*/ 522084 h 823866"/>
              <a:gd name="connsiteX30" fmla="*/ 757473 w 829901"/>
              <a:gd name="connsiteY30" fmla="*/ 473798 h 823866"/>
              <a:gd name="connsiteX31" fmla="*/ 778598 w 829901"/>
              <a:gd name="connsiteY31" fmla="*/ 443620 h 823866"/>
              <a:gd name="connsiteX32" fmla="*/ 781616 w 829901"/>
              <a:gd name="connsiteY32" fmla="*/ 407406 h 823866"/>
              <a:gd name="connsiteX33" fmla="*/ 772562 w 829901"/>
              <a:gd name="connsiteY33" fmla="*/ 353086 h 823866"/>
              <a:gd name="connsiteX34" fmla="*/ 811794 w 829901"/>
              <a:gd name="connsiteY34" fmla="*/ 292729 h 823866"/>
              <a:gd name="connsiteX35" fmla="*/ 829901 w 829901"/>
              <a:gd name="connsiteY35" fmla="*/ 226337 h 823866"/>
              <a:gd name="connsiteX36" fmla="*/ 823865 w 829901"/>
              <a:gd name="connsiteY36" fmla="*/ 220301 h 823866"/>
              <a:gd name="connsiteX37" fmla="*/ 805758 w 829901"/>
              <a:gd name="connsiteY37" fmla="*/ 235391 h 823866"/>
              <a:gd name="connsiteX38" fmla="*/ 787651 w 829901"/>
              <a:gd name="connsiteY38" fmla="*/ 271604 h 823866"/>
              <a:gd name="connsiteX39" fmla="*/ 769545 w 829901"/>
              <a:gd name="connsiteY39" fmla="*/ 307818 h 823866"/>
              <a:gd name="connsiteX40" fmla="*/ 751438 w 829901"/>
              <a:gd name="connsiteY40" fmla="*/ 316872 h 823866"/>
              <a:gd name="connsiteX41" fmla="*/ 745402 w 829901"/>
              <a:gd name="connsiteY41" fmla="*/ 341014 h 823866"/>
              <a:gd name="connsiteX42" fmla="*/ 727295 w 829901"/>
              <a:gd name="connsiteY42" fmla="*/ 362139 h 823866"/>
              <a:gd name="connsiteX43" fmla="*/ 715224 w 829901"/>
              <a:gd name="connsiteY43" fmla="*/ 371193 h 823866"/>
              <a:gd name="connsiteX44" fmla="*/ 715224 w 829901"/>
              <a:gd name="connsiteY44" fmla="*/ 371193 h 823866"/>
              <a:gd name="connsiteX45" fmla="*/ 715224 w 829901"/>
              <a:gd name="connsiteY45" fmla="*/ 371193 h 823866"/>
              <a:gd name="connsiteX46" fmla="*/ 721259 w 829901"/>
              <a:gd name="connsiteY46" fmla="*/ 316872 h 823866"/>
              <a:gd name="connsiteX47" fmla="*/ 718242 w 829901"/>
              <a:gd name="connsiteY47" fmla="*/ 301783 h 823866"/>
              <a:gd name="connsiteX48" fmla="*/ 730313 w 829901"/>
              <a:gd name="connsiteY48" fmla="*/ 265569 h 823866"/>
              <a:gd name="connsiteX49" fmla="*/ 727295 w 829901"/>
              <a:gd name="connsiteY49" fmla="*/ 226337 h 823866"/>
              <a:gd name="connsiteX50" fmla="*/ 703152 w 829901"/>
              <a:gd name="connsiteY50" fmla="*/ 193141 h 823866"/>
              <a:gd name="connsiteX51" fmla="*/ 697117 w 829901"/>
              <a:gd name="connsiteY51" fmla="*/ 178052 h 823866"/>
              <a:gd name="connsiteX52" fmla="*/ 706170 w 829901"/>
              <a:gd name="connsiteY52" fmla="*/ 162963 h 823866"/>
              <a:gd name="connsiteX53" fmla="*/ 709188 w 829901"/>
              <a:gd name="connsiteY53" fmla="*/ 147874 h 823866"/>
              <a:gd name="connsiteX54" fmla="*/ 691081 w 829901"/>
              <a:gd name="connsiteY54" fmla="*/ 147874 h 823866"/>
              <a:gd name="connsiteX55" fmla="*/ 672974 w 829901"/>
              <a:gd name="connsiteY55" fmla="*/ 147874 h 823866"/>
              <a:gd name="connsiteX56" fmla="*/ 654867 w 829901"/>
              <a:gd name="connsiteY56" fmla="*/ 117695 h 823866"/>
              <a:gd name="connsiteX57" fmla="*/ 615636 w 829901"/>
              <a:gd name="connsiteY57" fmla="*/ 117695 h 823866"/>
              <a:gd name="connsiteX58" fmla="*/ 564333 w 829901"/>
              <a:gd name="connsiteY58" fmla="*/ 111660 h 823866"/>
              <a:gd name="connsiteX59" fmla="*/ 497941 w 829901"/>
              <a:gd name="connsiteY59" fmla="*/ 99589 h 823866"/>
              <a:gd name="connsiteX60" fmla="*/ 443620 w 829901"/>
              <a:gd name="connsiteY60" fmla="*/ 99589 h 823866"/>
              <a:gd name="connsiteX61" fmla="*/ 401370 w 829901"/>
              <a:gd name="connsiteY61" fmla="*/ 93553 h 823866"/>
              <a:gd name="connsiteX62" fmla="*/ 347049 w 829901"/>
              <a:gd name="connsiteY62" fmla="*/ 72428 h 823866"/>
              <a:gd name="connsiteX63" fmla="*/ 328943 w 829901"/>
              <a:gd name="connsiteY63" fmla="*/ 48286 h 823866"/>
              <a:gd name="connsiteX64" fmla="*/ 250479 w 829901"/>
              <a:gd name="connsiteY64" fmla="*/ 51303 h 823866"/>
              <a:gd name="connsiteX65" fmla="*/ 235390 w 829901"/>
              <a:gd name="connsiteY65" fmla="*/ 0 h 823866"/>
              <a:gd name="connsiteX66" fmla="*/ 168998 w 829901"/>
              <a:gd name="connsiteY66" fmla="*/ 30179 h 823866"/>
              <a:gd name="connsiteX67" fmla="*/ 84499 w 829901"/>
              <a:gd name="connsiteY67" fmla="*/ 33196 h 823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829901" h="823866">
                <a:moveTo>
                  <a:pt x="84499" y="33196"/>
                </a:moveTo>
                <a:lnTo>
                  <a:pt x="57339" y="96571"/>
                </a:lnTo>
                <a:lnTo>
                  <a:pt x="66392" y="175034"/>
                </a:lnTo>
                <a:lnTo>
                  <a:pt x="0" y="259533"/>
                </a:lnTo>
                <a:lnTo>
                  <a:pt x="33196" y="301783"/>
                </a:lnTo>
                <a:lnTo>
                  <a:pt x="45267" y="331961"/>
                </a:lnTo>
                <a:lnTo>
                  <a:pt x="27160" y="380246"/>
                </a:lnTo>
                <a:lnTo>
                  <a:pt x="36214" y="446638"/>
                </a:lnTo>
                <a:lnTo>
                  <a:pt x="75446" y="449656"/>
                </a:lnTo>
                <a:lnTo>
                  <a:pt x="100221" y="468870"/>
                </a:lnTo>
                <a:lnTo>
                  <a:pt x="138967" y="486341"/>
                </a:lnTo>
                <a:lnTo>
                  <a:pt x="175815" y="538280"/>
                </a:lnTo>
                <a:lnTo>
                  <a:pt x="220301" y="537173"/>
                </a:lnTo>
                <a:lnTo>
                  <a:pt x="249361" y="585126"/>
                </a:lnTo>
                <a:lnTo>
                  <a:pt x="277640" y="564333"/>
                </a:lnTo>
                <a:lnTo>
                  <a:pt x="292729" y="618654"/>
                </a:lnTo>
                <a:lnTo>
                  <a:pt x="292729" y="636761"/>
                </a:lnTo>
                <a:lnTo>
                  <a:pt x="301782" y="666939"/>
                </a:lnTo>
                <a:lnTo>
                  <a:pt x="298764" y="682028"/>
                </a:lnTo>
                <a:lnTo>
                  <a:pt x="304800" y="697117"/>
                </a:lnTo>
                <a:lnTo>
                  <a:pt x="301782" y="763509"/>
                </a:lnTo>
                <a:lnTo>
                  <a:pt x="337996" y="793688"/>
                </a:lnTo>
                <a:lnTo>
                  <a:pt x="380246" y="808777"/>
                </a:lnTo>
                <a:lnTo>
                  <a:pt x="404388" y="823866"/>
                </a:lnTo>
                <a:lnTo>
                  <a:pt x="473798" y="808777"/>
                </a:lnTo>
                <a:lnTo>
                  <a:pt x="790669" y="751438"/>
                </a:lnTo>
                <a:lnTo>
                  <a:pt x="802741" y="751438"/>
                </a:lnTo>
                <a:lnTo>
                  <a:pt x="802741" y="688064"/>
                </a:lnTo>
                <a:lnTo>
                  <a:pt x="766527" y="579422"/>
                </a:lnTo>
                <a:lnTo>
                  <a:pt x="772562" y="522084"/>
                </a:lnTo>
                <a:lnTo>
                  <a:pt x="757473" y="473798"/>
                </a:lnTo>
                <a:lnTo>
                  <a:pt x="778598" y="443620"/>
                </a:lnTo>
                <a:lnTo>
                  <a:pt x="781616" y="407406"/>
                </a:lnTo>
                <a:lnTo>
                  <a:pt x="772562" y="353086"/>
                </a:lnTo>
                <a:lnTo>
                  <a:pt x="811794" y="292729"/>
                </a:lnTo>
                <a:lnTo>
                  <a:pt x="829901" y="226337"/>
                </a:lnTo>
                <a:lnTo>
                  <a:pt x="823865" y="220301"/>
                </a:lnTo>
                <a:lnTo>
                  <a:pt x="805758" y="235391"/>
                </a:lnTo>
                <a:lnTo>
                  <a:pt x="787651" y="271604"/>
                </a:lnTo>
                <a:lnTo>
                  <a:pt x="769545" y="307818"/>
                </a:lnTo>
                <a:lnTo>
                  <a:pt x="751438" y="316872"/>
                </a:lnTo>
                <a:lnTo>
                  <a:pt x="745402" y="341014"/>
                </a:lnTo>
                <a:lnTo>
                  <a:pt x="727295" y="362139"/>
                </a:lnTo>
                <a:lnTo>
                  <a:pt x="715224" y="371193"/>
                </a:lnTo>
                <a:lnTo>
                  <a:pt x="715224" y="371193"/>
                </a:lnTo>
                <a:lnTo>
                  <a:pt x="715224" y="371193"/>
                </a:lnTo>
                <a:lnTo>
                  <a:pt x="721259" y="316872"/>
                </a:lnTo>
                <a:lnTo>
                  <a:pt x="718242" y="301783"/>
                </a:lnTo>
                <a:lnTo>
                  <a:pt x="730313" y="265569"/>
                </a:lnTo>
                <a:lnTo>
                  <a:pt x="727295" y="226337"/>
                </a:lnTo>
                <a:lnTo>
                  <a:pt x="703152" y="193141"/>
                </a:lnTo>
                <a:lnTo>
                  <a:pt x="697117" y="178052"/>
                </a:lnTo>
                <a:lnTo>
                  <a:pt x="706170" y="162963"/>
                </a:lnTo>
                <a:lnTo>
                  <a:pt x="709188" y="147874"/>
                </a:lnTo>
                <a:lnTo>
                  <a:pt x="691081" y="147874"/>
                </a:lnTo>
                <a:lnTo>
                  <a:pt x="672974" y="147874"/>
                </a:lnTo>
                <a:lnTo>
                  <a:pt x="654867" y="117695"/>
                </a:lnTo>
                <a:lnTo>
                  <a:pt x="615636" y="117695"/>
                </a:lnTo>
                <a:lnTo>
                  <a:pt x="564333" y="111660"/>
                </a:lnTo>
                <a:lnTo>
                  <a:pt x="497941" y="99589"/>
                </a:lnTo>
                <a:lnTo>
                  <a:pt x="443620" y="99589"/>
                </a:lnTo>
                <a:lnTo>
                  <a:pt x="401370" y="93553"/>
                </a:lnTo>
                <a:lnTo>
                  <a:pt x="347049" y="72428"/>
                </a:lnTo>
                <a:lnTo>
                  <a:pt x="328943" y="48286"/>
                </a:lnTo>
                <a:lnTo>
                  <a:pt x="250479" y="51303"/>
                </a:lnTo>
                <a:lnTo>
                  <a:pt x="235390" y="0"/>
                </a:lnTo>
                <a:lnTo>
                  <a:pt x="168998" y="30179"/>
                </a:lnTo>
                <a:lnTo>
                  <a:pt x="84499" y="33196"/>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25" name="Freeform 24"/>
          <p:cNvSpPr/>
          <p:nvPr/>
        </p:nvSpPr>
        <p:spPr>
          <a:xfrm>
            <a:off x="5523314" y="3079292"/>
            <a:ext cx="595232" cy="1025255"/>
          </a:xfrm>
          <a:custGeom>
            <a:avLst/>
            <a:gdLst>
              <a:gd name="connsiteX0" fmla="*/ 78463 w 615635"/>
              <a:gd name="connsiteY0" fmla="*/ 78464 h 1056238"/>
              <a:gd name="connsiteX1" fmla="*/ 147873 w 615635"/>
              <a:gd name="connsiteY1" fmla="*/ 159945 h 1056238"/>
              <a:gd name="connsiteX2" fmla="*/ 150891 w 615635"/>
              <a:gd name="connsiteY2" fmla="*/ 202194 h 1056238"/>
              <a:gd name="connsiteX3" fmla="*/ 93552 w 615635"/>
              <a:gd name="connsiteY3" fmla="*/ 280658 h 1056238"/>
              <a:gd name="connsiteX4" fmla="*/ 27160 w 615635"/>
              <a:gd name="connsiteY4" fmla="*/ 289711 h 1056238"/>
              <a:gd name="connsiteX5" fmla="*/ 54321 w 615635"/>
              <a:gd name="connsiteY5" fmla="*/ 356103 h 1056238"/>
              <a:gd name="connsiteX6" fmla="*/ 0 w 615635"/>
              <a:gd name="connsiteY6" fmla="*/ 431549 h 1056238"/>
              <a:gd name="connsiteX7" fmla="*/ 30178 w 615635"/>
              <a:gd name="connsiteY7" fmla="*/ 606582 h 1056238"/>
              <a:gd name="connsiteX8" fmla="*/ 114677 w 615635"/>
              <a:gd name="connsiteY8" fmla="*/ 636761 h 1056238"/>
              <a:gd name="connsiteX9" fmla="*/ 156926 w 615635"/>
              <a:gd name="connsiteY9" fmla="*/ 739367 h 1056238"/>
              <a:gd name="connsiteX10" fmla="*/ 196158 w 615635"/>
              <a:gd name="connsiteY10" fmla="*/ 727295 h 1056238"/>
              <a:gd name="connsiteX11" fmla="*/ 223319 w 615635"/>
              <a:gd name="connsiteY11" fmla="*/ 760491 h 1056238"/>
              <a:gd name="connsiteX12" fmla="*/ 205212 w 615635"/>
              <a:gd name="connsiteY12" fmla="*/ 793687 h 1056238"/>
              <a:gd name="connsiteX13" fmla="*/ 208229 w 615635"/>
              <a:gd name="connsiteY13" fmla="*/ 811794 h 1056238"/>
              <a:gd name="connsiteX14" fmla="*/ 247461 w 615635"/>
              <a:gd name="connsiteY14" fmla="*/ 902329 h 1056238"/>
              <a:gd name="connsiteX15" fmla="*/ 337996 w 615635"/>
              <a:gd name="connsiteY15" fmla="*/ 944578 h 1056238"/>
              <a:gd name="connsiteX16" fmla="*/ 371192 w 615635"/>
              <a:gd name="connsiteY16" fmla="*/ 1029077 h 1056238"/>
              <a:gd name="connsiteX17" fmla="*/ 431548 w 615635"/>
              <a:gd name="connsiteY17" fmla="*/ 1056238 h 1056238"/>
              <a:gd name="connsiteX18" fmla="*/ 437584 w 615635"/>
              <a:gd name="connsiteY18" fmla="*/ 1020024 h 1056238"/>
              <a:gd name="connsiteX19" fmla="*/ 473798 w 615635"/>
              <a:gd name="connsiteY19" fmla="*/ 1017006 h 1056238"/>
              <a:gd name="connsiteX20" fmla="*/ 525101 w 615635"/>
              <a:gd name="connsiteY20" fmla="*/ 1032095 h 1056238"/>
              <a:gd name="connsiteX21" fmla="*/ 534154 w 615635"/>
              <a:gd name="connsiteY21" fmla="*/ 1017006 h 1056238"/>
              <a:gd name="connsiteX22" fmla="*/ 525101 w 615635"/>
              <a:gd name="connsiteY22" fmla="*/ 983810 h 1056238"/>
              <a:gd name="connsiteX23" fmla="*/ 573386 w 615635"/>
              <a:gd name="connsiteY23" fmla="*/ 950614 h 1056238"/>
              <a:gd name="connsiteX24" fmla="*/ 579422 w 615635"/>
              <a:gd name="connsiteY24" fmla="*/ 920436 h 1056238"/>
              <a:gd name="connsiteX25" fmla="*/ 579422 w 615635"/>
              <a:gd name="connsiteY25" fmla="*/ 893275 h 1056238"/>
              <a:gd name="connsiteX26" fmla="*/ 573386 w 615635"/>
              <a:gd name="connsiteY26" fmla="*/ 866115 h 1056238"/>
              <a:gd name="connsiteX27" fmla="*/ 576404 w 615635"/>
              <a:gd name="connsiteY27" fmla="*/ 826883 h 1056238"/>
              <a:gd name="connsiteX28" fmla="*/ 579422 w 615635"/>
              <a:gd name="connsiteY28" fmla="*/ 802741 h 1056238"/>
              <a:gd name="connsiteX29" fmla="*/ 567350 w 615635"/>
              <a:gd name="connsiteY29" fmla="*/ 784634 h 1056238"/>
              <a:gd name="connsiteX30" fmla="*/ 603564 w 615635"/>
              <a:gd name="connsiteY30" fmla="*/ 748420 h 1056238"/>
              <a:gd name="connsiteX31" fmla="*/ 606582 w 615635"/>
              <a:gd name="connsiteY31" fmla="*/ 715224 h 1056238"/>
              <a:gd name="connsiteX32" fmla="*/ 615635 w 615635"/>
              <a:gd name="connsiteY32" fmla="*/ 703153 h 1056238"/>
              <a:gd name="connsiteX33" fmla="*/ 609600 w 615635"/>
              <a:gd name="connsiteY33" fmla="*/ 672974 h 1056238"/>
              <a:gd name="connsiteX34" fmla="*/ 597528 w 615635"/>
              <a:gd name="connsiteY34" fmla="*/ 624689 h 1056238"/>
              <a:gd name="connsiteX35" fmla="*/ 597528 w 615635"/>
              <a:gd name="connsiteY35" fmla="*/ 582440 h 1056238"/>
              <a:gd name="connsiteX36" fmla="*/ 615635 w 615635"/>
              <a:gd name="connsiteY36" fmla="*/ 519066 h 1056238"/>
              <a:gd name="connsiteX37" fmla="*/ 579422 w 615635"/>
              <a:gd name="connsiteY37" fmla="*/ 334978 h 1056238"/>
              <a:gd name="connsiteX38" fmla="*/ 570368 w 615635"/>
              <a:gd name="connsiteY38" fmla="*/ 307818 h 1056238"/>
              <a:gd name="connsiteX39" fmla="*/ 561315 w 615635"/>
              <a:gd name="connsiteY39" fmla="*/ 250479 h 1056238"/>
              <a:gd name="connsiteX40" fmla="*/ 552261 w 615635"/>
              <a:gd name="connsiteY40" fmla="*/ 202194 h 1056238"/>
              <a:gd name="connsiteX41" fmla="*/ 540190 w 615635"/>
              <a:gd name="connsiteY41" fmla="*/ 141838 h 1056238"/>
              <a:gd name="connsiteX42" fmla="*/ 531136 w 615635"/>
              <a:gd name="connsiteY42" fmla="*/ 126749 h 1056238"/>
              <a:gd name="connsiteX43" fmla="*/ 488887 w 615635"/>
              <a:gd name="connsiteY43" fmla="*/ 63374 h 1056238"/>
              <a:gd name="connsiteX44" fmla="*/ 479833 w 615635"/>
              <a:gd name="connsiteY44" fmla="*/ 21125 h 1056238"/>
              <a:gd name="connsiteX45" fmla="*/ 473798 w 615635"/>
              <a:gd name="connsiteY45" fmla="*/ 0 h 1056238"/>
              <a:gd name="connsiteX46" fmla="*/ 78463 w 615635"/>
              <a:gd name="connsiteY46" fmla="*/ 78464 h 1056238"/>
              <a:gd name="connsiteX0" fmla="*/ 78463 w 615635"/>
              <a:gd name="connsiteY0" fmla="*/ 78464 h 1056238"/>
              <a:gd name="connsiteX1" fmla="*/ 147873 w 615635"/>
              <a:gd name="connsiteY1" fmla="*/ 159945 h 1056238"/>
              <a:gd name="connsiteX2" fmla="*/ 150891 w 615635"/>
              <a:gd name="connsiteY2" fmla="*/ 202194 h 1056238"/>
              <a:gd name="connsiteX3" fmla="*/ 93552 w 615635"/>
              <a:gd name="connsiteY3" fmla="*/ 280658 h 1056238"/>
              <a:gd name="connsiteX4" fmla="*/ 27160 w 615635"/>
              <a:gd name="connsiteY4" fmla="*/ 277816 h 1056238"/>
              <a:gd name="connsiteX5" fmla="*/ 54321 w 615635"/>
              <a:gd name="connsiteY5" fmla="*/ 356103 h 1056238"/>
              <a:gd name="connsiteX6" fmla="*/ 0 w 615635"/>
              <a:gd name="connsiteY6" fmla="*/ 431549 h 1056238"/>
              <a:gd name="connsiteX7" fmla="*/ 30178 w 615635"/>
              <a:gd name="connsiteY7" fmla="*/ 606582 h 1056238"/>
              <a:gd name="connsiteX8" fmla="*/ 114677 w 615635"/>
              <a:gd name="connsiteY8" fmla="*/ 636761 h 1056238"/>
              <a:gd name="connsiteX9" fmla="*/ 156926 w 615635"/>
              <a:gd name="connsiteY9" fmla="*/ 739367 h 1056238"/>
              <a:gd name="connsiteX10" fmla="*/ 196158 w 615635"/>
              <a:gd name="connsiteY10" fmla="*/ 727295 h 1056238"/>
              <a:gd name="connsiteX11" fmla="*/ 223319 w 615635"/>
              <a:gd name="connsiteY11" fmla="*/ 760491 h 1056238"/>
              <a:gd name="connsiteX12" fmla="*/ 205212 w 615635"/>
              <a:gd name="connsiteY12" fmla="*/ 793687 h 1056238"/>
              <a:gd name="connsiteX13" fmla="*/ 208229 w 615635"/>
              <a:gd name="connsiteY13" fmla="*/ 811794 h 1056238"/>
              <a:gd name="connsiteX14" fmla="*/ 247461 w 615635"/>
              <a:gd name="connsiteY14" fmla="*/ 902329 h 1056238"/>
              <a:gd name="connsiteX15" fmla="*/ 337996 w 615635"/>
              <a:gd name="connsiteY15" fmla="*/ 944578 h 1056238"/>
              <a:gd name="connsiteX16" fmla="*/ 371192 w 615635"/>
              <a:gd name="connsiteY16" fmla="*/ 1029077 h 1056238"/>
              <a:gd name="connsiteX17" fmla="*/ 431548 w 615635"/>
              <a:gd name="connsiteY17" fmla="*/ 1056238 h 1056238"/>
              <a:gd name="connsiteX18" fmla="*/ 437584 w 615635"/>
              <a:gd name="connsiteY18" fmla="*/ 1020024 h 1056238"/>
              <a:gd name="connsiteX19" fmla="*/ 473798 w 615635"/>
              <a:gd name="connsiteY19" fmla="*/ 1017006 h 1056238"/>
              <a:gd name="connsiteX20" fmla="*/ 525101 w 615635"/>
              <a:gd name="connsiteY20" fmla="*/ 1032095 h 1056238"/>
              <a:gd name="connsiteX21" fmla="*/ 534154 w 615635"/>
              <a:gd name="connsiteY21" fmla="*/ 1017006 h 1056238"/>
              <a:gd name="connsiteX22" fmla="*/ 525101 w 615635"/>
              <a:gd name="connsiteY22" fmla="*/ 983810 h 1056238"/>
              <a:gd name="connsiteX23" fmla="*/ 573386 w 615635"/>
              <a:gd name="connsiteY23" fmla="*/ 950614 h 1056238"/>
              <a:gd name="connsiteX24" fmla="*/ 579422 w 615635"/>
              <a:gd name="connsiteY24" fmla="*/ 920436 h 1056238"/>
              <a:gd name="connsiteX25" fmla="*/ 579422 w 615635"/>
              <a:gd name="connsiteY25" fmla="*/ 893275 h 1056238"/>
              <a:gd name="connsiteX26" fmla="*/ 573386 w 615635"/>
              <a:gd name="connsiteY26" fmla="*/ 866115 h 1056238"/>
              <a:gd name="connsiteX27" fmla="*/ 576404 w 615635"/>
              <a:gd name="connsiteY27" fmla="*/ 826883 h 1056238"/>
              <a:gd name="connsiteX28" fmla="*/ 579422 w 615635"/>
              <a:gd name="connsiteY28" fmla="*/ 802741 h 1056238"/>
              <a:gd name="connsiteX29" fmla="*/ 567350 w 615635"/>
              <a:gd name="connsiteY29" fmla="*/ 784634 h 1056238"/>
              <a:gd name="connsiteX30" fmla="*/ 603564 w 615635"/>
              <a:gd name="connsiteY30" fmla="*/ 748420 h 1056238"/>
              <a:gd name="connsiteX31" fmla="*/ 606582 w 615635"/>
              <a:gd name="connsiteY31" fmla="*/ 715224 h 1056238"/>
              <a:gd name="connsiteX32" fmla="*/ 615635 w 615635"/>
              <a:gd name="connsiteY32" fmla="*/ 703153 h 1056238"/>
              <a:gd name="connsiteX33" fmla="*/ 609600 w 615635"/>
              <a:gd name="connsiteY33" fmla="*/ 672974 h 1056238"/>
              <a:gd name="connsiteX34" fmla="*/ 597528 w 615635"/>
              <a:gd name="connsiteY34" fmla="*/ 624689 h 1056238"/>
              <a:gd name="connsiteX35" fmla="*/ 597528 w 615635"/>
              <a:gd name="connsiteY35" fmla="*/ 582440 h 1056238"/>
              <a:gd name="connsiteX36" fmla="*/ 615635 w 615635"/>
              <a:gd name="connsiteY36" fmla="*/ 519066 h 1056238"/>
              <a:gd name="connsiteX37" fmla="*/ 579422 w 615635"/>
              <a:gd name="connsiteY37" fmla="*/ 334978 h 1056238"/>
              <a:gd name="connsiteX38" fmla="*/ 570368 w 615635"/>
              <a:gd name="connsiteY38" fmla="*/ 307818 h 1056238"/>
              <a:gd name="connsiteX39" fmla="*/ 561315 w 615635"/>
              <a:gd name="connsiteY39" fmla="*/ 250479 h 1056238"/>
              <a:gd name="connsiteX40" fmla="*/ 552261 w 615635"/>
              <a:gd name="connsiteY40" fmla="*/ 202194 h 1056238"/>
              <a:gd name="connsiteX41" fmla="*/ 540190 w 615635"/>
              <a:gd name="connsiteY41" fmla="*/ 141838 h 1056238"/>
              <a:gd name="connsiteX42" fmla="*/ 531136 w 615635"/>
              <a:gd name="connsiteY42" fmla="*/ 126749 h 1056238"/>
              <a:gd name="connsiteX43" fmla="*/ 488887 w 615635"/>
              <a:gd name="connsiteY43" fmla="*/ 63374 h 1056238"/>
              <a:gd name="connsiteX44" fmla="*/ 479833 w 615635"/>
              <a:gd name="connsiteY44" fmla="*/ 21125 h 1056238"/>
              <a:gd name="connsiteX45" fmla="*/ 473798 w 615635"/>
              <a:gd name="connsiteY45" fmla="*/ 0 h 1056238"/>
              <a:gd name="connsiteX46" fmla="*/ 78463 w 615635"/>
              <a:gd name="connsiteY46" fmla="*/ 78464 h 1056238"/>
              <a:gd name="connsiteX0" fmla="*/ 78463 w 615635"/>
              <a:gd name="connsiteY0" fmla="*/ 78464 h 1056238"/>
              <a:gd name="connsiteX1" fmla="*/ 147873 w 615635"/>
              <a:gd name="connsiteY1" fmla="*/ 159945 h 1056238"/>
              <a:gd name="connsiteX2" fmla="*/ 150891 w 615635"/>
              <a:gd name="connsiteY2" fmla="*/ 202194 h 1056238"/>
              <a:gd name="connsiteX3" fmla="*/ 93552 w 615635"/>
              <a:gd name="connsiteY3" fmla="*/ 280658 h 1056238"/>
              <a:gd name="connsiteX4" fmla="*/ 27160 w 615635"/>
              <a:gd name="connsiteY4" fmla="*/ 277816 h 1056238"/>
              <a:gd name="connsiteX5" fmla="*/ 54321 w 615635"/>
              <a:gd name="connsiteY5" fmla="*/ 356103 h 1056238"/>
              <a:gd name="connsiteX6" fmla="*/ 0 w 615635"/>
              <a:gd name="connsiteY6" fmla="*/ 431549 h 1056238"/>
              <a:gd name="connsiteX7" fmla="*/ 30178 w 615635"/>
              <a:gd name="connsiteY7" fmla="*/ 606582 h 1056238"/>
              <a:gd name="connsiteX8" fmla="*/ 114677 w 615635"/>
              <a:gd name="connsiteY8" fmla="*/ 636761 h 1056238"/>
              <a:gd name="connsiteX9" fmla="*/ 156926 w 615635"/>
              <a:gd name="connsiteY9" fmla="*/ 739367 h 1056238"/>
              <a:gd name="connsiteX10" fmla="*/ 196158 w 615635"/>
              <a:gd name="connsiteY10" fmla="*/ 727295 h 1056238"/>
              <a:gd name="connsiteX11" fmla="*/ 223319 w 615635"/>
              <a:gd name="connsiteY11" fmla="*/ 760491 h 1056238"/>
              <a:gd name="connsiteX12" fmla="*/ 205212 w 615635"/>
              <a:gd name="connsiteY12" fmla="*/ 793687 h 1056238"/>
              <a:gd name="connsiteX13" fmla="*/ 208229 w 615635"/>
              <a:gd name="connsiteY13" fmla="*/ 811794 h 1056238"/>
              <a:gd name="connsiteX14" fmla="*/ 247461 w 615635"/>
              <a:gd name="connsiteY14" fmla="*/ 902329 h 1056238"/>
              <a:gd name="connsiteX15" fmla="*/ 337996 w 615635"/>
              <a:gd name="connsiteY15" fmla="*/ 944578 h 1056238"/>
              <a:gd name="connsiteX16" fmla="*/ 371192 w 615635"/>
              <a:gd name="connsiteY16" fmla="*/ 1029077 h 1056238"/>
              <a:gd name="connsiteX17" fmla="*/ 431548 w 615635"/>
              <a:gd name="connsiteY17" fmla="*/ 1056238 h 1056238"/>
              <a:gd name="connsiteX18" fmla="*/ 437584 w 615635"/>
              <a:gd name="connsiteY18" fmla="*/ 1020024 h 1056238"/>
              <a:gd name="connsiteX19" fmla="*/ 473798 w 615635"/>
              <a:gd name="connsiteY19" fmla="*/ 1017006 h 1056238"/>
              <a:gd name="connsiteX20" fmla="*/ 525101 w 615635"/>
              <a:gd name="connsiteY20" fmla="*/ 1032095 h 1056238"/>
              <a:gd name="connsiteX21" fmla="*/ 534154 w 615635"/>
              <a:gd name="connsiteY21" fmla="*/ 1017006 h 1056238"/>
              <a:gd name="connsiteX22" fmla="*/ 525101 w 615635"/>
              <a:gd name="connsiteY22" fmla="*/ 983810 h 1056238"/>
              <a:gd name="connsiteX23" fmla="*/ 573386 w 615635"/>
              <a:gd name="connsiteY23" fmla="*/ 950614 h 1056238"/>
              <a:gd name="connsiteX24" fmla="*/ 579422 w 615635"/>
              <a:gd name="connsiteY24" fmla="*/ 920436 h 1056238"/>
              <a:gd name="connsiteX25" fmla="*/ 579422 w 615635"/>
              <a:gd name="connsiteY25" fmla="*/ 893275 h 1056238"/>
              <a:gd name="connsiteX26" fmla="*/ 573386 w 615635"/>
              <a:gd name="connsiteY26" fmla="*/ 866115 h 1056238"/>
              <a:gd name="connsiteX27" fmla="*/ 576404 w 615635"/>
              <a:gd name="connsiteY27" fmla="*/ 826883 h 1056238"/>
              <a:gd name="connsiteX28" fmla="*/ 579422 w 615635"/>
              <a:gd name="connsiteY28" fmla="*/ 802741 h 1056238"/>
              <a:gd name="connsiteX29" fmla="*/ 586390 w 615635"/>
              <a:gd name="connsiteY29" fmla="*/ 787012 h 1056238"/>
              <a:gd name="connsiteX30" fmla="*/ 603564 w 615635"/>
              <a:gd name="connsiteY30" fmla="*/ 748420 h 1056238"/>
              <a:gd name="connsiteX31" fmla="*/ 606582 w 615635"/>
              <a:gd name="connsiteY31" fmla="*/ 715224 h 1056238"/>
              <a:gd name="connsiteX32" fmla="*/ 615635 w 615635"/>
              <a:gd name="connsiteY32" fmla="*/ 703153 h 1056238"/>
              <a:gd name="connsiteX33" fmla="*/ 609600 w 615635"/>
              <a:gd name="connsiteY33" fmla="*/ 672974 h 1056238"/>
              <a:gd name="connsiteX34" fmla="*/ 597528 w 615635"/>
              <a:gd name="connsiteY34" fmla="*/ 624689 h 1056238"/>
              <a:gd name="connsiteX35" fmla="*/ 597528 w 615635"/>
              <a:gd name="connsiteY35" fmla="*/ 582440 h 1056238"/>
              <a:gd name="connsiteX36" fmla="*/ 615635 w 615635"/>
              <a:gd name="connsiteY36" fmla="*/ 519066 h 1056238"/>
              <a:gd name="connsiteX37" fmla="*/ 579422 w 615635"/>
              <a:gd name="connsiteY37" fmla="*/ 334978 h 1056238"/>
              <a:gd name="connsiteX38" fmla="*/ 570368 w 615635"/>
              <a:gd name="connsiteY38" fmla="*/ 307818 h 1056238"/>
              <a:gd name="connsiteX39" fmla="*/ 561315 w 615635"/>
              <a:gd name="connsiteY39" fmla="*/ 250479 h 1056238"/>
              <a:gd name="connsiteX40" fmla="*/ 552261 w 615635"/>
              <a:gd name="connsiteY40" fmla="*/ 202194 h 1056238"/>
              <a:gd name="connsiteX41" fmla="*/ 540190 w 615635"/>
              <a:gd name="connsiteY41" fmla="*/ 141838 h 1056238"/>
              <a:gd name="connsiteX42" fmla="*/ 531136 w 615635"/>
              <a:gd name="connsiteY42" fmla="*/ 126749 h 1056238"/>
              <a:gd name="connsiteX43" fmla="*/ 488887 w 615635"/>
              <a:gd name="connsiteY43" fmla="*/ 63374 h 1056238"/>
              <a:gd name="connsiteX44" fmla="*/ 479833 w 615635"/>
              <a:gd name="connsiteY44" fmla="*/ 21125 h 1056238"/>
              <a:gd name="connsiteX45" fmla="*/ 473798 w 615635"/>
              <a:gd name="connsiteY45" fmla="*/ 0 h 1056238"/>
              <a:gd name="connsiteX46" fmla="*/ 78463 w 615635"/>
              <a:gd name="connsiteY46" fmla="*/ 78464 h 1056238"/>
              <a:gd name="connsiteX0" fmla="*/ 78463 w 615635"/>
              <a:gd name="connsiteY0" fmla="*/ 78464 h 1056238"/>
              <a:gd name="connsiteX1" fmla="*/ 147873 w 615635"/>
              <a:gd name="connsiteY1" fmla="*/ 159945 h 1056238"/>
              <a:gd name="connsiteX2" fmla="*/ 150891 w 615635"/>
              <a:gd name="connsiteY2" fmla="*/ 202194 h 1056238"/>
              <a:gd name="connsiteX3" fmla="*/ 93552 w 615635"/>
              <a:gd name="connsiteY3" fmla="*/ 280658 h 1056238"/>
              <a:gd name="connsiteX4" fmla="*/ 27160 w 615635"/>
              <a:gd name="connsiteY4" fmla="*/ 277816 h 1056238"/>
              <a:gd name="connsiteX5" fmla="*/ 54321 w 615635"/>
              <a:gd name="connsiteY5" fmla="*/ 356103 h 1056238"/>
              <a:gd name="connsiteX6" fmla="*/ 0 w 615635"/>
              <a:gd name="connsiteY6" fmla="*/ 431549 h 1056238"/>
              <a:gd name="connsiteX7" fmla="*/ 30178 w 615635"/>
              <a:gd name="connsiteY7" fmla="*/ 606582 h 1056238"/>
              <a:gd name="connsiteX8" fmla="*/ 114677 w 615635"/>
              <a:gd name="connsiteY8" fmla="*/ 636761 h 1056238"/>
              <a:gd name="connsiteX9" fmla="*/ 156926 w 615635"/>
              <a:gd name="connsiteY9" fmla="*/ 739367 h 1056238"/>
              <a:gd name="connsiteX10" fmla="*/ 196158 w 615635"/>
              <a:gd name="connsiteY10" fmla="*/ 727295 h 1056238"/>
              <a:gd name="connsiteX11" fmla="*/ 223319 w 615635"/>
              <a:gd name="connsiteY11" fmla="*/ 760491 h 1056238"/>
              <a:gd name="connsiteX12" fmla="*/ 205212 w 615635"/>
              <a:gd name="connsiteY12" fmla="*/ 793687 h 1056238"/>
              <a:gd name="connsiteX13" fmla="*/ 208229 w 615635"/>
              <a:gd name="connsiteY13" fmla="*/ 811794 h 1056238"/>
              <a:gd name="connsiteX14" fmla="*/ 247461 w 615635"/>
              <a:gd name="connsiteY14" fmla="*/ 902329 h 1056238"/>
              <a:gd name="connsiteX15" fmla="*/ 337996 w 615635"/>
              <a:gd name="connsiteY15" fmla="*/ 944578 h 1056238"/>
              <a:gd name="connsiteX16" fmla="*/ 371192 w 615635"/>
              <a:gd name="connsiteY16" fmla="*/ 1029077 h 1056238"/>
              <a:gd name="connsiteX17" fmla="*/ 431548 w 615635"/>
              <a:gd name="connsiteY17" fmla="*/ 1056238 h 1056238"/>
              <a:gd name="connsiteX18" fmla="*/ 437584 w 615635"/>
              <a:gd name="connsiteY18" fmla="*/ 1020024 h 1056238"/>
              <a:gd name="connsiteX19" fmla="*/ 473798 w 615635"/>
              <a:gd name="connsiteY19" fmla="*/ 1017006 h 1056238"/>
              <a:gd name="connsiteX20" fmla="*/ 525101 w 615635"/>
              <a:gd name="connsiteY20" fmla="*/ 1032095 h 1056238"/>
              <a:gd name="connsiteX21" fmla="*/ 534154 w 615635"/>
              <a:gd name="connsiteY21" fmla="*/ 1017006 h 1056238"/>
              <a:gd name="connsiteX22" fmla="*/ 525101 w 615635"/>
              <a:gd name="connsiteY22" fmla="*/ 983810 h 1056238"/>
              <a:gd name="connsiteX23" fmla="*/ 587665 w 615635"/>
              <a:gd name="connsiteY23" fmla="*/ 967266 h 1056238"/>
              <a:gd name="connsiteX24" fmla="*/ 579422 w 615635"/>
              <a:gd name="connsiteY24" fmla="*/ 920436 h 1056238"/>
              <a:gd name="connsiteX25" fmla="*/ 579422 w 615635"/>
              <a:gd name="connsiteY25" fmla="*/ 893275 h 1056238"/>
              <a:gd name="connsiteX26" fmla="*/ 573386 w 615635"/>
              <a:gd name="connsiteY26" fmla="*/ 866115 h 1056238"/>
              <a:gd name="connsiteX27" fmla="*/ 576404 w 615635"/>
              <a:gd name="connsiteY27" fmla="*/ 826883 h 1056238"/>
              <a:gd name="connsiteX28" fmla="*/ 579422 w 615635"/>
              <a:gd name="connsiteY28" fmla="*/ 802741 h 1056238"/>
              <a:gd name="connsiteX29" fmla="*/ 586390 w 615635"/>
              <a:gd name="connsiteY29" fmla="*/ 787012 h 1056238"/>
              <a:gd name="connsiteX30" fmla="*/ 603564 w 615635"/>
              <a:gd name="connsiteY30" fmla="*/ 748420 h 1056238"/>
              <a:gd name="connsiteX31" fmla="*/ 606582 w 615635"/>
              <a:gd name="connsiteY31" fmla="*/ 715224 h 1056238"/>
              <a:gd name="connsiteX32" fmla="*/ 615635 w 615635"/>
              <a:gd name="connsiteY32" fmla="*/ 703153 h 1056238"/>
              <a:gd name="connsiteX33" fmla="*/ 609600 w 615635"/>
              <a:gd name="connsiteY33" fmla="*/ 672974 h 1056238"/>
              <a:gd name="connsiteX34" fmla="*/ 597528 w 615635"/>
              <a:gd name="connsiteY34" fmla="*/ 624689 h 1056238"/>
              <a:gd name="connsiteX35" fmla="*/ 597528 w 615635"/>
              <a:gd name="connsiteY35" fmla="*/ 582440 h 1056238"/>
              <a:gd name="connsiteX36" fmla="*/ 615635 w 615635"/>
              <a:gd name="connsiteY36" fmla="*/ 519066 h 1056238"/>
              <a:gd name="connsiteX37" fmla="*/ 579422 w 615635"/>
              <a:gd name="connsiteY37" fmla="*/ 334978 h 1056238"/>
              <a:gd name="connsiteX38" fmla="*/ 570368 w 615635"/>
              <a:gd name="connsiteY38" fmla="*/ 307818 h 1056238"/>
              <a:gd name="connsiteX39" fmla="*/ 561315 w 615635"/>
              <a:gd name="connsiteY39" fmla="*/ 250479 h 1056238"/>
              <a:gd name="connsiteX40" fmla="*/ 552261 w 615635"/>
              <a:gd name="connsiteY40" fmla="*/ 202194 h 1056238"/>
              <a:gd name="connsiteX41" fmla="*/ 540190 w 615635"/>
              <a:gd name="connsiteY41" fmla="*/ 141838 h 1056238"/>
              <a:gd name="connsiteX42" fmla="*/ 531136 w 615635"/>
              <a:gd name="connsiteY42" fmla="*/ 126749 h 1056238"/>
              <a:gd name="connsiteX43" fmla="*/ 488887 w 615635"/>
              <a:gd name="connsiteY43" fmla="*/ 63374 h 1056238"/>
              <a:gd name="connsiteX44" fmla="*/ 479833 w 615635"/>
              <a:gd name="connsiteY44" fmla="*/ 21125 h 1056238"/>
              <a:gd name="connsiteX45" fmla="*/ 473798 w 615635"/>
              <a:gd name="connsiteY45" fmla="*/ 0 h 1056238"/>
              <a:gd name="connsiteX46" fmla="*/ 78463 w 615635"/>
              <a:gd name="connsiteY46" fmla="*/ 78464 h 1056238"/>
              <a:gd name="connsiteX0" fmla="*/ 78463 w 615635"/>
              <a:gd name="connsiteY0" fmla="*/ 78464 h 1056238"/>
              <a:gd name="connsiteX1" fmla="*/ 147873 w 615635"/>
              <a:gd name="connsiteY1" fmla="*/ 159945 h 1056238"/>
              <a:gd name="connsiteX2" fmla="*/ 150891 w 615635"/>
              <a:gd name="connsiteY2" fmla="*/ 202194 h 1056238"/>
              <a:gd name="connsiteX3" fmla="*/ 93552 w 615635"/>
              <a:gd name="connsiteY3" fmla="*/ 280658 h 1056238"/>
              <a:gd name="connsiteX4" fmla="*/ 27160 w 615635"/>
              <a:gd name="connsiteY4" fmla="*/ 277816 h 1056238"/>
              <a:gd name="connsiteX5" fmla="*/ 54321 w 615635"/>
              <a:gd name="connsiteY5" fmla="*/ 356103 h 1056238"/>
              <a:gd name="connsiteX6" fmla="*/ 0 w 615635"/>
              <a:gd name="connsiteY6" fmla="*/ 431549 h 1056238"/>
              <a:gd name="connsiteX7" fmla="*/ 30178 w 615635"/>
              <a:gd name="connsiteY7" fmla="*/ 606582 h 1056238"/>
              <a:gd name="connsiteX8" fmla="*/ 114677 w 615635"/>
              <a:gd name="connsiteY8" fmla="*/ 636761 h 1056238"/>
              <a:gd name="connsiteX9" fmla="*/ 156926 w 615635"/>
              <a:gd name="connsiteY9" fmla="*/ 739367 h 1056238"/>
              <a:gd name="connsiteX10" fmla="*/ 196158 w 615635"/>
              <a:gd name="connsiteY10" fmla="*/ 727295 h 1056238"/>
              <a:gd name="connsiteX11" fmla="*/ 223319 w 615635"/>
              <a:gd name="connsiteY11" fmla="*/ 760491 h 1056238"/>
              <a:gd name="connsiteX12" fmla="*/ 205212 w 615635"/>
              <a:gd name="connsiteY12" fmla="*/ 793687 h 1056238"/>
              <a:gd name="connsiteX13" fmla="*/ 208229 w 615635"/>
              <a:gd name="connsiteY13" fmla="*/ 811794 h 1056238"/>
              <a:gd name="connsiteX14" fmla="*/ 247461 w 615635"/>
              <a:gd name="connsiteY14" fmla="*/ 902329 h 1056238"/>
              <a:gd name="connsiteX15" fmla="*/ 337996 w 615635"/>
              <a:gd name="connsiteY15" fmla="*/ 944578 h 1056238"/>
              <a:gd name="connsiteX16" fmla="*/ 371192 w 615635"/>
              <a:gd name="connsiteY16" fmla="*/ 1029077 h 1056238"/>
              <a:gd name="connsiteX17" fmla="*/ 431548 w 615635"/>
              <a:gd name="connsiteY17" fmla="*/ 1056238 h 1056238"/>
              <a:gd name="connsiteX18" fmla="*/ 437584 w 615635"/>
              <a:gd name="connsiteY18" fmla="*/ 1020024 h 1056238"/>
              <a:gd name="connsiteX19" fmla="*/ 478558 w 615635"/>
              <a:gd name="connsiteY19" fmla="*/ 1036038 h 1056238"/>
              <a:gd name="connsiteX20" fmla="*/ 525101 w 615635"/>
              <a:gd name="connsiteY20" fmla="*/ 1032095 h 1056238"/>
              <a:gd name="connsiteX21" fmla="*/ 534154 w 615635"/>
              <a:gd name="connsiteY21" fmla="*/ 1017006 h 1056238"/>
              <a:gd name="connsiteX22" fmla="*/ 525101 w 615635"/>
              <a:gd name="connsiteY22" fmla="*/ 983810 h 1056238"/>
              <a:gd name="connsiteX23" fmla="*/ 587665 w 615635"/>
              <a:gd name="connsiteY23" fmla="*/ 967266 h 1056238"/>
              <a:gd name="connsiteX24" fmla="*/ 579422 w 615635"/>
              <a:gd name="connsiteY24" fmla="*/ 920436 h 1056238"/>
              <a:gd name="connsiteX25" fmla="*/ 579422 w 615635"/>
              <a:gd name="connsiteY25" fmla="*/ 893275 h 1056238"/>
              <a:gd name="connsiteX26" fmla="*/ 573386 w 615635"/>
              <a:gd name="connsiteY26" fmla="*/ 866115 h 1056238"/>
              <a:gd name="connsiteX27" fmla="*/ 576404 w 615635"/>
              <a:gd name="connsiteY27" fmla="*/ 826883 h 1056238"/>
              <a:gd name="connsiteX28" fmla="*/ 579422 w 615635"/>
              <a:gd name="connsiteY28" fmla="*/ 802741 h 1056238"/>
              <a:gd name="connsiteX29" fmla="*/ 586390 w 615635"/>
              <a:gd name="connsiteY29" fmla="*/ 787012 h 1056238"/>
              <a:gd name="connsiteX30" fmla="*/ 603564 w 615635"/>
              <a:gd name="connsiteY30" fmla="*/ 748420 h 1056238"/>
              <a:gd name="connsiteX31" fmla="*/ 606582 w 615635"/>
              <a:gd name="connsiteY31" fmla="*/ 715224 h 1056238"/>
              <a:gd name="connsiteX32" fmla="*/ 615635 w 615635"/>
              <a:gd name="connsiteY32" fmla="*/ 703153 h 1056238"/>
              <a:gd name="connsiteX33" fmla="*/ 609600 w 615635"/>
              <a:gd name="connsiteY33" fmla="*/ 672974 h 1056238"/>
              <a:gd name="connsiteX34" fmla="*/ 597528 w 615635"/>
              <a:gd name="connsiteY34" fmla="*/ 624689 h 1056238"/>
              <a:gd name="connsiteX35" fmla="*/ 597528 w 615635"/>
              <a:gd name="connsiteY35" fmla="*/ 582440 h 1056238"/>
              <a:gd name="connsiteX36" fmla="*/ 615635 w 615635"/>
              <a:gd name="connsiteY36" fmla="*/ 519066 h 1056238"/>
              <a:gd name="connsiteX37" fmla="*/ 579422 w 615635"/>
              <a:gd name="connsiteY37" fmla="*/ 334978 h 1056238"/>
              <a:gd name="connsiteX38" fmla="*/ 570368 w 615635"/>
              <a:gd name="connsiteY38" fmla="*/ 307818 h 1056238"/>
              <a:gd name="connsiteX39" fmla="*/ 561315 w 615635"/>
              <a:gd name="connsiteY39" fmla="*/ 250479 h 1056238"/>
              <a:gd name="connsiteX40" fmla="*/ 552261 w 615635"/>
              <a:gd name="connsiteY40" fmla="*/ 202194 h 1056238"/>
              <a:gd name="connsiteX41" fmla="*/ 540190 w 615635"/>
              <a:gd name="connsiteY41" fmla="*/ 141838 h 1056238"/>
              <a:gd name="connsiteX42" fmla="*/ 531136 w 615635"/>
              <a:gd name="connsiteY42" fmla="*/ 126749 h 1056238"/>
              <a:gd name="connsiteX43" fmla="*/ 488887 w 615635"/>
              <a:gd name="connsiteY43" fmla="*/ 63374 h 1056238"/>
              <a:gd name="connsiteX44" fmla="*/ 479833 w 615635"/>
              <a:gd name="connsiteY44" fmla="*/ 21125 h 1056238"/>
              <a:gd name="connsiteX45" fmla="*/ 473798 w 615635"/>
              <a:gd name="connsiteY45" fmla="*/ 0 h 1056238"/>
              <a:gd name="connsiteX46" fmla="*/ 78463 w 615635"/>
              <a:gd name="connsiteY46" fmla="*/ 78464 h 1056238"/>
              <a:gd name="connsiteX0" fmla="*/ 78463 w 615635"/>
              <a:gd name="connsiteY0" fmla="*/ 78464 h 1056238"/>
              <a:gd name="connsiteX1" fmla="*/ 147873 w 615635"/>
              <a:gd name="connsiteY1" fmla="*/ 159945 h 1056238"/>
              <a:gd name="connsiteX2" fmla="*/ 150891 w 615635"/>
              <a:gd name="connsiteY2" fmla="*/ 202194 h 1056238"/>
              <a:gd name="connsiteX3" fmla="*/ 93552 w 615635"/>
              <a:gd name="connsiteY3" fmla="*/ 280658 h 1056238"/>
              <a:gd name="connsiteX4" fmla="*/ 27160 w 615635"/>
              <a:gd name="connsiteY4" fmla="*/ 277816 h 1056238"/>
              <a:gd name="connsiteX5" fmla="*/ 54321 w 615635"/>
              <a:gd name="connsiteY5" fmla="*/ 356103 h 1056238"/>
              <a:gd name="connsiteX6" fmla="*/ 0 w 615635"/>
              <a:gd name="connsiteY6" fmla="*/ 431549 h 1056238"/>
              <a:gd name="connsiteX7" fmla="*/ 30178 w 615635"/>
              <a:gd name="connsiteY7" fmla="*/ 606582 h 1056238"/>
              <a:gd name="connsiteX8" fmla="*/ 114677 w 615635"/>
              <a:gd name="connsiteY8" fmla="*/ 636761 h 1056238"/>
              <a:gd name="connsiteX9" fmla="*/ 156926 w 615635"/>
              <a:gd name="connsiteY9" fmla="*/ 739367 h 1056238"/>
              <a:gd name="connsiteX10" fmla="*/ 196158 w 615635"/>
              <a:gd name="connsiteY10" fmla="*/ 727295 h 1056238"/>
              <a:gd name="connsiteX11" fmla="*/ 223319 w 615635"/>
              <a:gd name="connsiteY11" fmla="*/ 760491 h 1056238"/>
              <a:gd name="connsiteX12" fmla="*/ 205212 w 615635"/>
              <a:gd name="connsiteY12" fmla="*/ 793687 h 1056238"/>
              <a:gd name="connsiteX13" fmla="*/ 208229 w 615635"/>
              <a:gd name="connsiteY13" fmla="*/ 811794 h 1056238"/>
              <a:gd name="connsiteX14" fmla="*/ 247461 w 615635"/>
              <a:gd name="connsiteY14" fmla="*/ 902329 h 1056238"/>
              <a:gd name="connsiteX15" fmla="*/ 337996 w 615635"/>
              <a:gd name="connsiteY15" fmla="*/ 944578 h 1056238"/>
              <a:gd name="connsiteX16" fmla="*/ 359292 w 615635"/>
              <a:gd name="connsiteY16" fmla="*/ 1043351 h 1056238"/>
              <a:gd name="connsiteX17" fmla="*/ 431548 w 615635"/>
              <a:gd name="connsiteY17" fmla="*/ 1056238 h 1056238"/>
              <a:gd name="connsiteX18" fmla="*/ 437584 w 615635"/>
              <a:gd name="connsiteY18" fmla="*/ 1020024 h 1056238"/>
              <a:gd name="connsiteX19" fmla="*/ 478558 w 615635"/>
              <a:gd name="connsiteY19" fmla="*/ 1036038 h 1056238"/>
              <a:gd name="connsiteX20" fmla="*/ 525101 w 615635"/>
              <a:gd name="connsiteY20" fmla="*/ 1032095 h 1056238"/>
              <a:gd name="connsiteX21" fmla="*/ 534154 w 615635"/>
              <a:gd name="connsiteY21" fmla="*/ 1017006 h 1056238"/>
              <a:gd name="connsiteX22" fmla="*/ 525101 w 615635"/>
              <a:gd name="connsiteY22" fmla="*/ 983810 h 1056238"/>
              <a:gd name="connsiteX23" fmla="*/ 587665 w 615635"/>
              <a:gd name="connsiteY23" fmla="*/ 967266 h 1056238"/>
              <a:gd name="connsiteX24" fmla="*/ 579422 w 615635"/>
              <a:gd name="connsiteY24" fmla="*/ 920436 h 1056238"/>
              <a:gd name="connsiteX25" fmla="*/ 579422 w 615635"/>
              <a:gd name="connsiteY25" fmla="*/ 893275 h 1056238"/>
              <a:gd name="connsiteX26" fmla="*/ 573386 w 615635"/>
              <a:gd name="connsiteY26" fmla="*/ 866115 h 1056238"/>
              <a:gd name="connsiteX27" fmla="*/ 576404 w 615635"/>
              <a:gd name="connsiteY27" fmla="*/ 826883 h 1056238"/>
              <a:gd name="connsiteX28" fmla="*/ 579422 w 615635"/>
              <a:gd name="connsiteY28" fmla="*/ 802741 h 1056238"/>
              <a:gd name="connsiteX29" fmla="*/ 586390 w 615635"/>
              <a:gd name="connsiteY29" fmla="*/ 787012 h 1056238"/>
              <a:gd name="connsiteX30" fmla="*/ 603564 w 615635"/>
              <a:gd name="connsiteY30" fmla="*/ 748420 h 1056238"/>
              <a:gd name="connsiteX31" fmla="*/ 606582 w 615635"/>
              <a:gd name="connsiteY31" fmla="*/ 715224 h 1056238"/>
              <a:gd name="connsiteX32" fmla="*/ 615635 w 615635"/>
              <a:gd name="connsiteY32" fmla="*/ 703153 h 1056238"/>
              <a:gd name="connsiteX33" fmla="*/ 609600 w 615635"/>
              <a:gd name="connsiteY33" fmla="*/ 672974 h 1056238"/>
              <a:gd name="connsiteX34" fmla="*/ 597528 w 615635"/>
              <a:gd name="connsiteY34" fmla="*/ 624689 h 1056238"/>
              <a:gd name="connsiteX35" fmla="*/ 597528 w 615635"/>
              <a:gd name="connsiteY35" fmla="*/ 582440 h 1056238"/>
              <a:gd name="connsiteX36" fmla="*/ 615635 w 615635"/>
              <a:gd name="connsiteY36" fmla="*/ 519066 h 1056238"/>
              <a:gd name="connsiteX37" fmla="*/ 579422 w 615635"/>
              <a:gd name="connsiteY37" fmla="*/ 334978 h 1056238"/>
              <a:gd name="connsiteX38" fmla="*/ 570368 w 615635"/>
              <a:gd name="connsiteY38" fmla="*/ 307818 h 1056238"/>
              <a:gd name="connsiteX39" fmla="*/ 561315 w 615635"/>
              <a:gd name="connsiteY39" fmla="*/ 250479 h 1056238"/>
              <a:gd name="connsiteX40" fmla="*/ 552261 w 615635"/>
              <a:gd name="connsiteY40" fmla="*/ 202194 h 1056238"/>
              <a:gd name="connsiteX41" fmla="*/ 540190 w 615635"/>
              <a:gd name="connsiteY41" fmla="*/ 141838 h 1056238"/>
              <a:gd name="connsiteX42" fmla="*/ 531136 w 615635"/>
              <a:gd name="connsiteY42" fmla="*/ 126749 h 1056238"/>
              <a:gd name="connsiteX43" fmla="*/ 488887 w 615635"/>
              <a:gd name="connsiteY43" fmla="*/ 63374 h 1056238"/>
              <a:gd name="connsiteX44" fmla="*/ 479833 w 615635"/>
              <a:gd name="connsiteY44" fmla="*/ 21125 h 1056238"/>
              <a:gd name="connsiteX45" fmla="*/ 473798 w 615635"/>
              <a:gd name="connsiteY45" fmla="*/ 0 h 1056238"/>
              <a:gd name="connsiteX46" fmla="*/ 78463 w 615635"/>
              <a:gd name="connsiteY46" fmla="*/ 78464 h 1056238"/>
              <a:gd name="connsiteX0" fmla="*/ 78463 w 615635"/>
              <a:gd name="connsiteY0" fmla="*/ 78464 h 1056238"/>
              <a:gd name="connsiteX1" fmla="*/ 147873 w 615635"/>
              <a:gd name="connsiteY1" fmla="*/ 159945 h 1056238"/>
              <a:gd name="connsiteX2" fmla="*/ 150891 w 615635"/>
              <a:gd name="connsiteY2" fmla="*/ 202194 h 1056238"/>
              <a:gd name="connsiteX3" fmla="*/ 93552 w 615635"/>
              <a:gd name="connsiteY3" fmla="*/ 280658 h 1056238"/>
              <a:gd name="connsiteX4" fmla="*/ 27160 w 615635"/>
              <a:gd name="connsiteY4" fmla="*/ 277816 h 1056238"/>
              <a:gd name="connsiteX5" fmla="*/ 54321 w 615635"/>
              <a:gd name="connsiteY5" fmla="*/ 356103 h 1056238"/>
              <a:gd name="connsiteX6" fmla="*/ 0 w 615635"/>
              <a:gd name="connsiteY6" fmla="*/ 431549 h 1056238"/>
              <a:gd name="connsiteX7" fmla="*/ 30178 w 615635"/>
              <a:gd name="connsiteY7" fmla="*/ 606582 h 1056238"/>
              <a:gd name="connsiteX8" fmla="*/ 114677 w 615635"/>
              <a:gd name="connsiteY8" fmla="*/ 636761 h 1056238"/>
              <a:gd name="connsiteX9" fmla="*/ 156926 w 615635"/>
              <a:gd name="connsiteY9" fmla="*/ 739367 h 1056238"/>
              <a:gd name="connsiteX10" fmla="*/ 196158 w 615635"/>
              <a:gd name="connsiteY10" fmla="*/ 727295 h 1056238"/>
              <a:gd name="connsiteX11" fmla="*/ 223319 w 615635"/>
              <a:gd name="connsiteY11" fmla="*/ 760491 h 1056238"/>
              <a:gd name="connsiteX12" fmla="*/ 205212 w 615635"/>
              <a:gd name="connsiteY12" fmla="*/ 793687 h 1056238"/>
              <a:gd name="connsiteX13" fmla="*/ 196330 w 615635"/>
              <a:gd name="connsiteY13" fmla="*/ 814173 h 1056238"/>
              <a:gd name="connsiteX14" fmla="*/ 247461 w 615635"/>
              <a:gd name="connsiteY14" fmla="*/ 902329 h 1056238"/>
              <a:gd name="connsiteX15" fmla="*/ 337996 w 615635"/>
              <a:gd name="connsiteY15" fmla="*/ 944578 h 1056238"/>
              <a:gd name="connsiteX16" fmla="*/ 359292 w 615635"/>
              <a:gd name="connsiteY16" fmla="*/ 1043351 h 1056238"/>
              <a:gd name="connsiteX17" fmla="*/ 431548 w 615635"/>
              <a:gd name="connsiteY17" fmla="*/ 1056238 h 1056238"/>
              <a:gd name="connsiteX18" fmla="*/ 437584 w 615635"/>
              <a:gd name="connsiteY18" fmla="*/ 1020024 h 1056238"/>
              <a:gd name="connsiteX19" fmla="*/ 478558 w 615635"/>
              <a:gd name="connsiteY19" fmla="*/ 1036038 h 1056238"/>
              <a:gd name="connsiteX20" fmla="*/ 525101 w 615635"/>
              <a:gd name="connsiteY20" fmla="*/ 1032095 h 1056238"/>
              <a:gd name="connsiteX21" fmla="*/ 534154 w 615635"/>
              <a:gd name="connsiteY21" fmla="*/ 1017006 h 1056238"/>
              <a:gd name="connsiteX22" fmla="*/ 525101 w 615635"/>
              <a:gd name="connsiteY22" fmla="*/ 983810 h 1056238"/>
              <a:gd name="connsiteX23" fmla="*/ 587665 w 615635"/>
              <a:gd name="connsiteY23" fmla="*/ 967266 h 1056238"/>
              <a:gd name="connsiteX24" fmla="*/ 579422 w 615635"/>
              <a:gd name="connsiteY24" fmla="*/ 920436 h 1056238"/>
              <a:gd name="connsiteX25" fmla="*/ 579422 w 615635"/>
              <a:gd name="connsiteY25" fmla="*/ 893275 h 1056238"/>
              <a:gd name="connsiteX26" fmla="*/ 573386 w 615635"/>
              <a:gd name="connsiteY26" fmla="*/ 866115 h 1056238"/>
              <a:gd name="connsiteX27" fmla="*/ 576404 w 615635"/>
              <a:gd name="connsiteY27" fmla="*/ 826883 h 1056238"/>
              <a:gd name="connsiteX28" fmla="*/ 579422 w 615635"/>
              <a:gd name="connsiteY28" fmla="*/ 802741 h 1056238"/>
              <a:gd name="connsiteX29" fmla="*/ 586390 w 615635"/>
              <a:gd name="connsiteY29" fmla="*/ 787012 h 1056238"/>
              <a:gd name="connsiteX30" fmla="*/ 603564 w 615635"/>
              <a:gd name="connsiteY30" fmla="*/ 748420 h 1056238"/>
              <a:gd name="connsiteX31" fmla="*/ 606582 w 615635"/>
              <a:gd name="connsiteY31" fmla="*/ 715224 h 1056238"/>
              <a:gd name="connsiteX32" fmla="*/ 615635 w 615635"/>
              <a:gd name="connsiteY32" fmla="*/ 703153 h 1056238"/>
              <a:gd name="connsiteX33" fmla="*/ 609600 w 615635"/>
              <a:gd name="connsiteY33" fmla="*/ 672974 h 1056238"/>
              <a:gd name="connsiteX34" fmla="*/ 597528 w 615635"/>
              <a:gd name="connsiteY34" fmla="*/ 624689 h 1056238"/>
              <a:gd name="connsiteX35" fmla="*/ 597528 w 615635"/>
              <a:gd name="connsiteY35" fmla="*/ 582440 h 1056238"/>
              <a:gd name="connsiteX36" fmla="*/ 615635 w 615635"/>
              <a:gd name="connsiteY36" fmla="*/ 519066 h 1056238"/>
              <a:gd name="connsiteX37" fmla="*/ 579422 w 615635"/>
              <a:gd name="connsiteY37" fmla="*/ 334978 h 1056238"/>
              <a:gd name="connsiteX38" fmla="*/ 570368 w 615635"/>
              <a:gd name="connsiteY38" fmla="*/ 307818 h 1056238"/>
              <a:gd name="connsiteX39" fmla="*/ 561315 w 615635"/>
              <a:gd name="connsiteY39" fmla="*/ 250479 h 1056238"/>
              <a:gd name="connsiteX40" fmla="*/ 552261 w 615635"/>
              <a:gd name="connsiteY40" fmla="*/ 202194 h 1056238"/>
              <a:gd name="connsiteX41" fmla="*/ 540190 w 615635"/>
              <a:gd name="connsiteY41" fmla="*/ 141838 h 1056238"/>
              <a:gd name="connsiteX42" fmla="*/ 531136 w 615635"/>
              <a:gd name="connsiteY42" fmla="*/ 126749 h 1056238"/>
              <a:gd name="connsiteX43" fmla="*/ 488887 w 615635"/>
              <a:gd name="connsiteY43" fmla="*/ 63374 h 1056238"/>
              <a:gd name="connsiteX44" fmla="*/ 479833 w 615635"/>
              <a:gd name="connsiteY44" fmla="*/ 21125 h 1056238"/>
              <a:gd name="connsiteX45" fmla="*/ 473798 w 615635"/>
              <a:gd name="connsiteY45" fmla="*/ 0 h 1056238"/>
              <a:gd name="connsiteX46" fmla="*/ 78463 w 615635"/>
              <a:gd name="connsiteY46" fmla="*/ 78464 h 1056238"/>
              <a:gd name="connsiteX0" fmla="*/ 78463 w 615635"/>
              <a:gd name="connsiteY0" fmla="*/ 78464 h 1056238"/>
              <a:gd name="connsiteX1" fmla="*/ 147873 w 615635"/>
              <a:gd name="connsiteY1" fmla="*/ 159945 h 1056238"/>
              <a:gd name="connsiteX2" fmla="*/ 150891 w 615635"/>
              <a:gd name="connsiteY2" fmla="*/ 202194 h 1056238"/>
              <a:gd name="connsiteX3" fmla="*/ 93552 w 615635"/>
              <a:gd name="connsiteY3" fmla="*/ 280658 h 1056238"/>
              <a:gd name="connsiteX4" fmla="*/ 27160 w 615635"/>
              <a:gd name="connsiteY4" fmla="*/ 277816 h 1056238"/>
              <a:gd name="connsiteX5" fmla="*/ 54321 w 615635"/>
              <a:gd name="connsiteY5" fmla="*/ 356103 h 1056238"/>
              <a:gd name="connsiteX6" fmla="*/ 0 w 615635"/>
              <a:gd name="connsiteY6" fmla="*/ 431549 h 1056238"/>
              <a:gd name="connsiteX7" fmla="*/ 30178 w 615635"/>
              <a:gd name="connsiteY7" fmla="*/ 620855 h 1056238"/>
              <a:gd name="connsiteX8" fmla="*/ 114677 w 615635"/>
              <a:gd name="connsiteY8" fmla="*/ 636761 h 1056238"/>
              <a:gd name="connsiteX9" fmla="*/ 156926 w 615635"/>
              <a:gd name="connsiteY9" fmla="*/ 739367 h 1056238"/>
              <a:gd name="connsiteX10" fmla="*/ 196158 w 615635"/>
              <a:gd name="connsiteY10" fmla="*/ 727295 h 1056238"/>
              <a:gd name="connsiteX11" fmla="*/ 223319 w 615635"/>
              <a:gd name="connsiteY11" fmla="*/ 760491 h 1056238"/>
              <a:gd name="connsiteX12" fmla="*/ 205212 w 615635"/>
              <a:gd name="connsiteY12" fmla="*/ 793687 h 1056238"/>
              <a:gd name="connsiteX13" fmla="*/ 196330 w 615635"/>
              <a:gd name="connsiteY13" fmla="*/ 814173 h 1056238"/>
              <a:gd name="connsiteX14" fmla="*/ 247461 w 615635"/>
              <a:gd name="connsiteY14" fmla="*/ 902329 h 1056238"/>
              <a:gd name="connsiteX15" fmla="*/ 337996 w 615635"/>
              <a:gd name="connsiteY15" fmla="*/ 944578 h 1056238"/>
              <a:gd name="connsiteX16" fmla="*/ 359292 w 615635"/>
              <a:gd name="connsiteY16" fmla="*/ 1043351 h 1056238"/>
              <a:gd name="connsiteX17" fmla="*/ 431548 w 615635"/>
              <a:gd name="connsiteY17" fmla="*/ 1056238 h 1056238"/>
              <a:gd name="connsiteX18" fmla="*/ 437584 w 615635"/>
              <a:gd name="connsiteY18" fmla="*/ 1020024 h 1056238"/>
              <a:gd name="connsiteX19" fmla="*/ 478558 w 615635"/>
              <a:gd name="connsiteY19" fmla="*/ 1036038 h 1056238"/>
              <a:gd name="connsiteX20" fmla="*/ 525101 w 615635"/>
              <a:gd name="connsiteY20" fmla="*/ 1032095 h 1056238"/>
              <a:gd name="connsiteX21" fmla="*/ 534154 w 615635"/>
              <a:gd name="connsiteY21" fmla="*/ 1017006 h 1056238"/>
              <a:gd name="connsiteX22" fmla="*/ 525101 w 615635"/>
              <a:gd name="connsiteY22" fmla="*/ 983810 h 1056238"/>
              <a:gd name="connsiteX23" fmla="*/ 587665 w 615635"/>
              <a:gd name="connsiteY23" fmla="*/ 967266 h 1056238"/>
              <a:gd name="connsiteX24" fmla="*/ 579422 w 615635"/>
              <a:gd name="connsiteY24" fmla="*/ 920436 h 1056238"/>
              <a:gd name="connsiteX25" fmla="*/ 579422 w 615635"/>
              <a:gd name="connsiteY25" fmla="*/ 893275 h 1056238"/>
              <a:gd name="connsiteX26" fmla="*/ 573386 w 615635"/>
              <a:gd name="connsiteY26" fmla="*/ 866115 h 1056238"/>
              <a:gd name="connsiteX27" fmla="*/ 576404 w 615635"/>
              <a:gd name="connsiteY27" fmla="*/ 826883 h 1056238"/>
              <a:gd name="connsiteX28" fmla="*/ 579422 w 615635"/>
              <a:gd name="connsiteY28" fmla="*/ 802741 h 1056238"/>
              <a:gd name="connsiteX29" fmla="*/ 586390 w 615635"/>
              <a:gd name="connsiteY29" fmla="*/ 787012 h 1056238"/>
              <a:gd name="connsiteX30" fmla="*/ 603564 w 615635"/>
              <a:gd name="connsiteY30" fmla="*/ 748420 h 1056238"/>
              <a:gd name="connsiteX31" fmla="*/ 606582 w 615635"/>
              <a:gd name="connsiteY31" fmla="*/ 715224 h 1056238"/>
              <a:gd name="connsiteX32" fmla="*/ 615635 w 615635"/>
              <a:gd name="connsiteY32" fmla="*/ 703153 h 1056238"/>
              <a:gd name="connsiteX33" fmla="*/ 609600 w 615635"/>
              <a:gd name="connsiteY33" fmla="*/ 672974 h 1056238"/>
              <a:gd name="connsiteX34" fmla="*/ 597528 w 615635"/>
              <a:gd name="connsiteY34" fmla="*/ 624689 h 1056238"/>
              <a:gd name="connsiteX35" fmla="*/ 597528 w 615635"/>
              <a:gd name="connsiteY35" fmla="*/ 582440 h 1056238"/>
              <a:gd name="connsiteX36" fmla="*/ 615635 w 615635"/>
              <a:gd name="connsiteY36" fmla="*/ 519066 h 1056238"/>
              <a:gd name="connsiteX37" fmla="*/ 579422 w 615635"/>
              <a:gd name="connsiteY37" fmla="*/ 334978 h 1056238"/>
              <a:gd name="connsiteX38" fmla="*/ 570368 w 615635"/>
              <a:gd name="connsiteY38" fmla="*/ 307818 h 1056238"/>
              <a:gd name="connsiteX39" fmla="*/ 561315 w 615635"/>
              <a:gd name="connsiteY39" fmla="*/ 250479 h 1056238"/>
              <a:gd name="connsiteX40" fmla="*/ 552261 w 615635"/>
              <a:gd name="connsiteY40" fmla="*/ 202194 h 1056238"/>
              <a:gd name="connsiteX41" fmla="*/ 540190 w 615635"/>
              <a:gd name="connsiteY41" fmla="*/ 141838 h 1056238"/>
              <a:gd name="connsiteX42" fmla="*/ 531136 w 615635"/>
              <a:gd name="connsiteY42" fmla="*/ 126749 h 1056238"/>
              <a:gd name="connsiteX43" fmla="*/ 488887 w 615635"/>
              <a:gd name="connsiteY43" fmla="*/ 63374 h 1056238"/>
              <a:gd name="connsiteX44" fmla="*/ 479833 w 615635"/>
              <a:gd name="connsiteY44" fmla="*/ 21125 h 1056238"/>
              <a:gd name="connsiteX45" fmla="*/ 473798 w 615635"/>
              <a:gd name="connsiteY45" fmla="*/ 0 h 1056238"/>
              <a:gd name="connsiteX46" fmla="*/ 78463 w 615635"/>
              <a:gd name="connsiteY46" fmla="*/ 78464 h 1056238"/>
              <a:gd name="connsiteX0" fmla="*/ 78463 w 615635"/>
              <a:gd name="connsiteY0" fmla="*/ 78464 h 1056238"/>
              <a:gd name="connsiteX1" fmla="*/ 147873 w 615635"/>
              <a:gd name="connsiteY1" fmla="*/ 159945 h 1056238"/>
              <a:gd name="connsiteX2" fmla="*/ 150891 w 615635"/>
              <a:gd name="connsiteY2" fmla="*/ 202194 h 1056238"/>
              <a:gd name="connsiteX3" fmla="*/ 93552 w 615635"/>
              <a:gd name="connsiteY3" fmla="*/ 280658 h 1056238"/>
              <a:gd name="connsiteX4" fmla="*/ 27160 w 615635"/>
              <a:gd name="connsiteY4" fmla="*/ 277816 h 1056238"/>
              <a:gd name="connsiteX5" fmla="*/ 54321 w 615635"/>
              <a:gd name="connsiteY5" fmla="*/ 356103 h 1056238"/>
              <a:gd name="connsiteX6" fmla="*/ 0 w 615635"/>
              <a:gd name="connsiteY6" fmla="*/ 431549 h 1056238"/>
              <a:gd name="connsiteX7" fmla="*/ 30178 w 615635"/>
              <a:gd name="connsiteY7" fmla="*/ 620855 h 1056238"/>
              <a:gd name="connsiteX8" fmla="*/ 109918 w 615635"/>
              <a:gd name="connsiteY8" fmla="*/ 648656 h 1056238"/>
              <a:gd name="connsiteX9" fmla="*/ 156926 w 615635"/>
              <a:gd name="connsiteY9" fmla="*/ 739367 h 1056238"/>
              <a:gd name="connsiteX10" fmla="*/ 196158 w 615635"/>
              <a:gd name="connsiteY10" fmla="*/ 727295 h 1056238"/>
              <a:gd name="connsiteX11" fmla="*/ 223319 w 615635"/>
              <a:gd name="connsiteY11" fmla="*/ 760491 h 1056238"/>
              <a:gd name="connsiteX12" fmla="*/ 205212 w 615635"/>
              <a:gd name="connsiteY12" fmla="*/ 793687 h 1056238"/>
              <a:gd name="connsiteX13" fmla="*/ 196330 w 615635"/>
              <a:gd name="connsiteY13" fmla="*/ 814173 h 1056238"/>
              <a:gd name="connsiteX14" fmla="*/ 247461 w 615635"/>
              <a:gd name="connsiteY14" fmla="*/ 902329 h 1056238"/>
              <a:gd name="connsiteX15" fmla="*/ 337996 w 615635"/>
              <a:gd name="connsiteY15" fmla="*/ 944578 h 1056238"/>
              <a:gd name="connsiteX16" fmla="*/ 359292 w 615635"/>
              <a:gd name="connsiteY16" fmla="*/ 1043351 h 1056238"/>
              <a:gd name="connsiteX17" fmla="*/ 431548 w 615635"/>
              <a:gd name="connsiteY17" fmla="*/ 1056238 h 1056238"/>
              <a:gd name="connsiteX18" fmla="*/ 437584 w 615635"/>
              <a:gd name="connsiteY18" fmla="*/ 1020024 h 1056238"/>
              <a:gd name="connsiteX19" fmla="*/ 478558 w 615635"/>
              <a:gd name="connsiteY19" fmla="*/ 1036038 h 1056238"/>
              <a:gd name="connsiteX20" fmla="*/ 525101 w 615635"/>
              <a:gd name="connsiteY20" fmla="*/ 1032095 h 1056238"/>
              <a:gd name="connsiteX21" fmla="*/ 534154 w 615635"/>
              <a:gd name="connsiteY21" fmla="*/ 1017006 h 1056238"/>
              <a:gd name="connsiteX22" fmla="*/ 525101 w 615635"/>
              <a:gd name="connsiteY22" fmla="*/ 983810 h 1056238"/>
              <a:gd name="connsiteX23" fmla="*/ 587665 w 615635"/>
              <a:gd name="connsiteY23" fmla="*/ 967266 h 1056238"/>
              <a:gd name="connsiteX24" fmla="*/ 579422 w 615635"/>
              <a:gd name="connsiteY24" fmla="*/ 920436 h 1056238"/>
              <a:gd name="connsiteX25" fmla="*/ 579422 w 615635"/>
              <a:gd name="connsiteY25" fmla="*/ 893275 h 1056238"/>
              <a:gd name="connsiteX26" fmla="*/ 573386 w 615635"/>
              <a:gd name="connsiteY26" fmla="*/ 866115 h 1056238"/>
              <a:gd name="connsiteX27" fmla="*/ 576404 w 615635"/>
              <a:gd name="connsiteY27" fmla="*/ 826883 h 1056238"/>
              <a:gd name="connsiteX28" fmla="*/ 579422 w 615635"/>
              <a:gd name="connsiteY28" fmla="*/ 802741 h 1056238"/>
              <a:gd name="connsiteX29" fmla="*/ 586390 w 615635"/>
              <a:gd name="connsiteY29" fmla="*/ 787012 h 1056238"/>
              <a:gd name="connsiteX30" fmla="*/ 603564 w 615635"/>
              <a:gd name="connsiteY30" fmla="*/ 748420 h 1056238"/>
              <a:gd name="connsiteX31" fmla="*/ 606582 w 615635"/>
              <a:gd name="connsiteY31" fmla="*/ 715224 h 1056238"/>
              <a:gd name="connsiteX32" fmla="*/ 615635 w 615635"/>
              <a:gd name="connsiteY32" fmla="*/ 703153 h 1056238"/>
              <a:gd name="connsiteX33" fmla="*/ 609600 w 615635"/>
              <a:gd name="connsiteY33" fmla="*/ 672974 h 1056238"/>
              <a:gd name="connsiteX34" fmla="*/ 597528 w 615635"/>
              <a:gd name="connsiteY34" fmla="*/ 624689 h 1056238"/>
              <a:gd name="connsiteX35" fmla="*/ 597528 w 615635"/>
              <a:gd name="connsiteY35" fmla="*/ 582440 h 1056238"/>
              <a:gd name="connsiteX36" fmla="*/ 615635 w 615635"/>
              <a:gd name="connsiteY36" fmla="*/ 519066 h 1056238"/>
              <a:gd name="connsiteX37" fmla="*/ 579422 w 615635"/>
              <a:gd name="connsiteY37" fmla="*/ 334978 h 1056238"/>
              <a:gd name="connsiteX38" fmla="*/ 570368 w 615635"/>
              <a:gd name="connsiteY38" fmla="*/ 307818 h 1056238"/>
              <a:gd name="connsiteX39" fmla="*/ 561315 w 615635"/>
              <a:gd name="connsiteY39" fmla="*/ 250479 h 1056238"/>
              <a:gd name="connsiteX40" fmla="*/ 552261 w 615635"/>
              <a:gd name="connsiteY40" fmla="*/ 202194 h 1056238"/>
              <a:gd name="connsiteX41" fmla="*/ 540190 w 615635"/>
              <a:gd name="connsiteY41" fmla="*/ 141838 h 1056238"/>
              <a:gd name="connsiteX42" fmla="*/ 531136 w 615635"/>
              <a:gd name="connsiteY42" fmla="*/ 126749 h 1056238"/>
              <a:gd name="connsiteX43" fmla="*/ 488887 w 615635"/>
              <a:gd name="connsiteY43" fmla="*/ 63374 h 1056238"/>
              <a:gd name="connsiteX44" fmla="*/ 479833 w 615635"/>
              <a:gd name="connsiteY44" fmla="*/ 21125 h 1056238"/>
              <a:gd name="connsiteX45" fmla="*/ 473798 w 615635"/>
              <a:gd name="connsiteY45" fmla="*/ 0 h 1056238"/>
              <a:gd name="connsiteX46" fmla="*/ 78463 w 615635"/>
              <a:gd name="connsiteY46" fmla="*/ 78464 h 105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615635" h="1056238">
                <a:moveTo>
                  <a:pt x="78463" y="78464"/>
                </a:moveTo>
                <a:lnTo>
                  <a:pt x="147873" y="159945"/>
                </a:lnTo>
                <a:lnTo>
                  <a:pt x="150891" y="202194"/>
                </a:lnTo>
                <a:lnTo>
                  <a:pt x="93552" y="280658"/>
                </a:lnTo>
                <a:lnTo>
                  <a:pt x="27160" y="277816"/>
                </a:lnTo>
                <a:lnTo>
                  <a:pt x="54321" y="356103"/>
                </a:lnTo>
                <a:lnTo>
                  <a:pt x="0" y="431549"/>
                </a:lnTo>
                <a:lnTo>
                  <a:pt x="30178" y="620855"/>
                </a:lnTo>
                <a:lnTo>
                  <a:pt x="109918" y="648656"/>
                </a:lnTo>
                <a:lnTo>
                  <a:pt x="156926" y="739367"/>
                </a:lnTo>
                <a:lnTo>
                  <a:pt x="196158" y="727295"/>
                </a:lnTo>
                <a:lnTo>
                  <a:pt x="223319" y="760491"/>
                </a:lnTo>
                <a:lnTo>
                  <a:pt x="205212" y="793687"/>
                </a:lnTo>
                <a:lnTo>
                  <a:pt x="196330" y="814173"/>
                </a:lnTo>
                <a:lnTo>
                  <a:pt x="247461" y="902329"/>
                </a:lnTo>
                <a:lnTo>
                  <a:pt x="337996" y="944578"/>
                </a:lnTo>
                <a:lnTo>
                  <a:pt x="359292" y="1043351"/>
                </a:lnTo>
                <a:lnTo>
                  <a:pt x="431548" y="1056238"/>
                </a:lnTo>
                <a:lnTo>
                  <a:pt x="437584" y="1020024"/>
                </a:lnTo>
                <a:lnTo>
                  <a:pt x="478558" y="1036038"/>
                </a:lnTo>
                <a:lnTo>
                  <a:pt x="525101" y="1032095"/>
                </a:lnTo>
                <a:lnTo>
                  <a:pt x="534154" y="1017006"/>
                </a:lnTo>
                <a:lnTo>
                  <a:pt x="525101" y="983810"/>
                </a:lnTo>
                <a:lnTo>
                  <a:pt x="587665" y="967266"/>
                </a:lnTo>
                <a:lnTo>
                  <a:pt x="579422" y="920436"/>
                </a:lnTo>
                <a:lnTo>
                  <a:pt x="579422" y="893275"/>
                </a:lnTo>
                <a:lnTo>
                  <a:pt x="573386" y="866115"/>
                </a:lnTo>
                <a:lnTo>
                  <a:pt x="576404" y="826883"/>
                </a:lnTo>
                <a:lnTo>
                  <a:pt x="579422" y="802741"/>
                </a:lnTo>
                <a:lnTo>
                  <a:pt x="586390" y="787012"/>
                </a:lnTo>
                <a:lnTo>
                  <a:pt x="603564" y="748420"/>
                </a:lnTo>
                <a:lnTo>
                  <a:pt x="606582" y="715224"/>
                </a:lnTo>
                <a:lnTo>
                  <a:pt x="615635" y="703153"/>
                </a:lnTo>
                <a:lnTo>
                  <a:pt x="609600" y="672974"/>
                </a:lnTo>
                <a:lnTo>
                  <a:pt x="597528" y="624689"/>
                </a:lnTo>
                <a:lnTo>
                  <a:pt x="597528" y="582440"/>
                </a:lnTo>
                <a:lnTo>
                  <a:pt x="615635" y="519066"/>
                </a:lnTo>
                <a:lnTo>
                  <a:pt x="579422" y="334978"/>
                </a:lnTo>
                <a:lnTo>
                  <a:pt x="570368" y="307818"/>
                </a:lnTo>
                <a:lnTo>
                  <a:pt x="561315" y="250479"/>
                </a:lnTo>
                <a:lnTo>
                  <a:pt x="552261" y="202194"/>
                </a:lnTo>
                <a:lnTo>
                  <a:pt x="540190" y="141838"/>
                </a:lnTo>
                <a:lnTo>
                  <a:pt x="531136" y="126749"/>
                </a:lnTo>
                <a:lnTo>
                  <a:pt x="488887" y="63374"/>
                </a:lnTo>
                <a:lnTo>
                  <a:pt x="479833" y="21125"/>
                </a:lnTo>
                <a:lnTo>
                  <a:pt x="473798" y="0"/>
                </a:lnTo>
                <a:lnTo>
                  <a:pt x="78463" y="78464"/>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lumMod val="75000"/>
                </a:schemeClr>
              </a:solidFill>
              <a:ea typeface="ＭＳ Ｐゴシック" charset="-128"/>
            </a:endParaRPr>
          </a:p>
        </p:txBody>
      </p:sp>
      <p:sp>
        <p:nvSpPr>
          <p:cNvPr id="26" name="Freeform 25"/>
          <p:cNvSpPr/>
          <p:nvPr/>
        </p:nvSpPr>
        <p:spPr>
          <a:xfrm>
            <a:off x="6126216" y="4390879"/>
            <a:ext cx="575289" cy="945205"/>
          </a:xfrm>
          <a:custGeom>
            <a:avLst/>
            <a:gdLst>
              <a:gd name="connsiteX0" fmla="*/ 0 w 594511"/>
              <a:gd name="connsiteY0" fmla="*/ 84499 h 974757"/>
              <a:gd name="connsiteX1" fmla="*/ 69410 w 594511"/>
              <a:gd name="connsiteY1" fmla="*/ 962686 h 974757"/>
              <a:gd name="connsiteX2" fmla="*/ 87517 w 594511"/>
              <a:gd name="connsiteY2" fmla="*/ 962686 h 974757"/>
              <a:gd name="connsiteX3" fmla="*/ 111659 w 594511"/>
              <a:gd name="connsiteY3" fmla="*/ 962686 h 974757"/>
              <a:gd name="connsiteX4" fmla="*/ 132784 w 594511"/>
              <a:gd name="connsiteY4" fmla="*/ 941561 h 974757"/>
              <a:gd name="connsiteX5" fmla="*/ 129766 w 594511"/>
              <a:gd name="connsiteY5" fmla="*/ 902329 h 974757"/>
              <a:gd name="connsiteX6" fmla="*/ 184087 w 594511"/>
              <a:gd name="connsiteY6" fmla="*/ 974757 h 974757"/>
              <a:gd name="connsiteX7" fmla="*/ 220301 w 594511"/>
              <a:gd name="connsiteY7" fmla="*/ 959668 h 974757"/>
              <a:gd name="connsiteX8" fmla="*/ 217283 w 594511"/>
              <a:gd name="connsiteY8" fmla="*/ 908365 h 974757"/>
              <a:gd name="connsiteX9" fmla="*/ 214265 w 594511"/>
              <a:gd name="connsiteY9" fmla="*/ 878187 h 974757"/>
              <a:gd name="connsiteX10" fmla="*/ 193140 w 594511"/>
              <a:gd name="connsiteY10" fmla="*/ 851026 h 974757"/>
              <a:gd name="connsiteX11" fmla="*/ 588475 w 594511"/>
              <a:gd name="connsiteY11" fmla="*/ 751438 h 974757"/>
              <a:gd name="connsiteX12" fmla="*/ 591493 w 594511"/>
              <a:gd name="connsiteY12" fmla="*/ 685046 h 974757"/>
              <a:gd name="connsiteX13" fmla="*/ 582439 w 594511"/>
              <a:gd name="connsiteY13" fmla="*/ 633743 h 974757"/>
              <a:gd name="connsiteX14" fmla="*/ 588475 w 594511"/>
              <a:gd name="connsiteY14" fmla="*/ 585458 h 974757"/>
              <a:gd name="connsiteX15" fmla="*/ 570368 w 594511"/>
              <a:gd name="connsiteY15" fmla="*/ 528119 h 974757"/>
              <a:gd name="connsiteX16" fmla="*/ 576404 w 594511"/>
              <a:gd name="connsiteY16" fmla="*/ 510012 h 974757"/>
              <a:gd name="connsiteX17" fmla="*/ 594511 w 594511"/>
              <a:gd name="connsiteY17" fmla="*/ 488888 h 974757"/>
              <a:gd name="connsiteX18" fmla="*/ 588475 w 594511"/>
              <a:gd name="connsiteY18" fmla="*/ 467763 h 974757"/>
              <a:gd name="connsiteX19" fmla="*/ 543208 w 594511"/>
              <a:gd name="connsiteY19" fmla="*/ 425513 h 974757"/>
              <a:gd name="connsiteX20" fmla="*/ 470780 w 594511"/>
              <a:gd name="connsiteY20" fmla="*/ 162963 h 974757"/>
              <a:gd name="connsiteX21" fmla="*/ 449655 w 594511"/>
              <a:gd name="connsiteY21" fmla="*/ 111660 h 974757"/>
              <a:gd name="connsiteX22" fmla="*/ 410424 w 594511"/>
              <a:gd name="connsiteY22" fmla="*/ 0 h 974757"/>
              <a:gd name="connsiteX23" fmla="*/ 202194 w 594511"/>
              <a:gd name="connsiteY23" fmla="*/ 51303 h 974757"/>
              <a:gd name="connsiteX24" fmla="*/ 114677 w 594511"/>
              <a:gd name="connsiteY24" fmla="*/ 66392 h 974757"/>
              <a:gd name="connsiteX25" fmla="*/ 96570 w 594511"/>
              <a:gd name="connsiteY25" fmla="*/ 51303 h 974757"/>
              <a:gd name="connsiteX26" fmla="*/ 0 w 594511"/>
              <a:gd name="connsiteY26" fmla="*/ 84499 h 974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94511" h="974757">
                <a:moveTo>
                  <a:pt x="0" y="84499"/>
                </a:moveTo>
                <a:lnTo>
                  <a:pt x="69410" y="962686"/>
                </a:lnTo>
                <a:lnTo>
                  <a:pt x="87517" y="962686"/>
                </a:lnTo>
                <a:lnTo>
                  <a:pt x="111659" y="962686"/>
                </a:lnTo>
                <a:lnTo>
                  <a:pt x="132784" y="941561"/>
                </a:lnTo>
                <a:lnTo>
                  <a:pt x="129766" y="902329"/>
                </a:lnTo>
                <a:lnTo>
                  <a:pt x="184087" y="974757"/>
                </a:lnTo>
                <a:lnTo>
                  <a:pt x="220301" y="959668"/>
                </a:lnTo>
                <a:lnTo>
                  <a:pt x="217283" y="908365"/>
                </a:lnTo>
                <a:lnTo>
                  <a:pt x="214265" y="878187"/>
                </a:lnTo>
                <a:lnTo>
                  <a:pt x="193140" y="851026"/>
                </a:lnTo>
                <a:lnTo>
                  <a:pt x="588475" y="751438"/>
                </a:lnTo>
                <a:lnTo>
                  <a:pt x="591493" y="685046"/>
                </a:lnTo>
                <a:lnTo>
                  <a:pt x="582439" y="633743"/>
                </a:lnTo>
                <a:lnTo>
                  <a:pt x="588475" y="585458"/>
                </a:lnTo>
                <a:lnTo>
                  <a:pt x="570368" y="528119"/>
                </a:lnTo>
                <a:lnTo>
                  <a:pt x="576404" y="510012"/>
                </a:lnTo>
                <a:lnTo>
                  <a:pt x="594511" y="488888"/>
                </a:lnTo>
                <a:lnTo>
                  <a:pt x="588475" y="467763"/>
                </a:lnTo>
                <a:lnTo>
                  <a:pt x="543208" y="425513"/>
                </a:lnTo>
                <a:lnTo>
                  <a:pt x="470780" y="162963"/>
                </a:lnTo>
                <a:lnTo>
                  <a:pt x="449655" y="111660"/>
                </a:lnTo>
                <a:lnTo>
                  <a:pt x="410424" y="0"/>
                </a:lnTo>
                <a:lnTo>
                  <a:pt x="202194" y="51303"/>
                </a:lnTo>
                <a:lnTo>
                  <a:pt x="114677" y="66392"/>
                </a:lnTo>
                <a:lnTo>
                  <a:pt x="96570" y="51303"/>
                </a:lnTo>
                <a:lnTo>
                  <a:pt x="0" y="84499"/>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27" name="Freeform 26"/>
          <p:cNvSpPr/>
          <p:nvPr/>
        </p:nvSpPr>
        <p:spPr>
          <a:xfrm>
            <a:off x="6517413" y="4306211"/>
            <a:ext cx="799266" cy="845143"/>
          </a:xfrm>
          <a:custGeom>
            <a:avLst/>
            <a:gdLst>
              <a:gd name="connsiteX0" fmla="*/ 0 w 832919"/>
              <a:gd name="connsiteY0" fmla="*/ 87516 h 872150"/>
              <a:gd name="connsiteX1" fmla="*/ 69410 w 832919"/>
              <a:gd name="connsiteY1" fmla="*/ 262550 h 872150"/>
              <a:gd name="connsiteX2" fmla="*/ 141838 w 832919"/>
              <a:gd name="connsiteY2" fmla="*/ 510011 h 872150"/>
              <a:gd name="connsiteX3" fmla="*/ 187105 w 832919"/>
              <a:gd name="connsiteY3" fmla="*/ 576404 h 872150"/>
              <a:gd name="connsiteX4" fmla="*/ 165980 w 832919"/>
              <a:gd name="connsiteY4" fmla="*/ 618653 h 872150"/>
              <a:gd name="connsiteX5" fmla="*/ 175034 w 832919"/>
              <a:gd name="connsiteY5" fmla="*/ 672974 h 872150"/>
              <a:gd name="connsiteX6" fmla="*/ 184087 w 832919"/>
              <a:gd name="connsiteY6" fmla="*/ 688063 h 872150"/>
              <a:gd name="connsiteX7" fmla="*/ 178051 w 832919"/>
              <a:gd name="connsiteY7" fmla="*/ 733330 h 872150"/>
              <a:gd name="connsiteX8" fmla="*/ 187105 w 832919"/>
              <a:gd name="connsiteY8" fmla="*/ 781615 h 872150"/>
              <a:gd name="connsiteX9" fmla="*/ 175034 w 832919"/>
              <a:gd name="connsiteY9" fmla="*/ 829901 h 872150"/>
              <a:gd name="connsiteX10" fmla="*/ 259533 w 832919"/>
              <a:gd name="connsiteY10" fmla="*/ 872150 h 872150"/>
              <a:gd name="connsiteX11" fmla="*/ 383263 w 832919"/>
              <a:gd name="connsiteY11" fmla="*/ 863097 h 872150"/>
              <a:gd name="connsiteX12" fmla="*/ 645814 w 832919"/>
              <a:gd name="connsiteY12" fmla="*/ 826883 h 872150"/>
              <a:gd name="connsiteX13" fmla="*/ 700135 w 832919"/>
              <a:gd name="connsiteY13" fmla="*/ 851025 h 872150"/>
              <a:gd name="connsiteX14" fmla="*/ 706170 w 832919"/>
              <a:gd name="connsiteY14" fmla="*/ 772562 h 872150"/>
              <a:gd name="connsiteX15" fmla="*/ 724277 w 832919"/>
              <a:gd name="connsiteY15" fmla="*/ 751437 h 872150"/>
              <a:gd name="connsiteX16" fmla="*/ 781616 w 832919"/>
              <a:gd name="connsiteY16" fmla="*/ 766526 h 872150"/>
              <a:gd name="connsiteX17" fmla="*/ 805758 w 832919"/>
              <a:gd name="connsiteY17" fmla="*/ 757473 h 872150"/>
              <a:gd name="connsiteX18" fmla="*/ 784634 w 832919"/>
              <a:gd name="connsiteY18" fmla="*/ 651849 h 872150"/>
              <a:gd name="connsiteX19" fmla="*/ 796705 w 832919"/>
              <a:gd name="connsiteY19" fmla="*/ 642796 h 872150"/>
              <a:gd name="connsiteX20" fmla="*/ 796705 w 832919"/>
              <a:gd name="connsiteY20" fmla="*/ 585457 h 872150"/>
              <a:gd name="connsiteX21" fmla="*/ 817830 w 832919"/>
              <a:gd name="connsiteY21" fmla="*/ 519065 h 872150"/>
              <a:gd name="connsiteX22" fmla="*/ 832919 w 832919"/>
              <a:gd name="connsiteY22" fmla="*/ 482851 h 872150"/>
              <a:gd name="connsiteX23" fmla="*/ 832919 w 832919"/>
              <a:gd name="connsiteY23" fmla="*/ 464744 h 872150"/>
              <a:gd name="connsiteX24" fmla="*/ 805758 w 832919"/>
              <a:gd name="connsiteY24" fmla="*/ 461726 h 872150"/>
              <a:gd name="connsiteX25" fmla="*/ 793687 w 832919"/>
              <a:gd name="connsiteY25" fmla="*/ 431548 h 872150"/>
              <a:gd name="connsiteX26" fmla="*/ 724277 w 832919"/>
              <a:gd name="connsiteY26" fmla="*/ 359120 h 872150"/>
              <a:gd name="connsiteX27" fmla="*/ 712206 w 832919"/>
              <a:gd name="connsiteY27" fmla="*/ 307817 h 872150"/>
              <a:gd name="connsiteX28" fmla="*/ 636760 w 832919"/>
              <a:gd name="connsiteY28" fmla="*/ 271604 h 872150"/>
              <a:gd name="connsiteX29" fmla="*/ 564333 w 832919"/>
              <a:gd name="connsiteY29" fmla="*/ 196158 h 872150"/>
              <a:gd name="connsiteX30" fmla="*/ 531137 w 832919"/>
              <a:gd name="connsiteY30" fmla="*/ 175033 h 872150"/>
              <a:gd name="connsiteX31" fmla="*/ 488887 w 832919"/>
              <a:gd name="connsiteY31" fmla="*/ 156926 h 872150"/>
              <a:gd name="connsiteX32" fmla="*/ 470780 w 832919"/>
              <a:gd name="connsiteY32" fmla="*/ 150891 h 872150"/>
              <a:gd name="connsiteX33" fmla="*/ 434566 w 832919"/>
              <a:gd name="connsiteY33" fmla="*/ 99588 h 872150"/>
              <a:gd name="connsiteX34" fmla="*/ 377228 w 832919"/>
              <a:gd name="connsiteY34" fmla="*/ 63374 h 872150"/>
              <a:gd name="connsiteX35" fmla="*/ 371192 w 832919"/>
              <a:gd name="connsiteY35" fmla="*/ 36213 h 872150"/>
              <a:gd name="connsiteX36" fmla="*/ 371192 w 832919"/>
              <a:gd name="connsiteY36" fmla="*/ 0 h 872150"/>
              <a:gd name="connsiteX37" fmla="*/ 205212 w 832919"/>
              <a:gd name="connsiteY37" fmla="*/ 45267 h 872150"/>
              <a:gd name="connsiteX38" fmla="*/ 0 w 832919"/>
              <a:gd name="connsiteY38" fmla="*/ 87516 h 872150"/>
              <a:gd name="connsiteX0" fmla="*/ 0 w 832919"/>
              <a:gd name="connsiteY0" fmla="*/ 87516 h 872150"/>
              <a:gd name="connsiteX1" fmla="*/ 69410 w 832919"/>
              <a:gd name="connsiteY1" fmla="*/ 262550 h 872150"/>
              <a:gd name="connsiteX2" fmla="*/ 141838 w 832919"/>
              <a:gd name="connsiteY2" fmla="*/ 510011 h 872150"/>
              <a:gd name="connsiteX3" fmla="*/ 187105 w 832919"/>
              <a:gd name="connsiteY3" fmla="*/ 576404 h 872150"/>
              <a:gd name="connsiteX4" fmla="*/ 165980 w 832919"/>
              <a:gd name="connsiteY4" fmla="*/ 618653 h 872150"/>
              <a:gd name="connsiteX5" fmla="*/ 175034 w 832919"/>
              <a:gd name="connsiteY5" fmla="*/ 672974 h 872150"/>
              <a:gd name="connsiteX6" fmla="*/ 184087 w 832919"/>
              <a:gd name="connsiteY6" fmla="*/ 688063 h 872150"/>
              <a:gd name="connsiteX7" fmla="*/ 178051 w 832919"/>
              <a:gd name="connsiteY7" fmla="*/ 733330 h 872150"/>
              <a:gd name="connsiteX8" fmla="*/ 187105 w 832919"/>
              <a:gd name="connsiteY8" fmla="*/ 781615 h 872150"/>
              <a:gd name="connsiteX9" fmla="*/ 172655 w 832919"/>
              <a:gd name="connsiteY9" fmla="*/ 848965 h 872150"/>
              <a:gd name="connsiteX10" fmla="*/ 259533 w 832919"/>
              <a:gd name="connsiteY10" fmla="*/ 872150 h 872150"/>
              <a:gd name="connsiteX11" fmla="*/ 383263 w 832919"/>
              <a:gd name="connsiteY11" fmla="*/ 863097 h 872150"/>
              <a:gd name="connsiteX12" fmla="*/ 645814 w 832919"/>
              <a:gd name="connsiteY12" fmla="*/ 826883 h 872150"/>
              <a:gd name="connsiteX13" fmla="*/ 700135 w 832919"/>
              <a:gd name="connsiteY13" fmla="*/ 851025 h 872150"/>
              <a:gd name="connsiteX14" fmla="*/ 706170 w 832919"/>
              <a:gd name="connsiteY14" fmla="*/ 772562 h 872150"/>
              <a:gd name="connsiteX15" fmla="*/ 724277 w 832919"/>
              <a:gd name="connsiteY15" fmla="*/ 751437 h 872150"/>
              <a:gd name="connsiteX16" fmla="*/ 781616 w 832919"/>
              <a:gd name="connsiteY16" fmla="*/ 766526 h 872150"/>
              <a:gd name="connsiteX17" fmla="*/ 805758 w 832919"/>
              <a:gd name="connsiteY17" fmla="*/ 757473 h 872150"/>
              <a:gd name="connsiteX18" fmla="*/ 784634 w 832919"/>
              <a:gd name="connsiteY18" fmla="*/ 651849 h 872150"/>
              <a:gd name="connsiteX19" fmla="*/ 796705 w 832919"/>
              <a:gd name="connsiteY19" fmla="*/ 642796 h 872150"/>
              <a:gd name="connsiteX20" fmla="*/ 796705 w 832919"/>
              <a:gd name="connsiteY20" fmla="*/ 585457 h 872150"/>
              <a:gd name="connsiteX21" fmla="*/ 817830 w 832919"/>
              <a:gd name="connsiteY21" fmla="*/ 519065 h 872150"/>
              <a:gd name="connsiteX22" fmla="*/ 832919 w 832919"/>
              <a:gd name="connsiteY22" fmla="*/ 482851 h 872150"/>
              <a:gd name="connsiteX23" fmla="*/ 832919 w 832919"/>
              <a:gd name="connsiteY23" fmla="*/ 464744 h 872150"/>
              <a:gd name="connsiteX24" fmla="*/ 805758 w 832919"/>
              <a:gd name="connsiteY24" fmla="*/ 461726 h 872150"/>
              <a:gd name="connsiteX25" fmla="*/ 793687 w 832919"/>
              <a:gd name="connsiteY25" fmla="*/ 431548 h 872150"/>
              <a:gd name="connsiteX26" fmla="*/ 724277 w 832919"/>
              <a:gd name="connsiteY26" fmla="*/ 359120 h 872150"/>
              <a:gd name="connsiteX27" fmla="*/ 712206 w 832919"/>
              <a:gd name="connsiteY27" fmla="*/ 307817 h 872150"/>
              <a:gd name="connsiteX28" fmla="*/ 636760 w 832919"/>
              <a:gd name="connsiteY28" fmla="*/ 271604 h 872150"/>
              <a:gd name="connsiteX29" fmla="*/ 564333 w 832919"/>
              <a:gd name="connsiteY29" fmla="*/ 196158 h 872150"/>
              <a:gd name="connsiteX30" fmla="*/ 531137 w 832919"/>
              <a:gd name="connsiteY30" fmla="*/ 175033 h 872150"/>
              <a:gd name="connsiteX31" fmla="*/ 488887 w 832919"/>
              <a:gd name="connsiteY31" fmla="*/ 156926 h 872150"/>
              <a:gd name="connsiteX32" fmla="*/ 470780 w 832919"/>
              <a:gd name="connsiteY32" fmla="*/ 150891 h 872150"/>
              <a:gd name="connsiteX33" fmla="*/ 434566 w 832919"/>
              <a:gd name="connsiteY33" fmla="*/ 99588 h 872150"/>
              <a:gd name="connsiteX34" fmla="*/ 377228 w 832919"/>
              <a:gd name="connsiteY34" fmla="*/ 63374 h 872150"/>
              <a:gd name="connsiteX35" fmla="*/ 371192 w 832919"/>
              <a:gd name="connsiteY35" fmla="*/ 36213 h 872150"/>
              <a:gd name="connsiteX36" fmla="*/ 371192 w 832919"/>
              <a:gd name="connsiteY36" fmla="*/ 0 h 872150"/>
              <a:gd name="connsiteX37" fmla="*/ 205212 w 832919"/>
              <a:gd name="connsiteY37" fmla="*/ 45267 h 872150"/>
              <a:gd name="connsiteX38" fmla="*/ 0 w 832919"/>
              <a:gd name="connsiteY38" fmla="*/ 87516 h 872150"/>
              <a:gd name="connsiteX0" fmla="*/ 0 w 832919"/>
              <a:gd name="connsiteY0" fmla="*/ 87516 h 872150"/>
              <a:gd name="connsiteX1" fmla="*/ 69410 w 832919"/>
              <a:gd name="connsiteY1" fmla="*/ 262550 h 872150"/>
              <a:gd name="connsiteX2" fmla="*/ 141838 w 832919"/>
              <a:gd name="connsiteY2" fmla="*/ 510011 h 872150"/>
              <a:gd name="connsiteX3" fmla="*/ 187105 w 832919"/>
              <a:gd name="connsiteY3" fmla="*/ 576404 h 872150"/>
              <a:gd name="connsiteX4" fmla="*/ 165980 w 832919"/>
              <a:gd name="connsiteY4" fmla="*/ 618653 h 872150"/>
              <a:gd name="connsiteX5" fmla="*/ 175034 w 832919"/>
              <a:gd name="connsiteY5" fmla="*/ 672974 h 872150"/>
              <a:gd name="connsiteX6" fmla="*/ 184087 w 832919"/>
              <a:gd name="connsiteY6" fmla="*/ 688063 h 872150"/>
              <a:gd name="connsiteX7" fmla="*/ 178051 w 832919"/>
              <a:gd name="connsiteY7" fmla="*/ 733330 h 872150"/>
              <a:gd name="connsiteX8" fmla="*/ 187105 w 832919"/>
              <a:gd name="connsiteY8" fmla="*/ 781615 h 872150"/>
              <a:gd name="connsiteX9" fmla="*/ 172655 w 832919"/>
              <a:gd name="connsiteY9" fmla="*/ 848965 h 872150"/>
              <a:gd name="connsiteX10" fmla="*/ 259533 w 832919"/>
              <a:gd name="connsiteY10" fmla="*/ 872150 h 872150"/>
              <a:gd name="connsiteX11" fmla="*/ 383263 w 832919"/>
              <a:gd name="connsiteY11" fmla="*/ 863097 h 872150"/>
              <a:gd name="connsiteX12" fmla="*/ 652953 w 832919"/>
              <a:gd name="connsiteY12" fmla="*/ 841180 h 872150"/>
              <a:gd name="connsiteX13" fmla="*/ 700135 w 832919"/>
              <a:gd name="connsiteY13" fmla="*/ 851025 h 872150"/>
              <a:gd name="connsiteX14" fmla="*/ 706170 w 832919"/>
              <a:gd name="connsiteY14" fmla="*/ 772562 h 872150"/>
              <a:gd name="connsiteX15" fmla="*/ 724277 w 832919"/>
              <a:gd name="connsiteY15" fmla="*/ 751437 h 872150"/>
              <a:gd name="connsiteX16" fmla="*/ 781616 w 832919"/>
              <a:gd name="connsiteY16" fmla="*/ 766526 h 872150"/>
              <a:gd name="connsiteX17" fmla="*/ 805758 w 832919"/>
              <a:gd name="connsiteY17" fmla="*/ 757473 h 872150"/>
              <a:gd name="connsiteX18" fmla="*/ 784634 w 832919"/>
              <a:gd name="connsiteY18" fmla="*/ 651849 h 872150"/>
              <a:gd name="connsiteX19" fmla="*/ 796705 w 832919"/>
              <a:gd name="connsiteY19" fmla="*/ 642796 h 872150"/>
              <a:gd name="connsiteX20" fmla="*/ 796705 w 832919"/>
              <a:gd name="connsiteY20" fmla="*/ 585457 h 872150"/>
              <a:gd name="connsiteX21" fmla="*/ 817830 w 832919"/>
              <a:gd name="connsiteY21" fmla="*/ 519065 h 872150"/>
              <a:gd name="connsiteX22" fmla="*/ 832919 w 832919"/>
              <a:gd name="connsiteY22" fmla="*/ 482851 h 872150"/>
              <a:gd name="connsiteX23" fmla="*/ 832919 w 832919"/>
              <a:gd name="connsiteY23" fmla="*/ 464744 h 872150"/>
              <a:gd name="connsiteX24" fmla="*/ 805758 w 832919"/>
              <a:gd name="connsiteY24" fmla="*/ 461726 h 872150"/>
              <a:gd name="connsiteX25" fmla="*/ 793687 w 832919"/>
              <a:gd name="connsiteY25" fmla="*/ 431548 h 872150"/>
              <a:gd name="connsiteX26" fmla="*/ 724277 w 832919"/>
              <a:gd name="connsiteY26" fmla="*/ 359120 h 872150"/>
              <a:gd name="connsiteX27" fmla="*/ 712206 w 832919"/>
              <a:gd name="connsiteY27" fmla="*/ 307817 h 872150"/>
              <a:gd name="connsiteX28" fmla="*/ 636760 w 832919"/>
              <a:gd name="connsiteY28" fmla="*/ 271604 h 872150"/>
              <a:gd name="connsiteX29" fmla="*/ 564333 w 832919"/>
              <a:gd name="connsiteY29" fmla="*/ 196158 h 872150"/>
              <a:gd name="connsiteX30" fmla="*/ 531137 w 832919"/>
              <a:gd name="connsiteY30" fmla="*/ 175033 h 872150"/>
              <a:gd name="connsiteX31" fmla="*/ 488887 w 832919"/>
              <a:gd name="connsiteY31" fmla="*/ 156926 h 872150"/>
              <a:gd name="connsiteX32" fmla="*/ 470780 w 832919"/>
              <a:gd name="connsiteY32" fmla="*/ 150891 h 872150"/>
              <a:gd name="connsiteX33" fmla="*/ 434566 w 832919"/>
              <a:gd name="connsiteY33" fmla="*/ 99588 h 872150"/>
              <a:gd name="connsiteX34" fmla="*/ 377228 w 832919"/>
              <a:gd name="connsiteY34" fmla="*/ 63374 h 872150"/>
              <a:gd name="connsiteX35" fmla="*/ 371192 w 832919"/>
              <a:gd name="connsiteY35" fmla="*/ 36213 h 872150"/>
              <a:gd name="connsiteX36" fmla="*/ 371192 w 832919"/>
              <a:gd name="connsiteY36" fmla="*/ 0 h 872150"/>
              <a:gd name="connsiteX37" fmla="*/ 205212 w 832919"/>
              <a:gd name="connsiteY37" fmla="*/ 45267 h 872150"/>
              <a:gd name="connsiteX38" fmla="*/ 0 w 832919"/>
              <a:gd name="connsiteY38" fmla="*/ 87516 h 872150"/>
              <a:gd name="connsiteX0" fmla="*/ 0 w 832919"/>
              <a:gd name="connsiteY0" fmla="*/ 87516 h 872150"/>
              <a:gd name="connsiteX1" fmla="*/ 69410 w 832919"/>
              <a:gd name="connsiteY1" fmla="*/ 262550 h 872150"/>
              <a:gd name="connsiteX2" fmla="*/ 141838 w 832919"/>
              <a:gd name="connsiteY2" fmla="*/ 510011 h 872150"/>
              <a:gd name="connsiteX3" fmla="*/ 187105 w 832919"/>
              <a:gd name="connsiteY3" fmla="*/ 576404 h 872150"/>
              <a:gd name="connsiteX4" fmla="*/ 165980 w 832919"/>
              <a:gd name="connsiteY4" fmla="*/ 618653 h 872150"/>
              <a:gd name="connsiteX5" fmla="*/ 175034 w 832919"/>
              <a:gd name="connsiteY5" fmla="*/ 672974 h 872150"/>
              <a:gd name="connsiteX6" fmla="*/ 184087 w 832919"/>
              <a:gd name="connsiteY6" fmla="*/ 688063 h 872150"/>
              <a:gd name="connsiteX7" fmla="*/ 178051 w 832919"/>
              <a:gd name="connsiteY7" fmla="*/ 733330 h 872150"/>
              <a:gd name="connsiteX8" fmla="*/ 187105 w 832919"/>
              <a:gd name="connsiteY8" fmla="*/ 781615 h 872150"/>
              <a:gd name="connsiteX9" fmla="*/ 172655 w 832919"/>
              <a:gd name="connsiteY9" fmla="*/ 848965 h 872150"/>
              <a:gd name="connsiteX10" fmla="*/ 259533 w 832919"/>
              <a:gd name="connsiteY10" fmla="*/ 872150 h 872150"/>
              <a:gd name="connsiteX11" fmla="*/ 383263 w 832919"/>
              <a:gd name="connsiteY11" fmla="*/ 863097 h 872150"/>
              <a:gd name="connsiteX12" fmla="*/ 652953 w 832919"/>
              <a:gd name="connsiteY12" fmla="*/ 841180 h 872150"/>
              <a:gd name="connsiteX13" fmla="*/ 700135 w 832919"/>
              <a:gd name="connsiteY13" fmla="*/ 851025 h 872150"/>
              <a:gd name="connsiteX14" fmla="*/ 706170 w 832919"/>
              <a:gd name="connsiteY14" fmla="*/ 772562 h 872150"/>
              <a:gd name="connsiteX15" fmla="*/ 724277 w 832919"/>
              <a:gd name="connsiteY15" fmla="*/ 751437 h 872150"/>
              <a:gd name="connsiteX16" fmla="*/ 764958 w 832919"/>
              <a:gd name="connsiteY16" fmla="*/ 776057 h 872150"/>
              <a:gd name="connsiteX17" fmla="*/ 805758 w 832919"/>
              <a:gd name="connsiteY17" fmla="*/ 757473 h 872150"/>
              <a:gd name="connsiteX18" fmla="*/ 784634 w 832919"/>
              <a:gd name="connsiteY18" fmla="*/ 651849 h 872150"/>
              <a:gd name="connsiteX19" fmla="*/ 796705 w 832919"/>
              <a:gd name="connsiteY19" fmla="*/ 642796 h 872150"/>
              <a:gd name="connsiteX20" fmla="*/ 796705 w 832919"/>
              <a:gd name="connsiteY20" fmla="*/ 585457 h 872150"/>
              <a:gd name="connsiteX21" fmla="*/ 817830 w 832919"/>
              <a:gd name="connsiteY21" fmla="*/ 519065 h 872150"/>
              <a:gd name="connsiteX22" fmla="*/ 832919 w 832919"/>
              <a:gd name="connsiteY22" fmla="*/ 482851 h 872150"/>
              <a:gd name="connsiteX23" fmla="*/ 832919 w 832919"/>
              <a:gd name="connsiteY23" fmla="*/ 464744 h 872150"/>
              <a:gd name="connsiteX24" fmla="*/ 805758 w 832919"/>
              <a:gd name="connsiteY24" fmla="*/ 461726 h 872150"/>
              <a:gd name="connsiteX25" fmla="*/ 793687 w 832919"/>
              <a:gd name="connsiteY25" fmla="*/ 431548 h 872150"/>
              <a:gd name="connsiteX26" fmla="*/ 724277 w 832919"/>
              <a:gd name="connsiteY26" fmla="*/ 359120 h 872150"/>
              <a:gd name="connsiteX27" fmla="*/ 712206 w 832919"/>
              <a:gd name="connsiteY27" fmla="*/ 307817 h 872150"/>
              <a:gd name="connsiteX28" fmla="*/ 636760 w 832919"/>
              <a:gd name="connsiteY28" fmla="*/ 271604 h 872150"/>
              <a:gd name="connsiteX29" fmla="*/ 564333 w 832919"/>
              <a:gd name="connsiteY29" fmla="*/ 196158 h 872150"/>
              <a:gd name="connsiteX30" fmla="*/ 531137 w 832919"/>
              <a:gd name="connsiteY30" fmla="*/ 175033 h 872150"/>
              <a:gd name="connsiteX31" fmla="*/ 488887 w 832919"/>
              <a:gd name="connsiteY31" fmla="*/ 156926 h 872150"/>
              <a:gd name="connsiteX32" fmla="*/ 470780 w 832919"/>
              <a:gd name="connsiteY32" fmla="*/ 150891 h 872150"/>
              <a:gd name="connsiteX33" fmla="*/ 434566 w 832919"/>
              <a:gd name="connsiteY33" fmla="*/ 99588 h 872150"/>
              <a:gd name="connsiteX34" fmla="*/ 377228 w 832919"/>
              <a:gd name="connsiteY34" fmla="*/ 63374 h 872150"/>
              <a:gd name="connsiteX35" fmla="*/ 371192 w 832919"/>
              <a:gd name="connsiteY35" fmla="*/ 36213 h 872150"/>
              <a:gd name="connsiteX36" fmla="*/ 371192 w 832919"/>
              <a:gd name="connsiteY36" fmla="*/ 0 h 872150"/>
              <a:gd name="connsiteX37" fmla="*/ 205212 w 832919"/>
              <a:gd name="connsiteY37" fmla="*/ 45267 h 872150"/>
              <a:gd name="connsiteX38" fmla="*/ 0 w 832919"/>
              <a:gd name="connsiteY38" fmla="*/ 87516 h 872150"/>
              <a:gd name="connsiteX0" fmla="*/ 0 w 832919"/>
              <a:gd name="connsiteY0" fmla="*/ 87516 h 872150"/>
              <a:gd name="connsiteX1" fmla="*/ 69410 w 832919"/>
              <a:gd name="connsiteY1" fmla="*/ 262550 h 872150"/>
              <a:gd name="connsiteX2" fmla="*/ 141838 w 832919"/>
              <a:gd name="connsiteY2" fmla="*/ 510011 h 872150"/>
              <a:gd name="connsiteX3" fmla="*/ 187105 w 832919"/>
              <a:gd name="connsiteY3" fmla="*/ 576404 h 872150"/>
              <a:gd name="connsiteX4" fmla="*/ 165980 w 832919"/>
              <a:gd name="connsiteY4" fmla="*/ 618653 h 872150"/>
              <a:gd name="connsiteX5" fmla="*/ 175034 w 832919"/>
              <a:gd name="connsiteY5" fmla="*/ 672974 h 872150"/>
              <a:gd name="connsiteX6" fmla="*/ 184087 w 832919"/>
              <a:gd name="connsiteY6" fmla="*/ 688063 h 872150"/>
              <a:gd name="connsiteX7" fmla="*/ 178051 w 832919"/>
              <a:gd name="connsiteY7" fmla="*/ 733330 h 872150"/>
              <a:gd name="connsiteX8" fmla="*/ 187105 w 832919"/>
              <a:gd name="connsiteY8" fmla="*/ 781615 h 872150"/>
              <a:gd name="connsiteX9" fmla="*/ 172655 w 832919"/>
              <a:gd name="connsiteY9" fmla="*/ 848965 h 872150"/>
              <a:gd name="connsiteX10" fmla="*/ 259533 w 832919"/>
              <a:gd name="connsiteY10" fmla="*/ 872150 h 872150"/>
              <a:gd name="connsiteX11" fmla="*/ 383263 w 832919"/>
              <a:gd name="connsiteY11" fmla="*/ 863097 h 872150"/>
              <a:gd name="connsiteX12" fmla="*/ 652953 w 832919"/>
              <a:gd name="connsiteY12" fmla="*/ 841180 h 872150"/>
              <a:gd name="connsiteX13" fmla="*/ 700135 w 832919"/>
              <a:gd name="connsiteY13" fmla="*/ 851025 h 872150"/>
              <a:gd name="connsiteX14" fmla="*/ 706170 w 832919"/>
              <a:gd name="connsiteY14" fmla="*/ 772562 h 872150"/>
              <a:gd name="connsiteX15" fmla="*/ 724277 w 832919"/>
              <a:gd name="connsiteY15" fmla="*/ 751437 h 872150"/>
              <a:gd name="connsiteX16" fmla="*/ 764958 w 832919"/>
              <a:gd name="connsiteY16" fmla="*/ 776057 h 872150"/>
              <a:gd name="connsiteX17" fmla="*/ 805758 w 832919"/>
              <a:gd name="connsiteY17" fmla="*/ 757473 h 872150"/>
              <a:gd name="connsiteX18" fmla="*/ 784634 w 832919"/>
              <a:gd name="connsiteY18" fmla="*/ 651849 h 872150"/>
              <a:gd name="connsiteX19" fmla="*/ 796705 w 832919"/>
              <a:gd name="connsiteY19" fmla="*/ 642796 h 872150"/>
              <a:gd name="connsiteX20" fmla="*/ 796705 w 832919"/>
              <a:gd name="connsiteY20" fmla="*/ 585457 h 872150"/>
              <a:gd name="connsiteX21" fmla="*/ 817830 w 832919"/>
              <a:gd name="connsiteY21" fmla="*/ 519065 h 872150"/>
              <a:gd name="connsiteX22" fmla="*/ 832919 w 832919"/>
              <a:gd name="connsiteY22" fmla="*/ 464744 h 872150"/>
              <a:gd name="connsiteX23" fmla="*/ 805758 w 832919"/>
              <a:gd name="connsiteY23" fmla="*/ 461726 h 872150"/>
              <a:gd name="connsiteX24" fmla="*/ 793687 w 832919"/>
              <a:gd name="connsiteY24" fmla="*/ 431548 h 872150"/>
              <a:gd name="connsiteX25" fmla="*/ 724277 w 832919"/>
              <a:gd name="connsiteY25" fmla="*/ 359120 h 872150"/>
              <a:gd name="connsiteX26" fmla="*/ 712206 w 832919"/>
              <a:gd name="connsiteY26" fmla="*/ 307817 h 872150"/>
              <a:gd name="connsiteX27" fmla="*/ 636760 w 832919"/>
              <a:gd name="connsiteY27" fmla="*/ 271604 h 872150"/>
              <a:gd name="connsiteX28" fmla="*/ 564333 w 832919"/>
              <a:gd name="connsiteY28" fmla="*/ 196158 h 872150"/>
              <a:gd name="connsiteX29" fmla="*/ 531137 w 832919"/>
              <a:gd name="connsiteY29" fmla="*/ 175033 h 872150"/>
              <a:gd name="connsiteX30" fmla="*/ 488887 w 832919"/>
              <a:gd name="connsiteY30" fmla="*/ 156926 h 872150"/>
              <a:gd name="connsiteX31" fmla="*/ 470780 w 832919"/>
              <a:gd name="connsiteY31" fmla="*/ 150891 h 872150"/>
              <a:gd name="connsiteX32" fmla="*/ 434566 w 832919"/>
              <a:gd name="connsiteY32" fmla="*/ 99588 h 872150"/>
              <a:gd name="connsiteX33" fmla="*/ 377228 w 832919"/>
              <a:gd name="connsiteY33" fmla="*/ 63374 h 872150"/>
              <a:gd name="connsiteX34" fmla="*/ 371192 w 832919"/>
              <a:gd name="connsiteY34" fmla="*/ 36213 h 872150"/>
              <a:gd name="connsiteX35" fmla="*/ 371192 w 832919"/>
              <a:gd name="connsiteY35" fmla="*/ 0 h 872150"/>
              <a:gd name="connsiteX36" fmla="*/ 205212 w 832919"/>
              <a:gd name="connsiteY36" fmla="*/ 45267 h 872150"/>
              <a:gd name="connsiteX37" fmla="*/ 0 w 832919"/>
              <a:gd name="connsiteY37" fmla="*/ 87516 h 872150"/>
              <a:gd name="connsiteX0" fmla="*/ 0 w 825779"/>
              <a:gd name="connsiteY0" fmla="*/ 87516 h 872150"/>
              <a:gd name="connsiteX1" fmla="*/ 69410 w 825779"/>
              <a:gd name="connsiteY1" fmla="*/ 262550 h 872150"/>
              <a:gd name="connsiteX2" fmla="*/ 141838 w 825779"/>
              <a:gd name="connsiteY2" fmla="*/ 510011 h 872150"/>
              <a:gd name="connsiteX3" fmla="*/ 187105 w 825779"/>
              <a:gd name="connsiteY3" fmla="*/ 576404 h 872150"/>
              <a:gd name="connsiteX4" fmla="*/ 165980 w 825779"/>
              <a:gd name="connsiteY4" fmla="*/ 618653 h 872150"/>
              <a:gd name="connsiteX5" fmla="*/ 175034 w 825779"/>
              <a:gd name="connsiteY5" fmla="*/ 672974 h 872150"/>
              <a:gd name="connsiteX6" fmla="*/ 184087 w 825779"/>
              <a:gd name="connsiteY6" fmla="*/ 688063 h 872150"/>
              <a:gd name="connsiteX7" fmla="*/ 178051 w 825779"/>
              <a:gd name="connsiteY7" fmla="*/ 733330 h 872150"/>
              <a:gd name="connsiteX8" fmla="*/ 187105 w 825779"/>
              <a:gd name="connsiteY8" fmla="*/ 781615 h 872150"/>
              <a:gd name="connsiteX9" fmla="*/ 172655 w 825779"/>
              <a:gd name="connsiteY9" fmla="*/ 848965 h 872150"/>
              <a:gd name="connsiteX10" fmla="*/ 259533 w 825779"/>
              <a:gd name="connsiteY10" fmla="*/ 872150 h 872150"/>
              <a:gd name="connsiteX11" fmla="*/ 383263 w 825779"/>
              <a:gd name="connsiteY11" fmla="*/ 863097 h 872150"/>
              <a:gd name="connsiteX12" fmla="*/ 652953 w 825779"/>
              <a:gd name="connsiteY12" fmla="*/ 841180 h 872150"/>
              <a:gd name="connsiteX13" fmla="*/ 700135 w 825779"/>
              <a:gd name="connsiteY13" fmla="*/ 851025 h 872150"/>
              <a:gd name="connsiteX14" fmla="*/ 706170 w 825779"/>
              <a:gd name="connsiteY14" fmla="*/ 772562 h 872150"/>
              <a:gd name="connsiteX15" fmla="*/ 724277 w 825779"/>
              <a:gd name="connsiteY15" fmla="*/ 751437 h 872150"/>
              <a:gd name="connsiteX16" fmla="*/ 764958 w 825779"/>
              <a:gd name="connsiteY16" fmla="*/ 776057 h 872150"/>
              <a:gd name="connsiteX17" fmla="*/ 805758 w 825779"/>
              <a:gd name="connsiteY17" fmla="*/ 757473 h 872150"/>
              <a:gd name="connsiteX18" fmla="*/ 784634 w 825779"/>
              <a:gd name="connsiteY18" fmla="*/ 651849 h 872150"/>
              <a:gd name="connsiteX19" fmla="*/ 796705 w 825779"/>
              <a:gd name="connsiteY19" fmla="*/ 642796 h 872150"/>
              <a:gd name="connsiteX20" fmla="*/ 796705 w 825779"/>
              <a:gd name="connsiteY20" fmla="*/ 585457 h 872150"/>
              <a:gd name="connsiteX21" fmla="*/ 817830 w 825779"/>
              <a:gd name="connsiteY21" fmla="*/ 519065 h 872150"/>
              <a:gd name="connsiteX22" fmla="*/ 825779 w 825779"/>
              <a:gd name="connsiteY22" fmla="*/ 469510 h 872150"/>
              <a:gd name="connsiteX23" fmla="*/ 805758 w 825779"/>
              <a:gd name="connsiteY23" fmla="*/ 461726 h 872150"/>
              <a:gd name="connsiteX24" fmla="*/ 793687 w 825779"/>
              <a:gd name="connsiteY24" fmla="*/ 431548 h 872150"/>
              <a:gd name="connsiteX25" fmla="*/ 724277 w 825779"/>
              <a:gd name="connsiteY25" fmla="*/ 359120 h 872150"/>
              <a:gd name="connsiteX26" fmla="*/ 712206 w 825779"/>
              <a:gd name="connsiteY26" fmla="*/ 307817 h 872150"/>
              <a:gd name="connsiteX27" fmla="*/ 636760 w 825779"/>
              <a:gd name="connsiteY27" fmla="*/ 271604 h 872150"/>
              <a:gd name="connsiteX28" fmla="*/ 564333 w 825779"/>
              <a:gd name="connsiteY28" fmla="*/ 196158 h 872150"/>
              <a:gd name="connsiteX29" fmla="*/ 531137 w 825779"/>
              <a:gd name="connsiteY29" fmla="*/ 175033 h 872150"/>
              <a:gd name="connsiteX30" fmla="*/ 488887 w 825779"/>
              <a:gd name="connsiteY30" fmla="*/ 156926 h 872150"/>
              <a:gd name="connsiteX31" fmla="*/ 470780 w 825779"/>
              <a:gd name="connsiteY31" fmla="*/ 150891 h 872150"/>
              <a:gd name="connsiteX32" fmla="*/ 434566 w 825779"/>
              <a:gd name="connsiteY32" fmla="*/ 99588 h 872150"/>
              <a:gd name="connsiteX33" fmla="*/ 377228 w 825779"/>
              <a:gd name="connsiteY33" fmla="*/ 63374 h 872150"/>
              <a:gd name="connsiteX34" fmla="*/ 371192 w 825779"/>
              <a:gd name="connsiteY34" fmla="*/ 36213 h 872150"/>
              <a:gd name="connsiteX35" fmla="*/ 371192 w 825779"/>
              <a:gd name="connsiteY35" fmla="*/ 0 h 872150"/>
              <a:gd name="connsiteX36" fmla="*/ 205212 w 825779"/>
              <a:gd name="connsiteY36" fmla="*/ 45267 h 872150"/>
              <a:gd name="connsiteX37" fmla="*/ 0 w 825779"/>
              <a:gd name="connsiteY37" fmla="*/ 87516 h 872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25779" h="872150">
                <a:moveTo>
                  <a:pt x="0" y="87516"/>
                </a:moveTo>
                <a:lnTo>
                  <a:pt x="69410" y="262550"/>
                </a:lnTo>
                <a:lnTo>
                  <a:pt x="141838" y="510011"/>
                </a:lnTo>
                <a:lnTo>
                  <a:pt x="187105" y="576404"/>
                </a:lnTo>
                <a:lnTo>
                  <a:pt x="165980" y="618653"/>
                </a:lnTo>
                <a:lnTo>
                  <a:pt x="175034" y="672974"/>
                </a:lnTo>
                <a:lnTo>
                  <a:pt x="184087" y="688063"/>
                </a:lnTo>
                <a:lnTo>
                  <a:pt x="178051" y="733330"/>
                </a:lnTo>
                <a:lnTo>
                  <a:pt x="187105" y="781615"/>
                </a:lnTo>
                <a:lnTo>
                  <a:pt x="172655" y="848965"/>
                </a:lnTo>
                <a:lnTo>
                  <a:pt x="259533" y="872150"/>
                </a:lnTo>
                <a:lnTo>
                  <a:pt x="383263" y="863097"/>
                </a:lnTo>
                <a:lnTo>
                  <a:pt x="652953" y="841180"/>
                </a:lnTo>
                <a:lnTo>
                  <a:pt x="700135" y="851025"/>
                </a:lnTo>
                <a:lnTo>
                  <a:pt x="706170" y="772562"/>
                </a:lnTo>
                <a:lnTo>
                  <a:pt x="724277" y="751437"/>
                </a:lnTo>
                <a:lnTo>
                  <a:pt x="764958" y="776057"/>
                </a:lnTo>
                <a:lnTo>
                  <a:pt x="805758" y="757473"/>
                </a:lnTo>
                <a:lnTo>
                  <a:pt x="784634" y="651849"/>
                </a:lnTo>
                <a:lnTo>
                  <a:pt x="796705" y="642796"/>
                </a:lnTo>
                <a:lnTo>
                  <a:pt x="796705" y="585457"/>
                </a:lnTo>
                <a:lnTo>
                  <a:pt x="817830" y="519065"/>
                </a:lnTo>
                <a:lnTo>
                  <a:pt x="825779" y="469510"/>
                </a:lnTo>
                <a:lnTo>
                  <a:pt x="805758" y="461726"/>
                </a:lnTo>
                <a:lnTo>
                  <a:pt x="793687" y="431548"/>
                </a:lnTo>
                <a:lnTo>
                  <a:pt x="724277" y="359120"/>
                </a:lnTo>
                <a:lnTo>
                  <a:pt x="712206" y="307817"/>
                </a:lnTo>
                <a:lnTo>
                  <a:pt x="636760" y="271604"/>
                </a:lnTo>
                <a:lnTo>
                  <a:pt x="564333" y="196158"/>
                </a:lnTo>
                <a:lnTo>
                  <a:pt x="531137" y="175033"/>
                </a:lnTo>
                <a:lnTo>
                  <a:pt x="488887" y="156926"/>
                </a:lnTo>
                <a:lnTo>
                  <a:pt x="470780" y="150891"/>
                </a:lnTo>
                <a:lnTo>
                  <a:pt x="434566" y="99588"/>
                </a:lnTo>
                <a:lnTo>
                  <a:pt x="377228" y="63374"/>
                </a:lnTo>
                <a:lnTo>
                  <a:pt x="371192" y="36213"/>
                </a:lnTo>
                <a:lnTo>
                  <a:pt x="371192" y="0"/>
                </a:lnTo>
                <a:lnTo>
                  <a:pt x="205212" y="45267"/>
                </a:lnTo>
                <a:lnTo>
                  <a:pt x="0" y="87516"/>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28" name="Freeform 27"/>
          <p:cNvSpPr/>
          <p:nvPr/>
        </p:nvSpPr>
        <p:spPr>
          <a:xfrm>
            <a:off x="6876392" y="4192293"/>
            <a:ext cx="734834" cy="566507"/>
          </a:xfrm>
          <a:custGeom>
            <a:avLst/>
            <a:gdLst>
              <a:gd name="connsiteX0" fmla="*/ 0 w 760491"/>
              <a:gd name="connsiteY0" fmla="*/ 111659 h 585457"/>
              <a:gd name="connsiteX1" fmla="*/ 9054 w 760491"/>
              <a:gd name="connsiteY1" fmla="*/ 184087 h 585457"/>
              <a:gd name="connsiteX2" fmla="*/ 57339 w 760491"/>
              <a:gd name="connsiteY2" fmla="*/ 217283 h 585457"/>
              <a:gd name="connsiteX3" fmla="*/ 99588 w 760491"/>
              <a:gd name="connsiteY3" fmla="*/ 277639 h 585457"/>
              <a:gd name="connsiteX4" fmla="*/ 190123 w 760491"/>
              <a:gd name="connsiteY4" fmla="*/ 307817 h 585457"/>
              <a:gd name="connsiteX5" fmla="*/ 262551 w 760491"/>
              <a:gd name="connsiteY5" fmla="*/ 395334 h 585457"/>
              <a:gd name="connsiteX6" fmla="*/ 344032 w 760491"/>
              <a:gd name="connsiteY6" fmla="*/ 422495 h 585457"/>
              <a:gd name="connsiteX7" fmla="*/ 359121 w 760491"/>
              <a:gd name="connsiteY7" fmla="*/ 491904 h 585457"/>
              <a:gd name="connsiteX8" fmla="*/ 434566 w 760491"/>
              <a:gd name="connsiteY8" fmla="*/ 576403 h 585457"/>
              <a:gd name="connsiteX9" fmla="*/ 455691 w 760491"/>
              <a:gd name="connsiteY9" fmla="*/ 585457 h 585457"/>
              <a:gd name="connsiteX10" fmla="*/ 473798 w 760491"/>
              <a:gd name="connsiteY10" fmla="*/ 540190 h 585457"/>
              <a:gd name="connsiteX11" fmla="*/ 470780 w 760491"/>
              <a:gd name="connsiteY11" fmla="*/ 500958 h 585457"/>
              <a:gd name="connsiteX12" fmla="*/ 500958 w 760491"/>
              <a:gd name="connsiteY12" fmla="*/ 513029 h 585457"/>
              <a:gd name="connsiteX13" fmla="*/ 510012 w 760491"/>
              <a:gd name="connsiteY13" fmla="*/ 473798 h 585457"/>
              <a:gd name="connsiteX14" fmla="*/ 546226 w 760491"/>
              <a:gd name="connsiteY14" fmla="*/ 470780 h 585457"/>
              <a:gd name="connsiteX15" fmla="*/ 594511 w 760491"/>
              <a:gd name="connsiteY15" fmla="*/ 425512 h 585457"/>
              <a:gd name="connsiteX16" fmla="*/ 609600 w 760491"/>
              <a:gd name="connsiteY16" fmla="*/ 374209 h 585457"/>
              <a:gd name="connsiteX17" fmla="*/ 639778 w 760491"/>
              <a:gd name="connsiteY17" fmla="*/ 362138 h 585457"/>
              <a:gd name="connsiteX18" fmla="*/ 651850 w 760491"/>
              <a:gd name="connsiteY18" fmla="*/ 331960 h 585457"/>
              <a:gd name="connsiteX19" fmla="*/ 672974 w 760491"/>
              <a:gd name="connsiteY19" fmla="*/ 271603 h 585457"/>
              <a:gd name="connsiteX20" fmla="*/ 709188 w 760491"/>
              <a:gd name="connsiteY20" fmla="*/ 256514 h 585457"/>
              <a:gd name="connsiteX21" fmla="*/ 733331 w 760491"/>
              <a:gd name="connsiteY21" fmla="*/ 193140 h 585457"/>
              <a:gd name="connsiteX22" fmla="*/ 760491 w 760491"/>
              <a:gd name="connsiteY22" fmla="*/ 135801 h 585457"/>
              <a:gd name="connsiteX23" fmla="*/ 564333 w 760491"/>
              <a:gd name="connsiteY23" fmla="*/ 0 h 585457"/>
              <a:gd name="connsiteX24" fmla="*/ 416459 w 760491"/>
              <a:gd name="connsiteY24" fmla="*/ 45267 h 585457"/>
              <a:gd name="connsiteX25" fmla="*/ 386281 w 760491"/>
              <a:gd name="connsiteY25" fmla="*/ 51302 h 585457"/>
              <a:gd name="connsiteX26" fmla="*/ 377228 w 760491"/>
              <a:gd name="connsiteY26" fmla="*/ 48285 h 585457"/>
              <a:gd name="connsiteX27" fmla="*/ 347050 w 760491"/>
              <a:gd name="connsiteY27" fmla="*/ 24142 h 585457"/>
              <a:gd name="connsiteX28" fmla="*/ 322907 w 760491"/>
              <a:gd name="connsiteY28" fmla="*/ 12071 h 585457"/>
              <a:gd name="connsiteX29" fmla="*/ 280657 w 760491"/>
              <a:gd name="connsiteY29" fmla="*/ 18106 h 585457"/>
              <a:gd name="connsiteX30" fmla="*/ 229354 w 760491"/>
              <a:gd name="connsiteY30" fmla="*/ 27160 h 585457"/>
              <a:gd name="connsiteX31" fmla="*/ 187105 w 760491"/>
              <a:gd name="connsiteY31" fmla="*/ 27160 h 585457"/>
              <a:gd name="connsiteX32" fmla="*/ 147873 w 760491"/>
              <a:gd name="connsiteY32" fmla="*/ 45267 h 585457"/>
              <a:gd name="connsiteX33" fmla="*/ 0 w 760491"/>
              <a:gd name="connsiteY33" fmla="*/ 111659 h 585457"/>
              <a:gd name="connsiteX0" fmla="*/ 0 w 760491"/>
              <a:gd name="connsiteY0" fmla="*/ 111659 h 585457"/>
              <a:gd name="connsiteX1" fmla="*/ 1909 w 760491"/>
              <a:gd name="connsiteY1" fmla="*/ 184087 h 585457"/>
              <a:gd name="connsiteX2" fmla="*/ 57339 w 760491"/>
              <a:gd name="connsiteY2" fmla="*/ 217283 h 585457"/>
              <a:gd name="connsiteX3" fmla="*/ 99588 w 760491"/>
              <a:gd name="connsiteY3" fmla="*/ 277639 h 585457"/>
              <a:gd name="connsiteX4" fmla="*/ 190123 w 760491"/>
              <a:gd name="connsiteY4" fmla="*/ 307817 h 585457"/>
              <a:gd name="connsiteX5" fmla="*/ 262551 w 760491"/>
              <a:gd name="connsiteY5" fmla="*/ 395334 h 585457"/>
              <a:gd name="connsiteX6" fmla="*/ 344032 w 760491"/>
              <a:gd name="connsiteY6" fmla="*/ 422495 h 585457"/>
              <a:gd name="connsiteX7" fmla="*/ 359121 w 760491"/>
              <a:gd name="connsiteY7" fmla="*/ 491904 h 585457"/>
              <a:gd name="connsiteX8" fmla="*/ 434566 w 760491"/>
              <a:gd name="connsiteY8" fmla="*/ 576403 h 585457"/>
              <a:gd name="connsiteX9" fmla="*/ 455691 w 760491"/>
              <a:gd name="connsiteY9" fmla="*/ 585457 h 585457"/>
              <a:gd name="connsiteX10" fmla="*/ 473798 w 760491"/>
              <a:gd name="connsiteY10" fmla="*/ 540190 h 585457"/>
              <a:gd name="connsiteX11" fmla="*/ 470780 w 760491"/>
              <a:gd name="connsiteY11" fmla="*/ 500958 h 585457"/>
              <a:gd name="connsiteX12" fmla="*/ 500958 w 760491"/>
              <a:gd name="connsiteY12" fmla="*/ 513029 h 585457"/>
              <a:gd name="connsiteX13" fmla="*/ 510012 w 760491"/>
              <a:gd name="connsiteY13" fmla="*/ 473798 h 585457"/>
              <a:gd name="connsiteX14" fmla="*/ 546226 w 760491"/>
              <a:gd name="connsiteY14" fmla="*/ 470780 h 585457"/>
              <a:gd name="connsiteX15" fmla="*/ 594511 w 760491"/>
              <a:gd name="connsiteY15" fmla="*/ 425512 h 585457"/>
              <a:gd name="connsiteX16" fmla="*/ 609600 w 760491"/>
              <a:gd name="connsiteY16" fmla="*/ 374209 h 585457"/>
              <a:gd name="connsiteX17" fmla="*/ 639778 w 760491"/>
              <a:gd name="connsiteY17" fmla="*/ 362138 h 585457"/>
              <a:gd name="connsiteX18" fmla="*/ 651850 w 760491"/>
              <a:gd name="connsiteY18" fmla="*/ 331960 h 585457"/>
              <a:gd name="connsiteX19" fmla="*/ 672974 w 760491"/>
              <a:gd name="connsiteY19" fmla="*/ 271603 h 585457"/>
              <a:gd name="connsiteX20" fmla="*/ 709188 w 760491"/>
              <a:gd name="connsiteY20" fmla="*/ 256514 h 585457"/>
              <a:gd name="connsiteX21" fmla="*/ 733331 w 760491"/>
              <a:gd name="connsiteY21" fmla="*/ 193140 h 585457"/>
              <a:gd name="connsiteX22" fmla="*/ 760491 w 760491"/>
              <a:gd name="connsiteY22" fmla="*/ 135801 h 585457"/>
              <a:gd name="connsiteX23" fmla="*/ 564333 w 760491"/>
              <a:gd name="connsiteY23" fmla="*/ 0 h 585457"/>
              <a:gd name="connsiteX24" fmla="*/ 416459 w 760491"/>
              <a:gd name="connsiteY24" fmla="*/ 45267 h 585457"/>
              <a:gd name="connsiteX25" fmla="*/ 386281 w 760491"/>
              <a:gd name="connsiteY25" fmla="*/ 51302 h 585457"/>
              <a:gd name="connsiteX26" fmla="*/ 377228 w 760491"/>
              <a:gd name="connsiteY26" fmla="*/ 48285 h 585457"/>
              <a:gd name="connsiteX27" fmla="*/ 347050 w 760491"/>
              <a:gd name="connsiteY27" fmla="*/ 24142 h 585457"/>
              <a:gd name="connsiteX28" fmla="*/ 322907 w 760491"/>
              <a:gd name="connsiteY28" fmla="*/ 12071 h 585457"/>
              <a:gd name="connsiteX29" fmla="*/ 280657 w 760491"/>
              <a:gd name="connsiteY29" fmla="*/ 18106 h 585457"/>
              <a:gd name="connsiteX30" fmla="*/ 229354 w 760491"/>
              <a:gd name="connsiteY30" fmla="*/ 27160 h 585457"/>
              <a:gd name="connsiteX31" fmla="*/ 187105 w 760491"/>
              <a:gd name="connsiteY31" fmla="*/ 27160 h 585457"/>
              <a:gd name="connsiteX32" fmla="*/ 147873 w 760491"/>
              <a:gd name="connsiteY32" fmla="*/ 45267 h 585457"/>
              <a:gd name="connsiteX33" fmla="*/ 0 w 760491"/>
              <a:gd name="connsiteY33" fmla="*/ 111659 h 585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0491" h="585457">
                <a:moveTo>
                  <a:pt x="0" y="111659"/>
                </a:moveTo>
                <a:cubicBezTo>
                  <a:pt x="636" y="135802"/>
                  <a:pt x="1273" y="159944"/>
                  <a:pt x="1909" y="184087"/>
                </a:cubicBezTo>
                <a:lnTo>
                  <a:pt x="57339" y="217283"/>
                </a:lnTo>
                <a:lnTo>
                  <a:pt x="99588" y="277639"/>
                </a:lnTo>
                <a:lnTo>
                  <a:pt x="190123" y="307817"/>
                </a:lnTo>
                <a:lnTo>
                  <a:pt x="262551" y="395334"/>
                </a:lnTo>
                <a:lnTo>
                  <a:pt x="344032" y="422495"/>
                </a:lnTo>
                <a:lnTo>
                  <a:pt x="359121" y="491904"/>
                </a:lnTo>
                <a:lnTo>
                  <a:pt x="434566" y="576403"/>
                </a:lnTo>
                <a:lnTo>
                  <a:pt x="455691" y="585457"/>
                </a:lnTo>
                <a:lnTo>
                  <a:pt x="473798" y="540190"/>
                </a:lnTo>
                <a:lnTo>
                  <a:pt x="470780" y="500958"/>
                </a:lnTo>
                <a:lnTo>
                  <a:pt x="500958" y="513029"/>
                </a:lnTo>
                <a:lnTo>
                  <a:pt x="510012" y="473798"/>
                </a:lnTo>
                <a:lnTo>
                  <a:pt x="546226" y="470780"/>
                </a:lnTo>
                <a:lnTo>
                  <a:pt x="594511" y="425512"/>
                </a:lnTo>
                <a:lnTo>
                  <a:pt x="609600" y="374209"/>
                </a:lnTo>
                <a:lnTo>
                  <a:pt x="639778" y="362138"/>
                </a:lnTo>
                <a:lnTo>
                  <a:pt x="651850" y="331960"/>
                </a:lnTo>
                <a:lnTo>
                  <a:pt x="672974" y="271603"/>
                </a:lnTo>
                <a:lnTo>
                  <a:pt x="709188" y="256514"/>
                </a:lnTo>
                <a:lnTo>
                  <a:pt x="733331" y="193140"/>
                </a:lnTo>
                <a:lnTo>
                  <a:pt x="760491" y="135801"/>
                </a:lnTo>
                <a:lnTo>
                  <a:pt x="564333" y="0"/>
                </a:lnTo>
                <a:lnTo>
                  <a:pt x="416459" y="45267"/>
                </a:lnTo>
                <a:lnTo>
                  <a:pt x="386281" y="51302"/>
                </a:lnTo>
                <a:lnTo>
                  <a:pt x="377228" y="48285"/>
                </a:lnTo>
                <a:lnTo>
                  <a:pt x="347050" y="24142"/>
                </a:lnTo>
                <a:lnTo>
                  <a:pt x="322907" y="12071"/>
                </a:lnTo>
                <a:lnTo>
                  <a:pt x="280657" y="18106"/>
                </a:lnTo>
                <a:lnTo>
                  <a:pt x="229354" y="27160"/>
                </a:lnTo>
                <a:lnTo>
                  <a:pt x="187105" y="27160"/>
                </a:lnTo>
                <a:lnTo>
                  <a:pt x="147873" y="45267"/>
                </a:lnTo>
                <a:lnTo>
                  <a:pt x="0" y="111659"/>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29" name="Freeform 28"/>
          <p:cNvSpPr/>
          <p:nvPr/>
        </p:nvSpPr>
        <p:spPr>
          <a:xfrm>
            <a:off x="5943659" y="3594999"/>
            <a:ext cx="997166" cy="594217"/>
          </a:xfrm>
          <a:custGeom>
            <a:avLst/>
            <a:gdLst>
              <a:gd name="connsiteX0" fmla="*/ 132784 w 1023042"/>
              <a:gd name="connsiteY0" fmla="*/ 350067 h 612618"/>
              <a:gd name="connsiteX1" fmla="*/ 141838 w 1023042"/>
              <a:gd name="connsiteY1" fmla="*/ 425513 h 612618"/>
              <a:gd name="connsiteX2" fmla="*/ 93553 w 1023042"/>
              <a:gd name="connsiteY2" fmla="*/ 452673 h 612618"/>
              <a:gd name="connsiteX3" fmla="*/ 90535 w 1023042"/>
              <a:gd name="connsiteY3" fmla="*/ 488887 h 612618"/>
              <a:gd name="connsiteX4" fmla="*/ 90535 w 1023042"/>
              <a:gd name="connsiteY4" fmla="*/ 503976 h 612618"/>
              <a:gd name="connsiteX5" fmla="*/ 0 w 1023042"/>
              <a:gd name="connsiteY5" fmla="*/ 482851 h 612618"/>
              <a:gd name="connsiteX6" fmla="*/ 0 w 1023042"/>
              <a:gd name="connsiteY6" fmla="*/ 570368 h 612618"/>
              <a:gd name="connsiteX7" fmla="*/ 15089 w 1023042"/>
              <a:gd name="connsiteY7" fmla="*/ 612618 h 612618"/>
              <a:gd name="connsiteX8" fmla="*/ 75446 w 1023042"/>
              <a:gd name="connsiteY8" fmla="*/ 609600 h 612618"/>
              <a:gd name="connsiteX9" fmla="*/ 135802 w 1023042"/>
              <a:gd name="connsiteY9" fmla="*/ 597529 h 612618"/>
              <a:gd name="connsiteX10" fmla="*/ 208230 w 1023042"/>
              <a:gd name="connsiteY10" fmla="*/ 564333 h 612618"/>
              <a:gd name="connsiteX11" fmla="*/ 310836 w 1023042"/>
              <a:gd name="connsiteY11" fmla="*/ 549243 h 612618"/>
              <a:gd name="connsiteX12" fmla="*/ 449656 w 1023042"/>
              <a:gd name="connsiteY12" fmla="*/ 522083 h 612618"/>
              <a:gd name="connsiteX13" fmla="*/ 624689 w 1023042"/>
              <a:gd name="connsiteY13" fmla="*/ 488887 h 612618"/>
              <a:gd name="connsiteX14" fmla="*/ 781616 w 1023042"/>
              <a:gd name="connsiteY14" fmla="*/ 464744 h 612618"/>
              <a:gd name="connsiteX15" fmla="*/ 841972 w 1023042"/>
              <a:gd name="connsiteY15" fmla="*/ 446637 h 612618"/>
              <a:gd name="connsiteX16" fmla="*/ 881204 w 1023042"/>
              <a:gd name="connsiteY16" fmla="*/ 404388 h 612618"/>
              <a:gd name="connsiteX17" fmla="*/ 941560 w 1023042"/>
              <a:gd name="connsiteY17" fmla="*/ 356103 h 612618"/>
              <a:gd name="connsiteX18" fmla="*/ 962685 w 1023042"/>
              <a:gd name="connsiteY18" fmla="*/ 301782 h 612618"/>
              <a:gd name="connsiteX19" fmla="*/ 989846 w 1023042"/>
              <a:gd name="connsiteY19" fmla="*/ 274622 h 612618"/>
              <a:gd name="connsiteX20" fmla="*/ 1023042 w 1023042"/>
              <a:gd name="connsiteY20" fmla="*/ 241426 h 612618"/>
              <a:gd name="connsiteX21" fmla="*/ 1010970 w 1023042"/>
              <a:gd name="connsiteY21" fmla="*/ 190123 h 612618"/>
              <a:gd name="connsiteX22" fmla="*/ 959667 w 1023042"/>
              <a:gd name="connsiteY22" fmla="*/ 156927 h 612618"/>
              <a:gd name="connsiteX23" fmla="*/ 932507 w 1023042"/>
              <a:gd name="connsiteY23" fmla="*/ 57338 h 612618"/>
              <a:gd name="connsiteX24" fmla="*/ 917418 w 1023042"/>
              <a:gd name="connsiteY24" fmla="*/ 54321 h 612618"/>
              <a:gd name="connsiteX25" fmla="*/ 899311 w 1023042"/>
              <a:gd name="connsiteY25" fmla="*/ 33196 h 612618"/>
              <a:gd name="connsiteX26" fmla="*/ 878186 w 1023042"/>
              <a:gd name="connsiteY26" fmla="*/ 27160 h 612618"/>
              <a:gd name="connsiteX27" fmla="*/ 860079 w 1023042"/>
              <a:gd name="connsiteY27" fmla="*/ 0 h 612618"/>
              <a:gd name="connsiteX28" fmla="*/ 817830 w 1023042"/>
              <a:gd name="connsiteY28" fmla="*/ 21125 h 612618"/>
              <a:gd name="connsiteX29" fmla="*/ 754456 w 1023042"/>
              <a:gd name="connsiteY29" fmla="*/ 30178 h 612618"/>
              <a:gd name="connsiteX30" fmla="*/ 715224 w 1023042"/>
              <a:gd name="connsiteY30" fmla="*/ 30178 h 612618"/>
              <a:gd name="connsiteX31" fmla="*/ 654867 w 1023042"/>
              <a:gd name="connsiteY31" fmla="*/ 36214 h 612618"/>
              <a:gd name="connsiteX32" fmla="*/ 618654 w 1023042"/>
              <a:gd name="connsiteY32" fmla="*/ 18107 h 612618"/>
              <a:gd name="connsiteX33" fmla="*/ 582440 w 1023042"/>
              <a:gd name="connsiteY33" fmla="*/ 6036 h 612618"/>
              <a:gd name="connsiteX34" fmla="*/ 561315 w 1023042"/>
              <a:gd name="connsiteY34" fmla="*/ 27160 h 612618"/>
              <a:gd name="connsiteX35" fmla="*/ 588475 w 1023042"/>
              <a:gd name="connsiteY35" fmla="*/ 60356 h 612618"/>
              <a:gd name="connsiteX36" fmla="*/ 591493 w 1023042"/>
              <a:gd name="connsiteY36" fmla="*/ 84499 h 612618"/>
              <a:gd name="connsiteX37" fmla="*/ 546226 w 1023042"/>
              <a:gd name="connsiteY37" fmla="*/ 96570 h 612618"/>
              <a:gd name="connsiteX38" fmla="*/ 513030 w 1023042"/>
              <a:gd name="connsiteY38" fmla="*/ 108641 h 612618"/>
              <a:gd name="connsiteX39" fmla="*/ 473798 w 1023042"/>
              <a:gd name="connsiteY39" fmla="*/ 117695 h 612618"/>
              <a:gd name="connsiteX40" fmla="*/ 473798 w 1023042"/>
              <a:gd name="connsiteY40" fmla="*/ 181069 h 612618"/>
              <a:gd name="connsiteX41" fmla="*/ 437584 w 1023042"/>
              <a:gd name="connsiteY41" fmla="*/ 214265 h 612618"/>
              <a:gd name="connsiteX42" fmla="*/ 416459 w 1023042"/>
              <a:gd name="connsiteY42" fmla="*/ 247461 h 612618"/>
              <a:gd name="connsiteX43" fmla="*/ 392317 w 1023042"/>
              <a:gd name="connsiteY43" fmla="*/ 259533 h 612618"/>
              <a:gd name="connsiteX44" fmla="*/ 365157 w 1023042"/>
              <a:gd name="connsiteY44" fmla="*/ 235390 h 612618"/>
              <a:gd name="connsiteX45" fmla="*/ 356103 w 1023042"/>
              <a:gd name="connsiteY45" fmla="*/ 253497 h 612618"/>
              <a:gd name="connsiteX46" fmla="*/ 356103 w 1023042"/>
              <a:gd name="connsiteY46" fmla="*/ 277639 h 612618"/>
              <a:gd name="connsiteX47" fmla="*/ 356103 w 1023042"/>
              <a:gd name="connsiteY47" fmla="*/ 298764 h 612618"/>
              <a:gd name="connsiteX48" fmla="*/ 334978 w 1023042"/>
              <a:gd name="connsiteY48" fmla="*/ 286693 h 612618"/>
              <a:gd name="connsiteX49" fmla="*/ 316871 w 1023042"/>
              <a:gd name="connsiteY49" fmla="*/ 283675 h 612618"/>
              <a:gd name="connsiteX50" fmla="*/ 277640 w 1023042"/>
              <a:gd name="connsiteY50" fmla="*/ 316871 h 612618"/>
              <a:gd name="connsiteX51" fmla="*/ 262551 w 1023042"/>
              <a:gd name="connsiteY51" fmla="*/ 328942 h 612618"/>
              <a:gd name="connsiteX52" fmla="*/ 229355 w 1023042"/>
              <a:gd name="connsiteY52" fmla="*/ 334978 h 612618"/>
              <a:gd name="connsiteX53" fmla="*/ 211248 w 1023042"/>
              <a:gd name="connsiteY53" fmla="*/ 316871 h 612618"/>
              <a:gd name="connsiteX54" fmla="*/ 196158 w 1023042"/>
              <a:gd name="connsiteY54" fmla="*/ 310836 h 612618"/>
              <a:gd name="connsiteX55" fmla="*/ 132784 w 1023042"/>
              <a:gd name="connsiteY55" fmla="*/ 350067 h 612618"/>
              <a:gd name="connsiteX0" fmla="*/ 132784 w 1023042"/>
              <a:gd name="connsiteY0" fmla="*/ 350067 h 612618"/>
              <a:gd name="connsiteX1" fmla="*/ 141838 w 1023042"/>
              <a:gd name="connsiteY1" fmla="*/ 425513 h 612618"/>
              <a:gd name="connsiteX2" fmla="*/ 93553 w 1023042"/>
              <a:gd name="connsiteY2" fmla="*/ 452673 h 612618"/>
              <a:gd name="connsiteX3" fmla="*/ 90535 w 1023042"/>
              <a:gd name="connsiteY3" fmla="*/ 488887 h 612618"/>
              <a:gd name="connsiteX4" fmla="*/ 90535 w 1023042"/>
              <a:gd name="connsiteY4" fmla="*/ 503976 h 612618"/>
              <a:gd name="connsiteX5" fmla="*/ 0 w 1023042"/>
              <a:gd name="connsiteY5" fmla="*/ 482851 h 612618"/>
              <a:gd name="connsiteX6" fmla="*/ 0 w 1023042"/>
              <a:gd name="connsiteY6" fmla="*/ 570368 h 612618"/>
              <a:gd name="connsiteX7" fmla="*/ 15089 w 1023042"/>
              <a:gd name="connsiteY7" fmla="*/ 612618 h 612618"/>
              <a:gd name="connsiteX8" fmla="*/ 75446 w 1023042"/>
              <a:gd name="connsiteY8" fmla="*/ 609600 h 612618"/>
              <a:gd name="connsiteX9" fmla="*/ 135802 w 1023042"/>
              <a:gd name="connsiteY9" fmla="*/ 597529 h 612618"/>
              <a:gd name="connsiteX10" fmla="*/ 208230 w 1023042"/>
              <a:gd name="connsiteY10" fmla="*/ 564333 h 612618"/>
              <a:gd name="connsiteX11" fmla="*/ 310836 w 1023042"/>
              <a:gd name="connsiteY11" fmla="*/ 549243 h 612618"/>
              <a:gd name="connsiteX12" fmla="*/ 449656 w 1023042"/>
              <a:gd name="connsiteY12" fmla="*/ 522083 h 612618"/>
              <a:gd name="connsiteX13" fmla="*/ 624689 w 1023042"/>
              <a:gd name="connsiteY13" fmla="*/ 488887 h 612618"/>
              <a:gd name="connsiteX14" fmla="*/ 781616 w 1023042"/>
              <a:gd name="connsiteY14" fmla="*/ 464744 h 612618"/>
              <a:gd name="connsiteX15" fmla="*/ 841972 w 1023042"/>
              <a:gd name="connsiteY15" fmla="*/ 446637 h 612618"/>
              <a:gd name="connsiteX16" fmla="*/ 919330 w 1023042"/>
              <a:gd name="connsiteY16" fmla="*/ 406769 h 612618"/>
              <a:gd name="connsiteX17" fmla="*/ 941560 w 1023042"/>
              <a:gd name="connsiteY17" fmla="*/ 356103 h 612618"/>
              <a:gd name="connsiteX18" fmla="*/ 962685 w 1023042"/>
              <a:gd name="connsiteY18" fmla="*/ 301782 h 612618"/>
              <a:gd name="connsiteX19" fmla="*/ 989846 w 1023042"/>
              <a:gd name="connsiteY19" fmla="*/ 274622 h 612618"/>
              <a:gd name="connsiteX20" fmla="*/ 1023042 w 1023042"/>
              <a:gd name="connsiteY20" fmla="*/ 241426 h 612618"/>
              <a:gd name="connsiteX21" fmla="*/ 1010970 w 1023042"/>
              <a:gd name="connsiteY21" fmla="*/ 190123 h 612618"/>
              <a:gd name="connsiteX22" fmla="*/ 959667 w 1023042"/>
              <a:gd name="connsiteY22" fmla="*/ 156927 h 612618"/>
              <a:gd name="connsiteX23" fmla="*/ 932507 w 1023042"/>
              <a:gd name="connsiteY23" fmla="*/ 57338 h 612618"/>
              <a:gd name="connsiteX24" fmla="*/ 917418 w 1023042"/>
              <a:gd name="connsiteY24" fmla="*/ 54321 h 612618"/>
              <a:gd name="connsiteX25" fmla="*/ 899311 w 1023042"/>
              <a:gd name="connsiteY25" fmla="*/ 33196 h 612618"/>
              <a:gd name="connsiteX26" fmla="*/ 878186 w 1023042"/>
              <a:gd name="connsiteY26" fmla="*/ 27160 h 612618"/>
              <a:gd name="connsiteX27" fmla="*/ 860079 w 1023042"/>
              <a:gd name="connsiteY27" fmla="*/ 0 h 612618"/>
              <a:gd name="connsiteX28" fmla="*/ 817830 w 1023042"/>
              <a:gd name="connsiteY28" fmla="*/ 21125 h 612618"/>
              <a:gd name="connsiteX29" fmla="*/ 754456 w 1023042"/>
              <a:gd name="connsiteY29" fmla="*/ 30178 h 612618"/>
              <a:gd name="connsiteX30" fmla="*/ 715224 w 1023042"/>
              <a:gd name="connsiteY30" fmla="*/ 30178 h 612618"/>
              <a:gd name="connsiteX31" fmla="*/ 654867 w 1023042"/>
              <a:gd name="connsiteY31" fmla="*/ 36214 h 612618"/>
              <a:gd name="connsiteX32" fmla="*/ 618654 w 1023042"/>
              <a:gd name="connsiteY32" fmla="*/ 18107 h 612618"/>
              <a:gd name="connsiteX33" fmla="*/ 582440 w 1023042"/>
              <a:gd name="connsiteY33" fmla="*/ 6036 h 612618"/>
              <a:gd name="connsiteX34" fmla="*/ 561315 w 1023042"/>
              <a:gd name="connsiteY34" fmla="*/ 27160 h 612618"/>
              <a:gd name="connsiteX35" fmla="*/ 588475 w 1023042"/>
              <a:gd name="connsiteY35" fmla="*/ 60356 h 612618"/>
              <a:gd name="connsiteX36" fmla="*/ 591493 w 1023042"/>
              <a:gd name="connsiteY36" fmla="*/ 84499 h 612618"/>
              <a:gd name="connsiteX37" fmla="*/ 546226 w 1023042"/>
              <a:gd name="connsiteY37" fmla="*/ 96570 h 612618"/>
              <a:gd name="connsiteX38" fmla="*/ 513030 w 1023042"/>
              <a:gd name="connsiteY38" fmla="*/ 108641 h 612618"/>
              <a:gd name="connsiteX39" fmla="*/ 473798 w 1023042"/>
              <a:gd name="connsiteY39" fmla="*/ 117695 h 612618"/>
              <a:gd name="connsiteX40" fmla="*/ 473798 w 1023042"/>
              <a:gd name="connsiteY40" fmla="*/ 181069 h 612618"/>
              <a:gd name="connsiteX41" fmla="*/ 437584 w 1023042"/>
              <a:gd name="connsiteY41" fmla="*/ 214265 h 612618"/>
              <a:gd name="connsiteX42" fmla="*/ 416459 w 1023042"/>
              <a:gd name="connsiteY42" fmla="*/ 247461 h 612618"/>
              <a:gd name="connsiteX43" fmla="*/ 392317 w 1023042"/>
              <a:gd name="connsiteY43" fmla="*/ 259533 h 612618"/>
              <a:gd name="connsiteX44" fmla="*/ 365157 w 1023042"/>
              <a:gd name="connsiteY44" fmla="*/ 235390 h 612618"/>
              <a:gd name="connsiteX45" fmla="*/ 356103 w 1023042"/>
              <a:gd name="connsiteY45" fmla="*/ 253497 h 612618"/>
              <a:gd name="connsiteX46" fmla="*/ 356103 w 1023042"/>
              <a:gd name="connsiteY46" fmla="*/ 277639 h 612618"/>
              <a:gd name="connsiteX47" fmla="*/ 356103 w 1023042"/>
              <a:gd name="connsiteY47" fmla="*/ 298764 h 612618"/>
              <a:gd name="connsiteX48" fmla="*/ 334978 w 1023042"/>
              <a:gd name="connsiteY48" fmla="*/ 286693 h 612618"/>
              <a:gd name="connsiteX49" fmla="*/ 316871 w 1023042"/>
              <a:gd name="connsiteY49" fmla="*/ 283675 h 612618"/>
              <a:gd name="connsiteX50" fmla="*/ 277640 w 1023042"/>
              <a:gd name="connsiteY50" fmla="*/ 316871 h 612618"/>
              <a:gd name="connsiteX51" fmla="*/ 262551 w 1023042"/>
              <a:gd name="connsiteY51" fmla="*/ 328942 h 612618"/>
              <a:gd name="connsiteX52" fmla="*/ 229355 w 1023042"/>
              <a:gd name="connsiteY52" fmla="*/ 334978 h 612618"/>
              <a:gd name="connsiteX53" fmla="*/ 211248 w 1023042"/>
              <a:gd name="connsiteY53" fmla="*/ 316871 h 612618"/>
              <a:gd name="connsiteX54" fmla="*/ 196158 w 1023042"/>
              <a:gd name="connsiteY54" fmla="*/ 310836 h 612618"/>
              <a:gd name="connsiteX55" fmla="*/ 132784 w 1023042"/>
              <a:gd name="connsiteY55" fmla="*/ 350067 h 612618"/>
              <a:gd name="connsiteX0" fmla="*/ 132784 w 1023042"/>
              <a:gd name="connsiteY0" fmla="*/ 350067 h 612618"/>
              <a:gd name="connsiteX1" fmla="*/ 141838 w 1023042"/>
              <a:gd name="connsiteY1" fmla="*/ 425513 h 612618"/>
              <a:gd name="connsiteX2" fmla="*/ 93553 w 1023042"/>
              <a:gd name="connsiteY2" fmla="*/ 452673 h 612618"/>
              <a:gd name="connsiteX3" fmla="*/ 90535 w 1023042"/>
              <a:gd name="connsiteY3" fmla="*/ 488887 h 612618"/>
              <a:gd name="connsiteX4" fmla="*/ 90535 w 1023042"/>
              <a:gd name="connsiteY4" fmla="*/ 503976 h 612618"/>
              <a:gd name="connsiteX5" fmla="*/ 0 w 1023042"/>
              <a:gd name="connsiteY5" fmla="*/ 482851 h 612618"/>
              <a:gd name="connsiteX6" fmla="*/ 0 w 1023042"/>
              <a:gd name="connsiteY6" fmla="*/ 570368 h 612618"/>
              <a:gd name="connsiteX7" fmla="*/ 15089 w 1023042"/>
              <a:gd name="connsiteY7" fmla="*/ 612618 h 612618"/>
              <a:gd name="connsiteX8" fmla="*/ 75446 w 1023042"/>
              <a:gd name="connsiteY8" fmla="*/ 609600 h 612618"/>
              <a:gd name="connsiteX9" fmla="*/ 135802 w 1023042"/>
              <a:gd name="connsiteY9" fmla="*/ 597529 h 612618"/>
              <a:gd name="connsiteX10" fmla="*/ 208230 w 1023042"/>
              <a:gd name="connsiteY10" fmla="*/ 564333 h 612618"/>
              <a:gd name="connsiteX11" fmla="*/ 310836 w 1023042"/>
              <a:gd name="connsiteY11" fmla="*/ 549243 h 612618"/>
              <a:gd name="connsiteX12" fmla="*/ 449656 w 1023042"/>
              <a:gd name="connsiteY12" fmla="*/ 522083 h 612618"/>
              <a:gd name="connsiteX13" fmla="*/ 624689 w 1023042"/>
              <a:gd name="connsiteY13" fmla="*/ 488887 h 612618"/>
              <a:gd name="connsiteX14" fmla="*/ 781616 w 1023042"/>
              <a:gd name="connsiteY14" fmla="*/ 464744 h 612618"/>
              <a:gd name="connsiteX15" fmla="*/ 841972 w 1023042"/>
              <a:gd name="connsiteY15" fmla="*/ 446637 h 612618"/>
              <a:gd name="connsiteX16" fmla="*/ 919330 w 1023042"/>
              <a:gd name="connsiteY16" fmla="*/ 406769 h 612618"/>
              <a:gd name="connsiteX17" fmla="*/ 941560 w 1023042"/>
              <a:gd name="connsiteY17" fmla="*/ 356103 h 612618"/>
              <a:gd name="connsiteX18" fmla="*/ 962685 w 1023042"/>
              <a:gd name="connsiteY18" fmla="*/ 301782 h 612618"/>
              <a:gd name="connsiteX19" fmla="*/ 989846 w 1023042"/>
              <a:gd name="connsiteY19" fmla="*/ 274622 h 612618"/>
              <a:gd name="connsiteX20" fmla="*/ 1023042 w 1023042"/>
              <a:gd name="connsiteY20" fmla="*/ 241426 h 612618"/>
              <a:gd name="connsiteX21" fmla="*/ 1010970 w 1023042"/>
              <a:gd name="connsiteY21" fmla="*/ 190123 h 612618"/>
              <a:gd name="connsiteX22" fmla="*/ 959667 w 1023042"/>
              <a:gd name="connsiteY22" fmla="*/ 156927 h 612618"/>
              <a:gd name="connsiteX23" fmla="*/ 932507 w 1023042"/>
              <a:gd name="connsiteY23" fmla="*/ 57338 h 612618"/>
              <a:gd name="connsiteX24" fmla="*/ 917418 w 1023042"/>
              <a:gd name="connsiteY24" fmla="*/ 54321 h 612618"/>
              <a:gd name="connsiteX25" fmla="*/ 899311 w 1023042"/>
              <a:gd name="connsiteY25" fmla="*/ 33196 h 612618"/>
              <a:gd name="connsiteX26" fmla="*/ 878186 w 1023042"/>
              <a:gd name="connsiteY26" fmla="*/ 27160 h 612618"/>
              <a:gd name="connsiteX27" fmla="*/ 860079 w 1023042"/>
              <a:gd name="connsiteY27" fmla="*/ 0 h 612618"/>
              <a:gd name="connsiteX28" fmla="*/ 817830 w 1023042"/>
              <a:gd name="connsiteY28" fmla="*/ 21125 h 612618"/>
              <a:gd name="connsiteX29" fmla="*/ 754456 w 1023042"/>
              <a:gd name="connsiteY29" fmla="*/ 30178 h 612618"/>
              <a:gd name="connsiteX30" fmla="*/ 715224 w 1023042"/>
              <a:gd name="connsiteY30" fmla="*/ 30178 h 612618"/>
              <a:gd name="connsiteX31" fmla="*/ 654867 w 1023042"/>
              <a:gd name="connsiteY31" fmla="*/ 36214 h 612618"/>
              <a:gd name="connsiteX32" fmla="*/ 618654 w 1023042"/>
              <a:gd name="connsiteY32" fmla="*/ 18107 h 612618"/>
              <a:gd name="connsiteX33" fmla="*/ 582440 w 1023042"/>
              <a:gd name="connsiteY33" fmla="*/ 6036 h 612618"/>
              <a:gd name="connsiteX34" fmla="*/ 561315 w 1023042"/>
              <a:gd name="connsiteY34" fmla="*/ 27160 h 612618"/>
              <a:gd name="connsiteX35" fmla="*/ 588475 w 1023042"/>
              <a:gd name="connsiteY35" fmla="*/ 60356 h 612618"/>
              <a:gd name="connsiteX36" fmla="*/ 591493 w 1023042"/>
              <a:gd name="connsiteY36" fmla="*/ 84499 h 612618"/>
              <a:gd name="connsiteX37" fmla="*/ 546226 w 1023042"/>
              <a:gd name="connsiteY37" fmla="*/ 96570 h 612618"/>
              <a:gd name="connsiteX38" fmla="*/ 513030 w 1023042"/>
              <a:gd name="connsiteY38" fmla="*/ 108641 h 612618"/>
              <a:gd name="connsiteX39" fmla="*/ 459502 w 1023042"/>
              <a:gd name="connsiteY39" fmla="*/ 112933 h 612618"/>
              <a:gd name="connsiteX40" fmla="*/ 473798 w 1023042"/>
              <a:gd name="connsiteY40" fmla="*/ 181069 h 612618"/>
              <a:gd name="connsiteX41" fmla="*/ 437584 w 1023042"/>
              <a:gd name="connsiteY41" fmla="*/ 214265 h 612618"/>
              <a:gd name="connsiteX42" fmla="*/ 416459 w 1023042"/>
              <a:gd name="connsiteY42" fmla="*/ 247461 h 612618"/>
              <a:gd name="connsiteX43" fmla="*/ 392317 w 1023042"/>
              <a:gd name="connsiteY43" fmla="*/ 259533 h 612618"/>
              <a:gd name="connsiteX44" fmla="*/ 365157 w 1023042"/>
              <a:gd name="connsiteY44" fmla="*/ 235390 h 612618"/>
              <a:gd name="connsiteX45" fmla="*/ 356103 w 1023042"/>
              <a:gd name="connsiteY45" fmla="*/ 253497 h 612618"/>
              <a:gd name="connsiteX46" fmla="*/ 356103 w 1023042"/>
              <a:gd name="connsiteY46" fmla="*/ 277639 h 612618"/>
              <a:gd name="connsiteX47" fmla="*/ 356103 w 1023042"/>
              <a:gd name="connsiteY47" fmla="*/ 298764 h 612618"/>
              <a:gd name="connsiteX48" fmla="*/ 334978 w 1023042"/>
              <a:gd name="connsiteY48" fmla="*/ 286693 h 612618"/>
              <a:gd name="connsiteX49" fmla="*/ 316871 w 1023042"/>
              <a:gd name="connsiteY49" fmla="*/ 283675 h 612618"/>
              <a:gd name="connsiteX50" fmla="*/ 277640 w 1023042"/>
              <a:gd name="connsiteY50" fmla="*/ 316871 h 612618"/>
              <a:gd name="connsiteX51" fmla="*/ 262551 w 1023042"/>
              <a:gd name="connsiteY51" fmla="*/ 328942 h 612618"/>
              <a:gd name="connsiteX52" fmla="*/ 229355 w 1023042"/>
              <a:gd name="connsiteY52" fmla="*/ 334978 h 612618"/>
              <a:gd name="connsiteX53" fmla="*/ 211248 w 1023042"/>
              <a:gd name="connsiteY53" fmla="*/ 316871 h 612618"/>
              <a:gd name="connsiteX54" fmla="*/ 196158 w 1023042"/>
              <a:gd name="connsiteY54" fmla="*/ 310836 h 612618"/>
              <a:gd name="connsiteX55" fmla="*/ 132784 w 1023042"/>
              <a:gd name="connsiteY55" fmla="*/ 350067 h 612618"/>
              <a:gd name="connsiteX0" fmla="*/ 132784 w 1023042"/>
              <a:gd name="connsiteY0" fmla="*/ 350067 h 612618"/>
              <a:gd name="connsiteX1" fmla="*/ 141838 w 1023042"/>
              <a:gd name="connsiteY1" fmla="*/ 425513 h 612618"/>
              <a:gd name="connsiteX2" fmla="*/ 93553 w 1023042"/>
              <a:gd name="connsiteY2" fmla="*/ 452673 h 612618"/>
              <a:gd name="connsiteX3" fmla="*/ 90535 w 1023042"/>
              <a:gd name="connsiteY3" fmla="*/ 488887 h 612618"/>
              <a:gd name="connsiteX4" fmla="*/ 90535 w 1023042"/>
              <a:gd name="connsiteY4" fmla="*/ 503976 h 612618"/>
              <a:gd name="connsiteX5" fmla="*/ 0 w 1023042"/>
              <a:gd name="connsiteY5" fmla="*/ 482851 h 612618"/>
              <a:gd name="connsiteX6" fmla="*/ 0 w 1023042"/>
              <a:gd name="connsiteY6" fmla="*/ 570368 h 612618"/>
              <a:gd name="connsiteX7" fmla="*/ 15089 w 1023042"/>
              <a:gd name="connsiteY7" fmla="*/ 612618 h 612618"/>
              <a:gd name="connsiteX8" fmla="*/ 75446 w 1023042"/>
              <a:gd name="connsiteY8" fmla="*/ 609600 h 612618"/>
              <a:gd name="connsiteX9" fmla="*/ 135802 w 1023042"/>
              <a:gd name="connsiteY9" fmla="*/ 597529 h 612618"/>
              <a:gd name="connsiteX10" fmla="*/ 208230 w 1023042"/>
              <a:gd name="connsiteY10" fmla="*/ 564333 h 612618"/>
              <a:gd name="connsiteX11" fmla="*/ 310836 w 1023042"/>
              <a:gd name="connsiteY11" fmla="*/ 549243 h 612618"/>
              <a:gd name="connsiteX12" fmla="*/ 449656 w 1023042"/>
              <a:gd name="connsiteY12" fmla="*/ 522083 h 612618"/>
              <a:gd name="connsiteX13" fmla="*/ 624689 w 1023042"/>
              <a:gd name="connsiteY13" fmla="*/ 488887 h 612618"/>
              <a:gd name="connsiteX14" fmla="*/ 781616 w 1023042"/>
              <a:gd name="connsiteY14" fmla="*/ 464744 h 612618"/>
              <a:gd name="connsiteX15" fmla="*/ 841972 w 1023042"/>
              <a:gd name="connsiteY15" fmla="*/ 446637 h 612618"/>
              <a:gd name="connsiteX16" fmla="*/ 919330 w 1023042"/>
              <a:gd name="connsiteY16" fmla="*/ 406769 h 612618"/>
              <a:gd name="connsiteX17" fmla="*/ 941560 w 1023042"/>
              <a:gd name="connsiteY17" fmla="*/ 356103 h 612618"/>
              <a:gd name="connsiteX18" fmla="*/ 962685 w 1023042"/>
              <a:gd name="connsiteY18" fmla="*/ 301782 h 612618"/>
              <a:gd name="connsiteX19" fmla="*/ 989846 w 1023042"/>
              <a:gd name="connsiteY19" fmla="*/ 274622 h 612618"/>
              <a:gd name="connsiteX20" fmla="*/ 1023042 w 1023042"/>
              <a:gd name="connsiteY20" fmla="*/ 241426 h 612618"/>
              <a:gd name="connsiteX21" fmla="*/ 1010970 w 1023042"/>
              <a:gd name="connsiteY21" fmla="*/ 190123 h 612618"/>
              <a:gd name="connsiteX22" fmla="*/ 959667 w 1023042"/>
              <a:gd name="connsiteY22" fmla="*/ 156927 h 612618"/>
              <a:gd name="connsiteX23" fmla="*/ 932507 w 1023042"/>
              <a:gd name="connsiteY23" fmla="*/ 57338 h 612618"/>
              <a:gd name="connsiteX24" fmla="*/ 917418 w 1023042"/>
              <a:gd name="connsiteY24" fmla="*/ 54321 h 612618"/>
              <a:gd name="connsiteX25" fmla="*/ 899311 w 1023042"/>
              <a:gd name="connsiteY25" fmla="*/ 33196 h 612618"/>
              <a:gd name="connsiteX26" fmla="*/ 878186 w 1023042"/>
              <a:gd name="connsiteY26" fmla="*/ 27160 h 612618"/>
              <a:gd name="connsiteX27" fmla="*/ 860079 w 1023042"/>
              <a:gd name="connsiteY27" fmla="*/ 0 h 612618"/>
              <a:gd name="connsiteX28" fmla="*/ 817830 w 1023042"/>
              <a:gd name="connsiteY28" fmla="*/ 21125 h 612618"/>
              <a:gd name="connsiteX29" fmla="*/ 754456 w 1023042"/>
              <a:gd name="connsiteY29" fmla="*/ 30178 h 612618"/>
              <a:gd name="connsiteX30" fmla="*/ 715224 w 1023042"/>
              <a:gd name="connsiteY30" fmla="*/ 30178 h 612618"/>
              <a:gd name="connsiteX31" fmla="*/ 654867 w 1023042"/>
              <a:gd name="connsiteY31" fmla="*/ 36214 h 612618"/>
              <a:gd name="connsiteX32" fmla="*/ 618654 w 1023042"/>
              <a:gd name="connsiteY32" fmla="*/ 18107 h 612618"/>
              <a:gd name="connsiteX33" fmla="*/ 582440 w 1023042"/>
              <a:gd name="connsiteY33" fmla="*/ 6036 h 612618"/>
              <a:gd name="connsiteX34" fmla="*/ 561315 w 1023042"/>
              <a:gd name="connsiteY34" fmla="*/ 27160 h 612618"/>
              <a:gd name="connsiteX35" fmla="*/ 588475 w 1023042"/>
              <a:gd name="connsiteY35" fmla="*/ 60356 h 612618"/>
              <a:gd name="connsiteX36" fmla="*/ 591493 w 1023042"/>
              <a:gd name="connsiteY36" fmla="*/ 84499 h 612618"/>
              <a:gd name="connsiteX37" fmla="*/ 546226 w 1023042"/>
              <a:gd name="connsiteY37" fmla="*/ 96570 h 612618"/>
              <a:gd name="connsiteX38" fmla="*/ 513030 w 1023042"/>
              <a:gd name="connsiteY38" fmla="*/ 108641 h 612618"/>
              <a:gd name="connsiteX39" fmla="*/ 459502 w 1023042"/>
              <a:gd name="connsiteY39" fmla="*/ 112933 h 612618"/>
              <a:gd name="connsiteX40" fmla="*/ 464267 w 1023042"/>
              <a:gd name="connsiteY40" fmla="*/ 181069 h 612618"/>
              <a:gd name="connsiteX41" fmla="*/ 437584 w 1023042"/>
              <a:gd name="connsiteY41" fmla="*/ 214265 h 612618"/>
              <a:gd name="connsiteX42" fmla="*/ 416459 w 1023042"/>
              <a:gd name="connsiteY42" fmla="*/ 247461 h 612618"/>
              <a:gd name="connsiteX43" fmla="*/ 392317 w 1023042"/>
              <a:gd name="connsiteY43" fmla="*/ 259533 h 612618"/>
              <a:gd name="connsiteX44" fmla="*/ 365157 w 1023042"/>
              <a:gd name="connsiteY44" fmla="*/ 235390 h 612618"/>
              <a:gd name="connsiteX45" fmla="*/ 356103 w 1023042"/>
              <a:gd name="connsiteY45" fmla="*/ 253497 h 612618"/>
              <a:gd name="connsiteX46" fmla="*/ 356103 w 1023042"/>
              <a:gd name="connsiteY46" fmla="*/ 277639 h 612618"/>
              <a:gd name="connsiteX47" fmla="*/ 356103 w 1023042"/>
              <a:gd name="connsiteY47" fmla="*/ 298764 h 612618"/>
              <a:gd name="connsiteX48" fmla="*/ 334978 w 1023042"/>
              <a:gd name="connsiteY48" fmla="*/ 286693 h 612618"/>
              <a:gd name="connsiteX49" fmla="*/ 316871 w 1023042"/>
              <a:gd name="connsiteY49" fmla="*/ 283675 h 612618"/>
              <a:gd name="connsiteX50" fmla="*/ 277640 w 1023042"/>
              <a:gd name="connsiteY50" fmla="*/ 316871 h 612618"/>
              <a:gd name="connsiteX51" fmla="*/ 262551 w 1023042"/>
              <a:gd name="connsiteY51" fmla="*/ 328942 h 612618"/>
              <a:gd name="connsiteX52" fmla="*/ 229355 w 1023042"/>
              <a:gd name="connsiteY52" fmla="*/ 334978 h 612618"/>
              <a:gd name="connsiteX53" fmla="*/ 211248 w 1023042"/>
              <a:gd name="connsiteY53" fmla="*/ 316871 h 612618"/>
              <a:gd name="connsiteX54" fmla="*/ 196158 w 1023042"/>
              <a:gd name="connsiteY54" fmla="*/ 310836 h 612618"/>
              <a:gd name="connsiteX55" fmla="*/ 132784 w 1023042"/>
              <a:gd name="connsiteY55"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41560 w 1032573"/>
              <a:gd name="connsiteY17" fmla="*/ 356103 h 612618"/>
              <a:gd name="connsiteX18" fmla="*/ 962685 w 1032573"/>
              <a:gd name="connsiteY18" fmla="*/ 301782 h 612618"/>
              <a:gd name="connsiteX19" fmla="*/ 989846 w 1032573"/>
              <a:gd name="connsiteY19" fmla="*/ 274622 h 612618"/>
              <a:gd name="connsiteX20" fmla="*/ 1032573 w 1032573"/>
              <a:gd name="connsiteY20" fmla="*/ 255709 h 612618"/>
              <a:gd name="connsiteX21" fmla="*/ 1010970 w 1032573"/>
              <a:gd name="connsiteY21" fmla="*/ 190123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88475 w 1032573"/>
              <a:gd name="connsiteY35" fmla="*/ 60356 h 612618"/>
              <a:gd name="connsiteX36" fmla="*/ 591493 w 1032573"/>
              <a:gd name="connsiteY36" fmla="*/ 84499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5157 w 1032573"/>
              <a:gd name="connsiteY44" fmla="*/ 235390 h 612618"/>
              <a:gd name="connsiteX45" fmla="*/ 356103 w 1032573"/>
              <a:gd name="connsiteY45" fmla="*/ 253497 h 612618"/>
              <a:gd name="connsiteX46" fmla="*/ 356103 w 1032573"/>
              <a:gd name="connsiteY46" fmla="*/ 277639 h 612618"/>
              <a:gd name="connsiteX47" fmla="*/ 356103 w 1032573"/>
              <a:gd name="connsiteY47" fmla="*/ 298764 h 612618"/>
              <a:gd name="connsiteX48" fmla="*/ 334978 w 1032573"/>
              <a:gd name="connsiteY48" fmla="*/ 286693 h 612618"/>
              <a:gd name="connsiteX49" fmla="*/ 316871 w 1032573"/>
              <a:gd name="connsiteY49" fmla="*/ 283675 h 612618"/>
              <a:gd name="connsiteX50" fmla="*/ 277640 w 1032573"/>
              <a:gd name="connsiteY50" fmla="*/ 316871 h 612618"/>
              <a:gd name="connsiteX51" fmla="*/ 262551 w 1032573"/>
              <a:gd name="connsiteY51" fmla="*/ 328942 h 612618"/>
              <a:gd name="connsiteX52" fmla="*/ 229355 w 1032573"/>
              <a:gd name="connsiteY52" fmla="*/ 334978 h 612618"/>
              <a:gd name="connsiteX53" fmla="*/ 211248 w 1032573"/>
              <a:gd name="connsiteY53" fmla="*/ 316871 h 612618"/>
              <a:gd name="connsiteX54" fmla="*/ 196158 w 1032573"/>
              <a:gd name="connsiteY54" fmla="*/ 310836 h 612618"/>
              <a:gd name="connsiteX55" fmla="*/ 132784 w 1032573"/>
              <a:gd name="connsiteY55"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41560 w 1032573"/>
              <a:gd name="connsiteY17" fmla="*/ 356103 h 612618"/>
              <a:gd name="connsiteX18" fmla="*/ 962685 w 1032573"/>
              <a:gd name="connsiteY18" fmla="*/ 301782 h 612618"/>
              <a:gd name="connsiteX19" fmla="*/ 999378 w 1032573"/>
              <a:gd name="connsiteY19" fmla="*/ 281763 h 612618"/>
              <a:gd name="connsiteX20" fmla="*/ 1032573 w 1032573"/>
              <a:gd name="connsiteY20" fmla="*/ 255709 h 612618"/>
              <a:gd name="connsiteX21" fmla="*/ 1010970 w 1032573"/>
              <a:gd name="connsiteY21" fmla="*/ 190123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88475 w 1032573"/>
              <a:gd name="connsiteY35" fmla="*/ 60356 h 612618"/>
              <a:gd name="connsiteX36" fmla="*/ 591493 w 1032573"/>
              <a:gd name="connsiteY36" fmla="*/ 84499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5157 w 1032573"/>
              <a:gd name="connsiteY44" fmla="*/ 235390 h 612618"/>
              <a:gd name="connsiteX45" fmla="*/ 356103 w 1032573"/>
              <a:gd name="connsiteY45" fmla="*/ 253497 h 612618"/>
              <a:gd name="connsiteX46" fmla="*/ 356103 w 1032573"/>
              <a:gd name="connsiteY46" fmla="*/ 277639 h 612618"/>
              <a:gd name="connsiteX47" fmla="*/ 356103 w 1032573"/>
              <a:gd name="connsiteY47" fmla="*/ 298764 h 612618"/>
              <a:gd name="connsiteX48" fmla="*/ 334978 w 1032573"/>
              <a:gd name="connsiteY48" fmla="*/ 286693 h 612618"/>
              <a:gd name="connsiteX49" fmla="*/ 316871 w 1032573"/>
              <a:gd name="connsiteY49" fmla="*/ 283675 h 612618"/>
              <a:gd name="connsiteX50" fmla="*/ 277640 w 1032573"/>
              <a:gd name="connsiteY50" fmla="*/ 316871 h 612618"/>
              <a:gd name="connsiteX51" fmla="*/ 262551 w 1032573"/>
              <a:gd name="connsiteY51" fmla="*/ 328942 h 612618"/>
              <a:gd name="connsiteX52" fmla="*/ 229355 w 1032573"/>
              <a:gd name="connsiteY52" fmla="*/ 334978 h 612618"/>
              <a:gd name="connsiteX53" fmla="*/ 211248 w 1032573"/>
              <a:gd name="connsiteY53" fmla="*/ 316871 h 612618"/>
              <a:gd name="connsiteX54" fmla="*/ 196158 w 1032573"/>
              <a:gd name="connsiteY54" fmla="*/ 310836 h 612618"/>
              <a:gd name="connsiteX55" fmla="*/ 132784 w 1032573"/>
              <a:gd name="connsiteY55"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41560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0970 w 1032573"/>
              <a:gd name="connsiteY21" fmla="*/ 190123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88475 w 1032573"/>
              <a:gd name="connsiteY35" fmla="*/ 60356 h 612618"/>
              <a:gd name="connsiteX36" fmla="*/ 591493 w 1032573"/>
              <a:gd name="connsiteY36" fmla="*/ 84499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5157 w 1032573"/>
              <a:gd name="connsiteY44" fmla="*/ 235390 h 612618"/>
              <a:gd name="connsiteX45" fmla="*/ 356103 w 1032573"/>
              <a:gd name="connsiteY45" fmla="*/ 253497 h 612618"/>
              <a:gd name="connsiteX46" fmla="*/ 356103 w 1032573"/>
              <a:gd name="connsiteY46" fmla="*/ 277639 h 612618"/>
              <a:gd name="connsiteX47" fmla="*/ 356103 w 1032573"/>
              <a:gd name="connsiteY47" fmla="*/ 298764 h 612618"/>
              <a:gd name="connsiteX48" fmla="*/ 334978 w 1032573"/>
              <a:gd name="connsiteY48" fmla="*/ 286693 h 612618"/>
              <a:gd name="connsiteX49" fmla="*/ 316871 w 1032573"/>
              <a:gd name="connsiteY49" fmla="*/ 283675 h 612618"/>
              <a:gd name="connsiteX50" fmla="*/ 277640 w 1032573"/>
              <a:gd name="connsiteY50" fmla="*/ 316871 h 612618"/>
              <a:gd name="connsiteX51" fmla="*/ 262551 w 1032573"/>
              <a:gd name="connsiteY51" fmla="*/ 328942 h 612618"/>
              <a:gd name="connsiteX52" fmla="*/ 229355 w 1032573"/>
              <a:gd name="connsiteY52" fmla="*/ 334978 h 612618"/>
              <a:gd name="connsiteX53" fmla="*/ 211248 w 1032573"/>
              <a:gd name="connsiteY53" fmla="*/ 316871 h 612618"/>
              <a:gd name="connsiteX54" fmla="*/ 196158 w 1032573"/>
              <a:gd name="connsiteY54" fmla="*/ 310836 h 612618"/>
              <a:gd name="connsiteX55" fmla="*/ 132784 w 1032573"/>
              <a:gd name="connsiteY55"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41560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88475 w 1032573"/>
              <a:gd name="connsiteY35" fmla="*/ 60356 h 612618"/>
              <a:gd name="connsiteX36" fmla="*/ 591493 w 1032573"/>
              <a:gd name="connsiteY36" fmla="*/ 84499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5157 w 1032573"/>
              <a:gd name="connsiteY44" fmla="*/ 235390 h 612618"/>
              <a:gd name="connsiteX45" fmla="*/ 356103 w 1032573"/>
              <a:gd name="connsiteY45" fmla="*/ 253497 h 612618"/>
              <a:gd name="connsiteX46" fmla="*/ 356103 w 1032573"/>
              <a:gd name="connsiteY46" fmla="*/ 277639 h 612618"/>
              <a:gd name="connsiteX47" fmla="*/ 356103 w 1032573"/>
              <a:gd name="connsiteY47" fmla="*/ 298764 h 612618"/>
              <a:gd name="connsiteX48" fmla="*/ 334978 w 1032573"/>
              <a:gd name="connsiteY48" fmla="*/ 286693 h 612618"/>
              <a:gd name="connsiteX49" fmla="*/ 316871 w 1032573"/>
              <a:gd name="connsiteY49" fmla="*/ 283675 h 612618"/>
              <a:gd name="connsiteX50" fmla="*/ 277640 w 1032573"/>
              <a:gd name="connsiteY50" fmla="*/ 316871 h 612618"/>
              <a:gd name="connsiteX51" fmla="*/ 262551 w 1032573"/>
              <a:gd name="connsiteY51" fmla="*/ 328942 h 612618"/>
              <a:gd name="connsiteX52" fmla="*/ 229355 w 1032573"/>
              <a:gd name="connsiteY52" fmla="*/ 334978 h 612618"/>
              <a:gd name="connsiteX53" fmla="*/ 211248 w 1032573"/>
              <a:gd name="connsiteY53" fmla="*/ 316871 h 612618"/>
              <a:gd name="connsiteX54" fmla="*/ 196158 w 1032573"/>
              <a:gd name="connsiteY54" fmla="*/ 310836 h 612618"/>
              <a:gd name="connsiteX55" fmla="*/ 132784 w 1032573"/>
              <a:gd name="connsiteY55"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51092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88475 w 1032573"/>
              <a:gd name="connsiteY35" fmla="*/ 60356 h 612618"/>
              <a:gd name="connsiteX36" fmla="*/ 591493 w 1032573"/>
              <a:gd name="connsiteY36" fmla="*/ 84499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5157 w 1032573"/>
              <a:gd name="connsiteY44" fmla="*/ 235390 h 612618"/>
              <a:gd name="connsiteX45" fmla="*/ 356103 w 1032573"/>
              <a:gd name="connsiteY45" fmla="*/ 253497 h 612618"/>
              <a:gd name="connsiteX46" fmla="*/ 356103 w 1032573"/>
              <a:gd name="connsiteY46" fmla="*/ 277639 h 612618"/>
              <a:gd name="connsiteX47" fmla="*/ 356103 w 1032573"/>
              <a:gd name="connsiteY47" fmla="*/ 298764 h 612618"/>
              <a:gd name="connsiteX48" fmla="*/ 334978 w 1032573"/>
              <a:gd name="connsiteY48" fmla="*/ 286693 h 612618"/>
              <a:gd name="connsiteX49" fmla="*/ 316871 w 1032573"/>
              <a:gd name="connsiteY49" fmla="*/ 283675 h 612618"/>
              <a:gd name="connsiteX50" fmla="*/ 277640 w 1032573"/>
              <a:gd name="connsiteY50" fmla="*/ 316871 h 612618"/>
              <a:gd name="connsiteX51" fmla="*/ 262551 w 1032573"/>
              <a:gd name="connsiteY51" fmla="*/ 328942 h 612618"/>
              <a:gd name="connsiteX52" fmla="*/ 229355 w 1032573"/>
              <a:gd name="connsiteY52" fmla="*/ 334978 h 612618"/>
              <a:gd name="connsiteX53" fmla="*/ 211248 w 1032573"/>
              <a:gd name="connsiteY53" fmla="*/ 316871 h 612618"/>
              <a:gd name="connsiteX54" fmla="*/ 196158 w 1032573"/>
              <a:gd name="connsiteY54" fmla="*/ 310836 h 612618"/>
              <a:gd name="connsiteX55" fmla="*/ 132784 w 1032573"/>
              <a:gd name="connsiteY55"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51092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76561 w 1032573"/>
              <a:gd name="connsiteY35" fmla="*/ 60356 h 612618"/>
              <a:gd name="connsiteX36" fmla="*/ 591493 w 1032573"/>
              <a:gd name="connsiteY36" fmla="*/ 84499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5157 w 1032573"/>
              <a:gd name="connsiteY44" fmla="*/ 235390 h 612618"/>
              <a:gd name="connsiteX45" fmla="*/ 356103 w 1032573"/>
              <a:gd name="connsiteY45" fmla="*/ 253497 h 612618"/>
              <a:gd name="connsiteX46" fmla="*/ 356103 w 1032573"/>
              <a:gd name="connsiteY46" fmla="*/ 277639 h 612618"/>
              <a:gd name="connsiteX47" fmla="*/ 356103 w 1032573"/>
              <a:gd name="connsiteY47" fmla="*/ 298764 h 612618"/>
              <a:gd name="connsiteX48" fmla="*/ 334978 w 1032573"/>
              <a:gd name="connsiteY48" fmla="*/ 286693 h 612618"/>
              <a:gd name="connsiteX49" fmla="*/ 316871 w 1032573"/>
              <a:gd name="connsiteY49" fmla="*/ 283675 h 612618"/>
              <a:gd name="connsiteX50" fmla="*/ 277640 w 1032573"/>
              <a:gd name="connsiteY50" fmla="*/ 316871 h 612618"/>
              <a:gd name="connsiteX51" fmla="*/ 262551 w 1032573"/>
              <a:gd name="connsiteY51" fmla="*/ 328942 h 612618"/>
              <a:gd name="connsiteX52" fmla="*/ 229355 w 1032573"/>
              <a:gd name="connsiteY52" fmla="*/ 334978 h 612618"/>
              <a:gd name="connsiteX53" fmla="*/ 211248 w 1032573"/>
              <a:gd name="connsiteY53" fmla="*/ 316871 h 612618"/>
              <a:gd name="connsiteX54" fmla="*/ 196158 w 1032573"/>
              <a:gd name="connsiteY54" fmla="*/ 310836 h 612618"/>
              <a:gd name="connsiteX55" fmla="*/ 132784 w 1032573"/>
              <a:gd name="connsiteY55"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51092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76561 w 1032573"/>
              <a:gd name="connsiteY35" fmla="*/ 60356 h 612618"/>
              <a:gd name="connsiteX36" fmla="*/ 579579 w 1032573"/>
              <a:gd name="connsiteY36" fmla="*/ 79738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5157 w 1032573"/>
              <a:gd name="connsiteY44" fmla="*/ 235390 h 612618"/>
              <a:gd name="connsiteX45" fmla="*/ 356103 w 1032573"/>
              <a:gd name="connsiteY45" fmla="*/ 253497 h 612618"/>
              <a:gd name="connsiteX46" fmla="*/ 356103 w 1032573"/>
              <a:gd name="connsiteY46" fmla="*/ 277639 h 612618"/>
              <a:gd name="connsiteX47" fmla="*/ 356103 w 1032573"/>
              <a:gd name="connsiteY47" fmla="*/ 298764 h 612618"/>
              <a:gd name="connsiteX48" fmla="*/ 334978 w 1032573"/>
              <a:gd name="connsiteY48" fmla="*/ 286693 h 612618"/>
              <a:gd name="connsiteX49" fmla="*/ 316871 w 1032573"/>
              <a:gd name="connsiteY49" fmla="*/ 283675 h 612618"/>
              <a:gd name="connsiteX50" fmla="*/ 277640 w 1032573"/>
              <a:gd name="connsiteY50" fmla="*/ 316871 h 612618"/>
              <a:gd name="connsiteX51" fmla="*/ 262551 w 1032573"/>
              <a:gd name="connsiteY51" fmla="*/ 328942 h 612618"/>
              <a:gd name="connsiteX52" fmla="*/ 229355 w 1032573"/>
              <a:gd name="connsiteY52" fmla="*/ 334978 h 612618"/>
              <a:gd name="connsiteX53" fmla="*/ 211248 w 1032573"/>
              <a:gd name="connsiteY53" fmla="*/ 316871 h 612618"/>
              <a:gd name="connsiteX54" fmla="*/ 196158 w 1032573"/>
              <a:gd name="connsiteY54" fmla="*/ 310836 h 612618"/>
              <a:gd name="connsiteX55" fmla="*/ 132784 w 1032573"/>
              <a:gd name="connsiteY55"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51092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76561 w 1032573"/>
              <a:gd name="connsiteY35" fmla="*/ 60356 h 612618"/>
              <a:gd name="connsiteX36" fmla="*/ 579579 w 1032573"/>
              <a:gd name="connsiteY36" fmla="*/ 79738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2773 w 1032573"/>
              <a:gd name="connsiteY44" fmla="*/ 225867 h 612618"/>
              <a:gd name="connsiteX45" fmla="*/ 356103 w 1032573"/>
              <a:gd name="connsiteY45" fmla="*/ 253497 h 612618"/>
              <a:gd name="connsiteX46" fmla="*/ 356103 w 1032573"/>
              <a:gd name="connsiteY46" fmla="*/ 277639 h 612618"/>
              <a:gd name="connsiteX47" fmla="*/ 356103 w 1032573"/>
              <a:gd name="connsiteY47" fmla="*/ 298764 h 612618"/>
              <a:gd name="connsiteX48" fmla="*/ 334978 w 1032573"/>
              <a:gd name="connsiteY48" fmla="*/ 286693 h 612618"/>
              <a:gd name="connsiteX49" fmla="*/ 316871 w 1032573"/>
              <a:gd name="connsiteY49" fmla="*/ 283675 h 612618"/>
              <a:gd name="connsiteX50" fmla="*/ 277640 w 1032573"/>
              <a:gd name="connsiteY50" fmla="*/ 316871 h 612618"/>
              <a:gd name="connsiteX51" fmla="*/ 262551 w 1032573"/>
              <a:gd name="connsiteY51" fmla="*/ 328942 h 612618"/>
              <a:gd name="connsiteX52" fmla="*/ 229355 w 1032573"/>
              <a:gd name="connsiteY52" fmla="*/ 334978 h 612618"/>
              <a:gd name="connsiteX53" fmla="*/ 211248 w 1032573"/>
              <a:gd name="connsiteY53" fmla="*/ 316871 h 612618"/>
              <a:gd name="connsiteX54" fmla="*/ 196158 w 1032573"/>
              <a:gd name="connsiteY54" fmla="*/ 310836 h 612618"/>
              <a:gd name="connsiteX55" fmla="*/ 132784 w 1032573"/>
              <a:gd name="connsiteY55"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51092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76561 w 1032573"/>
              <a:gd name="connsiteY35" fmla="*/ 60356 h 612618"/>
              <a:gd name="connsiteX36" fmla="*/ 579579 w 1032573"/>
              <a:gd name="connsiteY36" fmla="*/ 79738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2773 w 1032573"/>
              <a:gd name="connsiteY44" fmla="*/ 225867 h 612618"/>
              <a:gd name="connsiteX45" fmla="*/ 356103 w 1032573"/>
              <a:gd name="connsiteY45" fmla="*/ 277639 h 612618"/>
              <a:gd name="connsiteX46" fmla="*/ 356103 w 1032573"/>
              <a:gd name="connsiteY46" fmla="*/ 298764 h 612618"/>
              <a:gd name="connsiteX47" fmla="*/ 334978 w 1032573"/>
              <a:gd name="connsiteY47" fmla="*/ 286693 h 612618"/>
              <a:gd name="connsiteX48" fmla="*/ 316871 w 1032573"/>
              <a:gd name="connsiteY48" fmla="*/ 283675 h 612618"/>
              <a:gd name="connsiteX49" fmla="*/ 277640 w 1032573"/>
              <a:gd name="connsiteY49" fmla="*/ 316871 h 612618"/>
              <a:gd name="connsiteX50" fmla="*/ 262551 w 1032573"/>
              <a:gd name="connsiteY50" fmla="*/ 328942 h 612618"/>
              <a:gd name="connsiteX51" fmla="*/ 229355 w 1032573"/>
              <a:gd name="connsiteY51" fmla="*/ 334978 h 612618"/>
              <a:gd name="connsiteX52" fmla="*/ 211248 w 1032573"/>
              <a:gd name="connsiteY52" fmla="*/ 316871 h 612618"/>
              <a:gd name="connsiteX53" fmla="*/ 196158 w 1032573"/>
              <a:gd name="connsiteY53" fmla="*/ 310836 h 612618"/>
              <a:gd name="connsiteX54" fmla="*/ 132784 w 1032573"/>
              <a:gd name="connsiteY54"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51092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76561 w 1032573"/>
              <a:gd name="connsiteY35" fmla="*/ 60356 h 612618"/>
              <a:gd name="connsiteX36" fmla="*/ 579579 w 1032573"/>
              <a:gd name="connsiteY36" fmla="*/ 79738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62773 w 1032573"/>
              <a:gd name="connsiteY44" fmla="*/ 225867 h 612618"/>
              <a:gd name="connsiteX45" fmla="*/ 356103 w 1032573"/>
              <a:gd name="connsiteY45" fmla="*/ 298764 h 612618"/>
              <a:gd name="connsiteX46" fmla="*/ 334978 w 1032573"/>
              <a:gd name="connsiteY46" fmla="*/ 286693 h 612618"/>
              <a:gd name="connsiteX47" fmla="*/ 316871 w 1032573"/>
              <a:gd name="connsiteY47" fmla="*/ 283675 h 612618"/>
              <a:gd name="connsiteX48" fmla="*/ 277640 w 1032573"/>
              <a:gd name="connsiteY48" fmla="*/ 316871 h 612618"/>
              <a:gd name="connsiteX49" fmla="*/ 262551 w 1032573"/>
              <a:gd name="connsiteY49" fmla="*/ 328942 h 612618"/>
              <a:gd name="connsiteX50" fmla="*/ 229355 w 1032573"/>
              <a:gd name="connsiteY50" fmla="*/ 334978 h 612618"/>
              <a:gd name="connsiteX51" fmla="*/ 211248 w 1032573"/>
              <a:gd name="connsiteY51" fmla="*/ 316871 h 612618"/>
              <a:gd name="connsiteX52" fmla="*/ 196158 w 1032573"/>
              <a:gd name="connsiteY52" fmla="*/ 310836 h 612618"/>
              <a:gd name="connsiteX53" fmla="*/ 132784 w 1032573"/>
              <a:gd name="connsiteY53"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51092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76561 w 1032573"/>
              <a:gd name="connsiteY35" fmla="*/ 60356 h 612618"/>
              <a:gd name="connsiteX36" fmla="*/ 579579 w 1032573"/>
              <a:gd name="connsiteY36" fmla="*/ 79738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53242 w 1032573"/>
              <a:gd name="connsiteY44" fmla="*/ 223486 h 612618"/>
              <a:gd name="connsiteX45" fmla="*/ 356103 w 1032573"/>
              <a:gd name="connsiteY45" fmla="*/ 298764 h 612618"/>
              <a:gd name="connsiteX46" fmla="*/ 334978 w 1032573"/>
              <a:gd name="connsiteY46" fmla="*/ 286693 h 612618"/>
              <a:gd name="connsiteX47" fmla="*/ 316871 w 1032573"/>
              <a:gd name="connsiteY47" fmla="*/ 283675 h 612618"/>
              <a:gd name="connsiteX48" fmla="*/ 277640 w 1032573"/>
              <a:gd name="connsiteY48" fmla="*/ 316871 h 612618"/>
              <a:gd name="connsiteX49" fmla="*/ 262551 w 1032573"/>
              <a:gd name="connsiteY49" fmla="*/ 328942 h 612618"/>
              <a:gd name="connsiteX50" fmla="*/ 229355 w 1032573"/>
              <a:gd name="connsiteY50" fmla="*/ 334978 h 612618"/>
              <a:gd name="connsiteX51" fmla="*/ 211248 w 1032573"/>
              <a:gd name="connsiteY51" fmla="*/ 316871 h 612618"/>
              <a:gd name="connsiteX52" fmla="*/ 196158 w 1032573"/>
              <a:gd name="connsiteY52" fmla="*/ 310836 h 612618"/>
              <a:gd name="connsiteX53" fmla="*/ 132784 w 1032573"/>
              <a:gd name="connsiteY53"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51092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76561 w 1032573"/>
              <a:gd name="connsiteY35" fmla="*/ 60356 h 612618"/>
              <a:gd name="connsiteX36" fmla="*/ 579579 w 1032573"/>
              <a:gd name="connsiteY36" fmla="*/ 79738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53242 w 1032573"/>
              <a:gd name="connsiteY44" fmla="*/ 223486 h 612618"/>
              <a:gd name="connsiteX45" fmla="*/ 356103 w 1032573"/>
              <a:gd name="connsiteY45" fmla="*/ 298764 h 612618"/>
              <a:gd name="connsiteX46" fmla="*/ 334978 w 1032573"/>
              <a:gd name="connsiteY46" fmla="*/ 286693 h 612618"/>
              <a:gd name="connsiteX47" fmla="*/ 316871 w 1032573"/>
              <a:gd name="connsiteY47" fmla="*/ 283675 h 612618"/>
              <a:gd name="connsiteX48" fmla="*/ 277640 w 1032573"/>
              <a:gd name="connsiteY48" fmla="*/ 316871 h 612618"/>
              <a:gd name="connsiteX49" fmla="*/ 262551 w 1032573"/>
              <a:gd name="connsiteY49" fmla="*/ 317039 h 612618"/>
              <a:gd name="connsiteX50" fmla="*/ 229355 w 1032573"/>
              <a:gd name="connsiteY50" fmla="*/ 334978 h 612618"/>
              <a:gd name="connsiteX51" fmla="*/ 211248 w 1032573"/>
              <a:gd name="connsiteY51" fmla="*/ 316871 h 612618"/>
              <a:gd name="connsiteX52" fmla="*/ 196158 w 1032573"/>
              <a:gd name="connsiteY52" fmla="*/ 310836 h 612618"/>
              <a:gd name="connsiteX53" fmla="*/ 132784 w 1032573"/>
              <a:gd name="connsiteY53" fmla="*/ 350067 h 612618"/>
              <a:gd name="connsiteX0" fmla="*/ 132784 w 1032573"/>
              <a:gd name="connsiteY0" fmla="*/ 350067 h 612618"/>
              <a:gd name="connsiteX1" fmla="*/ 141838 w 1032573"/>
              <a:gd name="connsiteY1" fmla="*/ 425513 h 612618"/>
              <a:gd name="connsiteX2" fmla="*/ 93553 w 1032573"/>
              <a:gd name="connsiteY2" fmla="*/ 452673 h 612618"/>
              <a:gd name="connsiteX3" fmla="*/ 90535 w 1032573"/>
              <a:gd name="connsiteY3" fmla="*/ 488887 h 612618"/>
              <a:gd name="connsiteX4" fmla="*/ 90535 w 1032573"/>
              <a:gd name="connsiteY4" fmla="*/ 503976 h 612618"/>
              <a:gd name="connsiteX5" fmla="*/ 0 w 1032573"/>
              <a:gd name="connsiteY5" fmla="*/ 482851 h 612618"/>
              <a:gd name="connsiteX6" fmla="*/ 0 w 1032573"/>
              <a:gd name="connsiteY6" fmla="*/ 570368 h 612618"/>
              <a:gd name="connsiteX7" fmla="*/ 15089 w 1032573"/>
              <a:gd name="connsiteY7" fmla="*/ 612618 h 612618"/>
              <a:gd name="connsiteX8" fmla="*/ 75446 w 1032573"/>
              <a:gd name="connsiteY8" fmla="*/ 609600 h 612618"/>
              <a:gd name="connsiteX9" fmla="*/ 135802 w 1032573"/>
              <a:gd name="connsiteY9" fmla="*/ 597529 h 612618"/>
              <a:gd name="connsiteX10" fmla="*/ 208230 w 1032573"/>
              <a:gd name="connsiteY10" fmla="*/ 564333 h 612618"/>
              <a:gd name="connsiteX11" fmla="*/ 310836 w 1032573"/>
              <a:gd name="connsiteY11" fmla="*/ 549243 h 612618"/>
              <a:gd name="connsiteX12" fmla="*/ 449656 w 1032573"/>
              <a:gd name="connsiteY12" fmla="*/ 522083 h 612618"/>
              <a:gd name="connsiteX13" fmla="*/ 624689 w 1032573"/>
              <a:gd name="connsiteY13" fmla="*/ 488887 h 612618"/>
              <a:gd name="connsiteX14" fmla="*/ 781616 w 1032573"/>
              <a:gd name="connsiteY14" fmla="*/ 464744 h 612618"/>
              <a:gd name="connsiteX15" fmla="*/ 841972 w 1032573"/>
              <a:gd name="connsiteY15" fmla="*/ 446637 h 612618"/>
              <a:gd name="connsiteX16" fmla="*/ 919330 w 1032573"/>
              <a:gd name="connsiteY16" fmla="*/ 406769 h 612618"/>
              <a:gd name="connsiteX17" fmla="*/ 951092 w 1032573"/>
              <a:gd name="connsiteY17" fmla="*/ 356103 h 612618"/>
              <a:gd name="connsiteX18" fmla="*/ 969834 w 1032573"/>
              <a:gd name="connsiteY18" fmla="*/ 308924 h 612618"/>
              <a:gd name="connsiteX19" fmla="*/ 999378 w 1032573"/>
              <a:gd name="connsiteY19" fmla="*/ 281763 h 612618"/>
              <a:gd name="connsiteX20" fmla="*/ 1032573 w 1032573"/>
              <a:gd name="connsiteY20" fmla="*/ 255709 h 612618"/>
              <a:gd name="connsiteX21" fmla="*/ 1018118 w 1032573"/>
              <a:gd name="connsiteY21" fmla="*/ 180601 h 612618"/>
              <a:gd name="connsiteX22" fmla="*/ 959667 w 1032573"/>
              <a:gd name="connsiteY22" fmla="*/ 156927 h 612618"/>
              <a:gd name="connsiteX23" fmla="*/ 932507 w 1032573"/>
              <a:gd name="connsiteY23" fmla="*/ 57338 h 612618"/>
              <a:gd name="connsiteX24" fmla="*/ 917418 w 1032573"/>
              <a:gd name="connsiteY24" fmla="*/ 54321 h 612618"/>
              <a:gd name="connsiteX25" fmla="*/ 899311 w 1032573"/>
              <a:gd name="connsiteY25" fmla="*/ 33196 h 612618"/>
              <a:gd name="connsiteX26" fmla="*/ 878186 w 1032573"/>
              <a:gd name="connsiteY26" fmla="*/ 27160 h 612618"/>
              <a:gd name="connsiteX27" fmla="*/ 860079 w 1032573"/>
              <a:gd name="connsiteY27" fmla="*/ 0 h 612618"/>
              <a:gd name="connsiteX28" fmla="*/ 817830 w 1032573"/>
              <a:gd name="connsiteY28" fmla="*/ 21125 h 612618"/>
              <a:gd name="connsiteX29" fmla="*/ 754456 w 1032573"/>
              <a:gd name="connsiteY29" fmla="*/ 30178 h 612618"/>
              <a:gd name="connsiteX30" fmla="*/ 715224 w 1032573"/>
              <a:gd name="connsiteY30" fmla="*/ 30178 h 612618"/>
              <a:gd name="connsiteX31" fmla="*/ 654867 w 1032573"/>
              <a:gd name="connsiteY31" fmla="*/ 36214 h 612618"/>
              <a:gd name="connsiteX32" fmla="*/ 618654 w 1032573"/>
              <a:gd name="connsiteY32" fmla="*/ 18107 h 612618"/>
              <a:gd name="connsiteX33" fmla="*/ 582440 w 1032573"/>
              <a:gd name="connsiteY33" fmla="*/ 6036 h 612618"/>
              <a:gd name="connsiteX34" fmla="*/ 561315 w 1032573"/>
              <a:gd name="connsiteY34" fmla="*/ 27160 h 612618"/>
              <a:gd name="connsiteX35" fmla="*/ 576561 w 1032573"/>
              <a:gd name="connsiteY35" fmla="*/ 60356 h 612618"/>
              <a:gd name="connsiteX36" fmla="*/ 579579 w 1032573"/>
              <a:gd name="connsiteY36" fmla="*/ 79738 h 612618"/>
              <a:gd name="connsiteX37" fmla="*/ 546226 w 1032573"/>
              <a:gd name="connsiteY37" fmla="*/ 96570 h 612618"/>
              <a:gd name="connsiteX38" fmla="*/ 513030 w 1032573"/>
              <a:gd name="connsiteY38" fmla="*/ 108641 h 612618"/>
              <a:gd name="connsiteX39" fmla="*/ 459502 w 1032573"/>
              <a:gd name="connsiteY39" fmla="*/ 112933 h 612618"/>
              <a:gd name="connsiteX40" fmla="*/ 464267 w 1032573"/>
              <a:gd name="connsiteY40" fmla="*/ 181069 h 612618"/>
              <a:gd name="connsiteX41" fmla="*/ 437584 w 1032573"/>
              <a:gd name="connsiteY41" fmla="*/ 214265 h 612618"/>
              <a:gd name="connsiteX42" fmla="*/ 416459 w 1032573"/>
              <a:gd name="connsiteY42" fmla="*/ 247461 h 612618"/>
              <a:gd name="connsiteX43" fmla="*/ 392317 w 1032573"/>
              <a:gd name="connsiteY43" fmla="*/ 259533 h 612618"/>
              <a:gd name="connsiteX44" fmla="*/ 353242 w 1032573"/>
              <a:gd name="connsiteY44" fmla="*/ 223486 h 612618"/>
              <a:gd name="connsiteX45" fmla="*/ 356103 w 1032573"/>
              <a:gd name="connsiteY45" fmla="*/ 298764 h 612618"/>
              <a:gd name="connsiteX46" fmla="*/ 334978 w 1032573"/>
              <a:gd name="connsiteY46" fmla="*/ 286693 h 612618"/>
              <a:gd name="connsiteX47" fmla="*/ 316871 w 1032573"/>
              <a:gd name="connsiteY47" fmla="*/ 283675 h 612618"/>
              <a:gd name="connsiteX48" fmla="*/ 277640 w 1032573"/>
              <a:gd name="connsiteY48" fmla="*/ 302586 h 612618"/>
              <a:gd name="connsiteX49" fmla="*/ 262551 w 1032573"/>
              <a:gd name="connsiteY49" fmla="*/ 317039 h 612618"/>
              <a:gd name="connsiteX50" fmla="*/ 229355 w 1032573"/>
              <a:gd name="connsiteY50" fmla="*/ 334978 h 612618"/>
              <a:gd name="connsiteX51" fmla="*/ 211248 w 1032573"/>
              <a:gd name="connsiteY51" fmla="*/ 316871 h 612618"/>
              <a:gd name="connsiteX52" fmla="*/ 196158 w 1032573"/>
              <a:gd name="connsiteY52" fmla="*/ 310836 h 612618"/>
              <a:gd name="connsiteX53" fmla="*/ 132784 w 1032573"/>
              <a:gd name="connsiteY53" fmla="*/ 350067 h 612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1032573" h="612618">
                <a:moveTo>
                  <a:pt x="132784" y="350067"/>
                </a:moveTo>
                <a:lnTo>
                  <a:pt x="141838" y="425513"/>
                </a:lnTo>
                <a:lnTo>
                  <a:pt x="93553" y="452673"/>
                </a:lnTo>
                <a:lnTo>
                  <a:pt x="90535" y="488887"/>
                </a:lnTo>
                <a:lnTo>
                  <a:pt x="90535" y="503976"/>
                </a:lnTo>
                <a:lnTo>
                  <a:pt x="0" y="482851"/>
                </a:lnTo>
                <a:lnTo>
                  <a:pt x="0" y="570368"/>
                </a:lnTo>
                <a:lnTo>
                  <a:pt x="15089" y="612618"/>
                </a:lnTo>
                <a:lnTo>
                  <a:pt x="75446" y="609600"/>
                </a:lnTo>
                <a:lnTo>
                  <a:pt x="135802" y="597529"/>
                </a:lnTo>
                <a:lnTo>
                  <a:pt x="208230" y="564333"/>
                </a:lnTo>
                <a:lnTo>
                  <a:pt x="310836" y="549243"/>
                </a:lnTo>
                <a:lnTo>
                  <a:pt x="449656" y="522083"/>
                </a:lnTo>
                <a:lnTo>
                  <a:pt x="624689" y="488887"/>
                </a:lnTo>
                <a:lnTo>
                  <a:pt x="781616" y="464744"/>
                </a:lnTo>
                <a:lnTo>
                  <a:pt x="841972" y="446637"/>
                </a:lnTo>
                <a:lnTo>
                  <a:pt x="919330" y="406769"/>
                </a:lnTo>
                <a:lnTo>
                  <a:pt x="951092" y="356103"/>
                </a:lnTo>
                <a:lnTo>
                  <a:pt x="969834" y="308924"/>
                </a:lnTo>
                <a:lnTo>
                  <a:pt x="999378" y="281763"/>
                </a:lnTo>
                <a:lnTo>
                  <a:pt x="1032573" y="255709"/>
                </a:lnTo>
                <a:lnTo>
                  <a:pt x="1018118" y="180601"/>
                </a:lnTo>
                <a:lnTo>
                  <a:pt x="959667" y="156927"/>
                </a:lnTo>
                <a:lnTo>
                  <a:pt x="932507" y="57338"/>
                </a:lnTo>
                <a:lnTo>
                  <a:pt x="917418" y="54321"/>
                </a:lnTo>
                <a:lnTo>
                  <a:pt x="899311" y="33196"/>
                </a:lnTo>
                <a:lnTo>
                  <a:pt x="878186" y="27160"/>
                </a:lnTo>
                <a:lnTo>
                  <a:pt x="860079" y="0"/>
                </a:lnTo>
                <a:lnTo>
                  <a:pt x="817830" y="21125"/>
                </a:lnTo>
                <a:lnTo>
                  <a:pt x="754456" y="30178"/>
                </a:lnTo>
                <a:lnTo>
                  <a:pt x="715224" y="30178"/>
                </a:lnTo>
                <a:lnTo>
                  <a:pt x="654867" y="36214"/>
                </a:lnTo>
                <a:lnTo>
                  <a:pt x="618654" y="18107"/>
                </a:lnTo>
                <a:lnTo>
                  <a:pt x="582440" y="6036"/>
                </a:lnTo>
                <a:lnTo>
                  <a:pt x="561315" y="27160"/>
                </a:lnTo>
                <a:lnTo>
                  <a:pt x="576561" y="60356"/>
                </a:lnTo>
                <a:lnTo>
                  <a:pt x="579579" y="79738"/>
                </a:lnTo>
                <a:lnTo>
                  <a:pt x="546226" y="96570"/>
                </a:lnTo>
                <a:lnTo>
                  <a:pt x="513030" y="108641"/>
                </a:lnTo>
                <a:lnTo>
                  <a:pt x="459502" y="112933"/>
                </a:lnTo>
                <a:lnTo>
                  <a:pt x="464267" y="181069"/>
                </a:lnTo>
                <a:lnTo>
                  <a:pt x="437584" y="214265"/>
                </a:lnTo>
                <a:lnTo>
                  <a:pt x="416459" y="247461"/>
                </a:lnTo>
                <a:lnTo>
                  <a:pt x="392317" y="259533"/>
                </a:lnTo>
                <a:lnTo>
                  <a:pt x="353242" y="223486"/>
                </a:lnTo>
                <a:lnTo>
                  <a:pt x="356103" y="298764"/>
                </a:lnTo>
                <a:lnTo>
                  <a:pt x="334978" y="286693"/>
                </a:lnTo>
                <a:lnTo>
                  <a:pt x="316871" y="283675"/>
                </a:lnTo>
                <a:lnTo>
                  <a:pt x="277640" y="302586"/>
                </a:lnTo>
                <a:lnTo>
                  <a:pt x="262551" y="317039"/>
                </a:lnTo>
                <a:lnTo>
                  <a:pt x="229355" y="334978"/>
                </a:lnTo>
                <a:lnTo>
                  <a:pt x="211248" y="316871"/>
                </a:lnTo>
                <a:lnTo>
                  <a:pt x="196158" y="310836"/>
                </a:lnTo>
                <a:lnTo>
                  <a:pt x="132784" y="350067"/>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0" name="Freeform 29"/>
          <p:cNvSpPr/>
          <p:nvPr/>
        </p:nvSpPr>
        <p:spPr>
          <a:xfrm>
            <a:off x="5813259" y="3925975"/>
            <a:ext cx="1264100" cy="594217"/>
          </a:xfrm>
          <a:custGeom>
            <a:avLst/>
            <a:gdLst>
              <a:gd name="connsiteX0" fmla="*/ 129766 w 1273521"/>
              <a:gd name="connsiteY0" fmla="*/ 238408 h 585458"/>
              <a:gd name="connsiteX1" fmla="*/ 63374 w 1273521"/>
              <a:gd name="connsiteY1" fmla="*/ 331961 h 585458"/>
              <a:gd name="connsiteX2" fmla="*/ 63374 w 1273521"/>
              <a:gd name="connsiteY2" fmla="*/ 368174 h 585458"/>
              <a:gd name="connsiteX3" fmla="*/ 33196 w 1273521"/>
              <a:gd name="connsiteY3" fmla="*/ 452673 h 585458"/>
              <a:gd name="connsiteX4" fmla="*/ 33196 w 1273521"/>
              <a:gd name="connsiteY4" fmla="*/ 488887 h 585458"/>
              <a:gd name="connsiteX5" fmla="*/ 6036 w 1273521"/>
              <a:gd name="connsiteY5" fmla="*/ 525101 h 585458"/>
              <a:gd name="connsiteX6" fmla="*/ 6036 w 1273521"/>
              <a:gd name="connsiteY6" fmla="*/ 555279 h 585458"/>
              <a:gd name="connsiteX7" fmla="*/ 0 w 1273521"/>
              <a:gd name="connsiteY7" fmla="*/ 585458 h 585458"/>
              <a:gd name="connsiteX8" fmla="*/ 283675 w 1273521"/>
              <a:gd name="connsiteY8" fmla="*/ 540190 h 585458"/>
              <a:gd name="connsiteX9" fmla="*/ 328942 w 1273521"/>
              <a:gd name="connsiteY9" fmla="*/ 549244 h 585458"/>
              <a:gd name="connsiteX10" fmla="*/ 334978 w 1273521"/>
              <a:gd name="connsiteY10" fmla="*/ 531137 h 585458"/>
              <a:gd name="connsiteX11" fmla="*/ 365156 w 1273521"/>
              <a:gd name="connsiteY11" fmla="*/ 525101 h 585458"/>
              <a:gd name="connsiteX12" fmla="*/ 419477 w 1273521"/>
              <a:gd name="connsiteY12" fmla="*/ 497941 h 585458"/>
              <a:gd name="connsiteX13" fmla="*/ 452673 w 1273521"/>
              <a:gd name="connsiteY13" fmla="*/ 516048 h 585458"/>
              <a:gd name="connsiteX14" fmla="*/ 932507 w 1273521"/>
              <a:gd name="connsiteY14" fmla="*/ 413442 h 585458"/>
              <a:gd name="connsiteX15" fmla="*/ 905346 w 1273521"/>
              <a:gd name="connsiteY15" fmla="*/ 371192 h 585458"/>
              <a:gd name="connsiteX16" fmla="*/ 941560 w 1273521"/>
              <a:gd name="connsiteY16" fmla="*/ 344032 h 585458"/>
              <a:gd name="connsiteX17" fmla="*/ 956649 w 1273521"/>
              <a:gd name="connsiteY17" fmla="*/ 307818 h 585458"/>
              <a:gd name="connsiteX18" fmla="*/ 1017006 w 1273521"/>
              <a:gd name="connsiteY18" fmla="*/ 250479 h 585458"/>
              <a:gd name="connsiteX19" fmla="*/ 1068309 w 1273521"/>
              <a:gd name="connsiteY19" fmla="*/ 220301 h 585458"/>
              <a:gd name="connsiteX20" fmla="*/ 1101505 w 1273521"/>
              <a:gd name="connsiteY20" fmla="*/ 187105 h 585458"/>
              <a:gd name="connsiteX21" fmla="*/ 1122630 w 1273521"/>
              <a:gd name="connsiteY21" fmla="*/ 144856 h 585458"/>
              <a:gd name="connsiteX22" fmla="*/ 1167897 w 1273521"/>
              <a:gd name="connsiteY22" fmla="*/ 141838 h 585458"/>
              <a:gd name="connsiteX23" fmla="*/ 1192040 w 1273521"/>
              <a:gd name="connsiteY23" fmla="*/ 108642 h 585458"/>
              <a:gd name="connsiteX24" fmla="*/ 1207129 w 1273521"/>
              <a:gd name="connsiteY24" fmla="*/ 90535 h 585458"/>
              <a:gd name="connsiteX25" fmla="*/ 1240325 w 1273521"/>
              <a:gd name="connsiteY25" fmla="*/ 96570 h 585458"/>
              <a:gd name="connsiteX26" fmla="*/ 1270503 w 1273521"/>
              <a:gd name="connsiteY26" fmla="*/ 57339 h 585458"/>
              <a:gd name="connsiteX27" fmla="*/ 1273521 w 1273521"/>
              <a:gd name="connsiteY27" fmla="*/ 0 h 585458"/>
              <a:gd name="connsiteX28" fmla="*/ 980792 w 1273521"/>
              <a:gd name="connsiteY28" fmla="*/ 78463 h 585458"/>
              <a:gd name="connsiteX29" fmla="*/ 334978 w 1273521"/>
              <a:gd name="connsiteY29" fmla="*/ 199176 h 585458"/>
              <a:gd name="connsiteX30" fmla="*/ 274622 w 1273521"/>
              <a:gd name="connsiteY30" fmla="*/ 235390 h 585458"/>
              <a:gd name="connsiteX31" fmla="*/ 235390 w 1273521"/>
              <a:gd name="connsiteY31" fmla="*/ 238408 h 585458"/>
              <a:gd name="connsiteX32" fmla="*/ 129766 w 1273521"/>
              <a:gd name="connsiteY32" fmla="*/ 238408 h 585458"/>
              <a:gd name="connsiteX0" fmla="*/ 129766 w 1278631"/>
              <a:gd name="connsiteY0" fmla="*/ 252687 h 599737"/>
              <a:gd name="connsiteX1" fmla="*/ 63374 w 1278631"/>
              <a:gd name="connsiteY1" fmla="*/ 346240 h 599737"/>
              <a:gd name="connsiteX2" fmla="*/ 63374 w 1278631"/>
              <a:gd name="connsiteY2" fmla="*/ 382453 h 599737"/>
              <a:gd name="connsiteX3" fmla="*/ 33196 w 1278631"/>
              <a:gd name="connsiteY3" fmla="*/ 466952 h 599737"/>
              <a:gd name="connsiteX4" fmla="*/ 33196 w 1278631"/>
              <a:gd name="connsiteY4" fmla="*/ 503166 h 599737"/>
              <a:gd name="connsiteX5" fmla="*/ 6036 w 1278631"/>
              <a:gd name="connsiteY5" fmla="*/ 539380 h 599737"/>
              <a:gd name="connsiteX6" fmla="*/ 6036 w 1278631"/>
              <a:gd name="connsiteY6" fmla="*/ 569558 h 599737"/>
              <a:gd name="connsiteX7" fmla="*/ 0 w 1278631"/>
              <a:gd name="connsiteY7" fmla="*/ 599737 h 599737"/>
              <a:gd name="connsiteX8" fmla="*/ 283675 w 1278631"/>
              <a:gd name="connsiteY8" fmla="*/ 554469 h 599737"/>
              <a:gd name="connsiteX9" fmla="*/ 328942 w 1278631"/>
              <a:gd name="connsiteY9" fmla="*/ 563523 h 599737"/>
              <a:gd name="connsiteX10" fmla="*/ 334978 w 1278631"/>
              <a:gd name="connsiteY10" fmla="*/ 545416 h 599737"/>
              <a:gd name="connsiteX11" fmla="*/ 365156 w 1278631"/>
              <a:gd name="connsiteY11" fmla="*/ 539380 h 599737"/>
              <a:gd name="connsiteX12" fmla="*/ 419477 w 1278631"/>
              <a:gd name="connsiteY12" fmla="*/ 512220 h 599737"/>
              <a:gd name="connsiteX13" fmla="*/ 452673 w 1278631"/>
              <a:gd name="connsiteY13" fmla="*/ 530327 h 599737"/>
              <a:gd name="connsiteX14" fmla="*/ 932507 w 1278631"/>
              <a:gd name="connsiteY14" fmla="*/ 427721 h 599737"/>
              <a:gd name="connsiteX15" fmla="*/ 905346 w 1278631"/>
              <a:gd name="connsiteY15" fmla="*/ 385471 h 599737"/>
              <a:gd name="connsiteX16" fmla="*/ 941560 w 1278631"/>
              <a:gd name="connsiteY16" fmla="*/ 358311 h 599737"/>
              <a:gd name="connsiteX17" fmla="*/ 956649 w 1278631"/>
              <a:gd name="connsiteY17" fmla="*/ 322097 h 599737"/>
              <a:gd name="connsiteX18" fmla="*/ 1017006 w 1278631"/>
              <a:gd name="connsiteY18" fmla="*/ 264758 h 599737"/>
              <a:gd name="connsiteX19" fmla="*/ 1068309 w 1278631"/>
              <a:gd name="connsiteY19" fmla="*/ 234580 h 599737"/>
              <a:gd name="connsiteX20" fmla="*/ 1101505 w 1278631"/>
              <a:gd name="connsiteY20" fmla="*/ 201384 h 599737"/>
              <a:gd name="connsiteX21" fmla="*/ 1122630 w 1278631"/>
              <a:gd name="connsiteY21" fmla="*/ 159135 h 599737"/>
              <a:gd name="connsiteX22" fmla="*/ 1167897 w 1278631"/>
              <a:gd name="connsiteY22" fmla="*/ 156117 h 599737"/>
              <a:gd name="connsiteX23" fmla="*/ 1192040 w 1278631"/>
              <a:gd name="connsiteY23" fmla="*/ 122921 h 599737"/>
              <a:gd name="connsiteX24" fmla="*/ 1207129 w 1278631"/>
              <a:gd name="connsiteY24" fmla="*/ 104814 h 599737"/>
              <a:gd name="connsiteX25" fmla="*/ 1240325 w 1278631"/>
              <a:gd name="connsiteY25" fmla="*/ 110849 h 599737"/>
              <a:gd name="connsiteX26" fmla="*/ 1270503 w 1278631"/>
              <a:gd name="connsiteY26" fmla="*/ 71618 h 599737"/>
              <a:gd name="connsiteX27" fmla="*/ 1278631 w 1278631"/>
              <a:gd name="connsiteY27" fmla="*/ 0 h 599737"/>
              <a:gd name="connsiteX28" fmla="*/ 980792 w 1278631"/>
              <a:gd name="connsiteY28" fmla="*/ 92742 h 599737"/>
              <a:gd name="connsiteX29" fmla="*/ 334978 w 1278631"/>
              <a:gd name="connsiteY29" fmla="*/ 213455 h 599737"/>
              <a:gd name="connsiteX30" fmla="*/ 274622 w 1278631"/>
              <a:gd name="connsiteY30" fmla="*/ 249669 h 599737"/>
              <a:gd name="connsiteX31" fmla="*/ 235390 w 1278631"/>
              <a:gd name="connsiteY31" fmla="*/ 252687 h 599737"/>
              <a:gd name="connsiteX32" fmla="*/ 129766 w 1278631"/>
              <a:gd name="connsiteY32" fmla="*/ 252687 h 599737"/>
              <a:gd name="connsiteX0" fmla="*/ 98837 w 1278631"/>
              <a:gd name="connsiteY0" fmla="*/ 262065 h 599737"/>
              <a:gd name="connsiteX1" fmla="*/ 63374 w 1278631"/>
              <a:gd name="connsiteY1" fmla="*/ 346240 h 599737"/>
              <a:gd name="connsiteX2" fmla="*/ 63374 w 1278631"/>
              <a:gd name="connsiteY2" fmla="*/ 382453 h 599737"/>
              <a:gd name="connsiteX3" fmla="*/ 33196 w 1278631"/>
              <a:gd name="connsiteY3" fmla="*/ 466952 h 599737"/>
              <a:gd name="connsiteX4" fmla="*/ 33196 w 1278631"/>
              <a:gd name="connsiteY4" fmla="*/ 503166 h 599737"/>
              <a:gd name="connsiteX5" fmla="*/ 6036 w 1278631"/>
              <a:gd name="connsiteY5" fmla="*/ 539380 h 599737"/>
              <a:gd name="connsiteX6" fmla="*/ 6036 w 1278631"/>
              <a:gd name="connsiteY6" fmla="*/ 569558 h 599737"/>
              <a:gd name="connsiteX7" fmla="*/ 0 w 1278631"/>
              <a:gd name="connsiteY7" fmla="*/ 599737 h 599737"/>
              <a:gd name="connsiteX8" fmla="*/ 283675 w 1278631"/>
              <a:gd name="connsiteY8" fmla="*/ 554469 h 599737"/>
              <a:gd name="connsiteX9" fmla="*/ 328942 w 1278631"/>
              <a:gd name="connsiteY9" fmla="*/ 563523 h 599737"/>
              <a:gd name="connsiteX10" fmla="*/ 334978 w 1278631"/>
              <a:gd name="connsiteY10" fmla="*/ 545416 h 599737"/>
              <a:gd name="connsiteX11" fmla="*/ 365156 w 1278631"/>
              <a:gd name="connsiteY11" fmla="*/ 539380 h 599737"/>
              <a:gd name="connsiteX12" fmla="*/ 419477 w 1278631"/>
              <a:gd name="connsiteY12" fmla="*/ 512220 h 599737"/>
              <a:gd name="connsiteX13" fmla="*/ 452673 w 1278631"/>
              <a:gd name="connsiteY13" fmla="*/ 530327 h 599737"/>
              <a:gd name="connsiteX14" fmla="*/ 932507 w 1278631"/>
              <a:gd name="connsiteY14" fmla="*/ 427721 h 599737"/>
              <a:gd name="connsiteX15" fmla="*/ 905346 w 1278631"/>
              <a:gd name="connsiteY15" fmla="*/ 385471 h 599737"/>
              <a:gd name="connsiteX16" fmla="*/ 941560 w 1278631"/>
              <a:gd name="connsiteY16" fmla="*/ 358311 h 599737"/>
              <a:gd name="connsiteX17" fmla="*/ 956649 w 1278631"/>
              <a:gd name="connsiteY17" fmla="*/ 322097 h 599737"/>
              <a:gd name="connsiteX18" fmla="*/ 1017006 w 1278631"/>
              <a:gd name="connsiteY18" fmla="*/ 264758 h 599737"/>
              <a:gd name="connsiteX19" fmla="*/ 1068309 w 1278631"/>
              <a:gd name="connsiteY19" fmla="*/ 234580 h 599737"/>
              <a:gd name="connsiteX20" fmla="*/ 1101505 w 1278631"/>
              <a:gd name="connsiteY20" fmla="*/ 201384 h 599737"/>
              <a:gd name="connsiteX21" fmla="*/ 1122630 w 1278631"/>
              <a:gd name="connsiteY21" fmla="*/ 159135 h 599737"/>
              <a:gd name="connsiteX22" fmla="*/ 1167897 w 1278631"/>
              <a:gd name="connsiteY22" fmla="*/ 156117 h 599737"/>
              <a:gd name="connsiteX23" fmla="*/ 1192040 w 1278631"/>
              <a:gd name="connsiteY23" fmla="*/ 122921 h 599737"/>
              <a:gd name="connsiteX24" fmla="*/ 1207129 w 1278631"/>
              <a:gd name="connsiteY24" fmla="*/ 104814 h 599737"/>
              <a:gd name="connsiteX25" fmla="*/ 1240325 w 1278631"/>
              <a:gd name="connsiteY25" fmla="*/ 110849 h 599737"/>
              <a:gd name="connsiteX26" fmla="*/ 1270503 w 1278631"/>
              <a:gd name="connsiteY26" fmla="*/ 71618 h 599737"/>
              <a:gd name="connsiteX27" fmla="*/ 1278631 w 1278631"/>
              <a:gd name="connsiteY27" fmla="*/ 0 h 599737"/>
              <a:gd name="connsiteX28" fmla="*/ 980792 w 1278631"/>
              <a:gd name="connsiteY28" fmla="*/ 92742 h 599737"/>
              <a:gd name="connsiteX29" fmla="*/ 334978 w 1278631"/>
              <a:gd name="connsiteY29" fmla="*/ 213455 h 599737"/>
              <a:gd name="connsiteX30" fmla="*/ 274622 w 1278631"/>
              <a:gd name="connsiteY30" fmla="*/ 249669 h 599737"/>
              <a:gd name="connsiteX31" fmla="*/ 235390 w 1278631"/>
              <a:gd name="connsiteY31" fmla="*/ 252687 h 599737"/>
              <a:gd name="connsiteX32" fmla="*/ 98837 w 1278631"/>
              <a:gd name="connsiteY32" fmla="*/ 262065 h 599737"/>
              <a:gd name="connsiteX0" fmla="*/ 98837 w 1278631"/>
              <a:gd name="connsiteY0" fmla="*/ 262065 h 599737"/>
              <a:gd name="connsiteX1" fmla="*/ 63374 w 1278631"/>
              <a:gd name="connsiteY1" fmla="*/ 346240 h 599737"/>
              <a:gd name="connsiteX2" fmla="*/ 63374 w 1278631"/>
              <a:gd name="connsiteY2" fmla="*/ 382453 h 599737"/>
              <a:gd name="connsiteX3" fmla="*/ 33196 w 1278631"/>
              <a:gd name="connsiteY3" fmla="*/ 466952 h 599737"/>
              <a:gd name="connsiteX4" fmla="*/ 33196 w 1278631"/>
              <a:gd name="connsiteY4" fmla="*/ 503166 h 599737"/>
              <a:gd name="connsiteX5" fmla="*/ 6036 w 1278631"/>
              <a:gd name="connsiteY5" fmla="*/ 539380 h 599737"/>
              <a:gd name="connsiteX6" fmla="*/ 6036 w 1278631"/>
              <a:gd name="connsiteY6" fmla="*/ 569558 h 599737"/>
              <a:gd name="connsiteX7" fmla="*/ 0 w 1278631"/>
              <a:gd name="connsiteY7" fmla="*/ 599737 h 599737"/>
              <a:gd name="connsiteX8" fmla="*/ 283675 w 1278631"/>
              <a:gd name="connsiteY8" fmla="*/ 554469 h 599737"/>
              <a:gd name="connsiteX9" fmla="*/ 328942 w 1278631"/>
              <a:gd name="connsiteY9" fmla="*/ 563523 h 599737"/>
              <a:gd name="connsiteX10" fmla="*/ 334978 w 1278631"/>
              <a:gd name="connsiteY10" fmla="*/ 545416 h 599737"/>
              <a:gd name="connsiteX11" fmla="*/ 365156 w 1278631"/>
              <a:gd name="connsiteY11" fmla="*/ 539380 h 599737"/>
              <a:gd name="connsiteX12" fmla="*/ 419477 w 1278631"/>
              <a:gd name="connsiteY12" fmla="*/ 512220 h 599737"/>
              <a:gd name="connsiteX13" fmla="*/ 443268 w 1278631"/>
              <a:gd name="connsiteY13" fmla="*/ 539549 h 599737"/>
              <a:gd name="connsiteX14" fmla="*/ 932507 w 1278631"/>
              <a:gd name="connsiteY14" fmla="*/ 427721 h 599737"/>
              <a:gd name="connsiteX15" fmla="*/ 905346 w 1278631"/>
              <a:gd name="connsiteY15" fmla="*/ 385471 h 599737"/>
              <a:gd name="connsiteX16" fmla="*/ 941560 w 1278631"/>
              <a:gd name="connsiteY16" fmla="*/ 358311 h 599737"/>
              <a:gd name="connsiteX17" fmla="*/ 956649 w 1278631"/>
              <a:gd name="connsiteY17" fmla="*/ 322097 h 599737"/>
              <a:gd name="connsiteX18" fmla="*/ 1017006 w 1278631"/>
              <a:gd name="connsiteY18" fmla="*/ 264758 h 599737"/>
              <a:gd name="connsiteX19" fmla="*/ 1068309 w 1278631"/>
              <a:gd name="connsiteY19" fmla="*/ 234580 h 599737"/>
              <a:gd name="connsiteX20" fmla="*/ 1101505 w 1278631"/>
              <a:gd name="connsiteY20" fmla="*/ 201384 h 599737"/>
              <a:gd name="connsiteX21" fmla="*/ 1122630 w 1278631"/>
              <a:gd name="connsiteY21" fmla="*/ 159135 h 599737"/>
              <a:gd name="connsiteX22" fmla="*/ 1167897 w 1278631"/>
              <a:gd name="connsiteY22" fmla="*/ 156117 h 599737"/>
              <a:gd name="connsiteX23" fmla="*/ 1192040 w 1278631"/>
              <a:gd name="connsiteY23" fmla="*/ 122921 h 599737"/>
              <a:gd name="connsiteX24" fmla="*/ 1207129 w 1278631"/>
              <a:gd name="connsiteY24" fmla="*/ 104814 h 599737"/>
              <a:gd name="connsiteX25" fmla="*/ 1240325 w 1278631"/>
              <a:gd name="connsiteY25" fmla="*/ 110849 h 599737"/>
              <a:gd name="connsiteX26" fmla="*/ 1270503 w 1278631"/>
              <a:gd name="connsiteY26" fmla="*/ 71618 h 599737"/>
              <a:gd name="connsiteX27" fmla="*/ 1278631 w 1278631"/>
              <a:gd name="connsiteY27" fmla="*/ 0 h 599737"/>
              <a:gd name="connsiteX28" fmla="*/ 980792 w 1278631"/>
              <a:gd name="connsiteY28" fmla="*/ 92742 h 599737"/>
              <a:gd name="connsiteX29" fmla="*/ 334978 w 1278631"/>
              <a:gd name="connsiteY29" fmla="*/ 213455 h 599737"/>
              <a:gd name="connsiteX30" fmla="*/ 274622 w 1278631"/>
              <a:gd name="connsiteY30" fmla="*/ 249669 h 599737"/>
              <a:gd name="connsiteX31" fmla="*/ 235390 w 1278631"/>
              <a:gd name="connsiteY31" fmla="*/ 252687 h 599737"/>
              <a:gd name="connsiteX32" fmla="*/ 98837 w 1278631"/>
              <a:gd name="connsiteY32" fmla="*/ 262065 h 599737"/>
              <a:gd name="connsiteX0" fmla="*/ 98837 w 1278631"/>
              <a:gd name="connsiteY0" fmla="*/ 262065 h 599737"/>
              <a:gd name="connsiteX1" fmla="*/ 63374 w 1278631"/>
              <a:gd name="connsiteY1" fmla="*/ 346240 h 599737"/>
              <a:gd name="connsiteX2" fmla="*/ 63374 w 1278631"/>
              <a:gd name="connsiteY2" fmla="*/ 382453 h 599737"/>
              <a:gd name="connsiteX3" fmla="*/ 33196 w 1278631"/>
              <a:gd name="connsiteY3" fmla="*/ 466952 h 599737"/>
              <a:gd name="connsiteX4" fmla="*/ 33196 w 1278631"/>
              <a:gd name="connsiteY4" fmla="*/ 503166 h 599737"/>
              <a:gd name="connsiteX5" fmla="*/ 6036 w 1278631"/>
              <a:gd name="connsiteY5" fmla="*/ 539380 h 599737"/>
              <a:gd name="connsiteX6" fmla="*/ 6036 w 1278631"/>
              <a:gd name="connsiteY6" fmla="*/ 569558 h 599737"/>
              <a:gd name="connsiteX7" fmla="*/ 0 w 1278631"/>
              <a:gd name="connsiteY7" fmla="*/ 599737 h 599737"/>
              <a:gd name="connsiteX8" fmla="*/ 283675 w 1278631"/>
              <a:gd name="connsiteY8" fmla="*/ 554469 h 599737"/>
              <a:gd name="connsiteX9" fmla="*/ 328942 w 1278631"/>
              <a:gd name="connsiteY9" fmla="*/ 563523 h 599737"/>
              <a:gd name="connsiteX10" fmla="*/ 334978 w 1278631"/>
              <a:gd name="connsiteY10" fmla="*/ 545416 h 599737"/>
              <a:gd name="connsiteX11" fmla="*/ 365156 w 1278631"/>
              <a:gd name="connsiteY11" fmla="*/ 539380 h 599737"/>
              <a:gd name="connsiteX12" fmla="*/ 412445 w 1278631"/>
              <a:gd name="connsiteY12" fmla="*/ 511932 h 599737"/>
              <a:gd name="connsiteX13" fmla="*/ 443268 w 1278631"/>
              <a:gd name="connsiteY13" fmla="*/ 539549 h 599737"/>
              <a:gd name="connsiteX14" fmla="*/ 932507 w 1278631"/>
              <a:gd name="connsiteY14" fmla="*/ 427721 h 599737"/>
              <a:gd name="connsiteX15" fmla="*/ 905346 w 1278631"/>
              <a:gd name="connsiteY15" fmla="*/ 385471 h 599737"/>
              <a:gd name="connsiteX16" fmla="*/ 941560 w 1278631"/>
              <a:gd name="connsiteY16" fmla="*/ 358311 h 599737"/>
              <a:gd name="connsiteX17" fmla="*/ 956649 w 1278631"/>
              <a:gd name="connsiteY17" fmla="*/ 322097 h 599737"/>
              <a:gd name="connsiteX18" fmla="*/ 1017006 w 1278631"/>
              <a:gd name="connsiteY18" fmla="*/ 264758 h 599737"/>
              <a:gd name="connsiteX19" fmla="*/ 1068309 w 1278631"/>
              <a:gd name="connsiteY19" fmla="*/ 234580 h 599737"/>
              <a:gd name="connsiteX20" fmla="*/ 1101505 w 1278631"/>
              <a:gd name="connsiteY20" fmla="*/ 201384 h 599737"/>
              <a:gd name="connsiteX21" fmla="*/ 1122630 w 1278631"/>
              <a:gd name="connsiteY21" fmla="*/ 159135 h 599737"/>
              <a:gd name="connsiteX22" fmla="*/ 1167897 w 1278631"/>
              <a:gd name="connsiteY22" fmla="*/ 156117 h 599737"/>
              <a:gd name="connsiteX23" fmla="*/ 1192040 w 1278631"/>
              <a:gd name="connsiteY23" fmla="*/ 122921 h 599737"/>
              <a:gd name="connsiteX24" fmla="*/ 1207129 w 1278631"/>
              <a:gd name="connsiteY24" fmla="*/ 104814 h 599737"/>
              <a:gd name="connsiteX25" fmla="*/ 1240325 w 1278631"/>
              <a:gd name="connsiteY25" fmla="*/ 110849 h 599737"/>
              <a:gd name="connsiteX26" fmla="*/ 1270503 w 1278631"/>
              <a:gd name="connsiteY26" fmla="*/ 71618 h 599737"/>
              <a:gd name="connsiteX27" fmla="*/ 1278631 w 1278631"/>
              <a:gd name="connsiteY27" fmla="*/ 0 h 599737"/>
              <a:gd name="connsiteX28" fmla="*/ 980792 w 1278631"/>
              <a:gd name="connsiteY28" fmla="*/ 92742 h 599737"/>
              <a:gd name="connsiteX29" fmla="*/ 334978 w 1278631"/>
              <a:gd name="connsiteY29" fmla="*/ 213455 h 599737"/>
              <a:gd name="connsiteX30" fmla="*/ 274622 w 1278631"/>
              <a:gd name="connsiteY30" fmla="*/ 249669 h 599737"/>
              <a:gd name="connsiteX31" fmla="*/ 235390 w 1278631"/>
              <a:gd name="connsiteY31" fmla="*/ 252687 h 599737"/>
              <a:gd name="connsiteX32" fmla="*/ 98837 w 1278631"/>
              <a:gd name="connsiteY32" fmla="*/ 262065 h 599737"/>
              <a:gd name="connsiteX0" fmla="*/ 98837 w 1278631"/>
              <a:gd name="connsiteY0" fmla="*/ 262065 h 599737"/>
              <a:gd name="connsiteX1" fmla="*/ 63374 w 1278631"/>
              <a:gd name="connsiteY1" fmla="*/ 346240 h 599737"/>
              <a:gd name="connsiteX2" fmla="*/ 63374 w 1278631"/>
              <a:gd name="connsiteY2" fmla="*/ 382453 h 599737"/>
              <a:gd name="connsiteX3" fmla="*/ 33196 w 1278631"/>
              <a:gd name="connsiteY3" fmla="*/ 466952 h 599737"/>
              <a:gd name="connsiteX4" fmla="*/ 33196 w 1278631"/>
              <a:gd name="connsiteY4" fmla="*/ 503166 h 599737"/>
              <a:gd name="connsiteX5" fmla="*/ 6036 w 1278631"/>
              <a:gd name="connsiteY5" fmla="*/ 539380 h 599737"/>
              <a:gd name="connsiteX6" fmla="*/ 6036 w 1278631"/>
              <a:gd name="connsiteY6" fmla="*/ 569558 h 599737"/>
              <a:gd name="connsiteX7" fmla="*/ 0 w 1278631"/>
              <a:gd name="connsiteY7" fmla="*/ 599737 h 599737"/>
              <a:gd name="connsiteX8" fmla="*/ 283675 w 1278631"/>
              <a:gd name="connsiteY8" fmla="*/ 554469 h 599737"/>
              <a:gd name="connsiteX9" fmla="*/ 328942 w 1278631"/>
              <a:gd name="connsiteY9" fmla="*/ 563523 h 599737"/>
              <a:gd name="connsiteX10" fmla="*/ 334978 w 1278631"/>
              <a:gd name="connsiteY10" fmla="*/ 545416 h 599737"/>
              <a:gd name="connsiteX11" fmla="*/ 365156 w 1278631"/>
              <a:gd name="connsiteY11" fmla="*/ 539380 h 599737"/>
              <a:gd name="connsiteX12" fmla="*/ 414939 w 1278631"/>
              <a:gd name="connsiteY12" fmla="*/ 521164 h 599737"/>
              <a:gd name="connsiteX13" fmla="*/ 443268 w 1278631"/>
              <a:gd name="connsiteY13" fmla="*/ 539549 h 599737"/>
              <a:gd name="connsiteX14" fmla="*/ 932507 w 1278631"/>
              <a:gd name="connsiteY14" fmla="*/ 427721 h 599737"/>
              <a:gd name="connsiteX15" fmla="*/ 905346 w 1278631"/>
              <a:gd name="connsiteY15" fmla="*/ 385471 h 599737"/>
              <a:gd name="connsiteX16" fmla="*/ 941560 w 1278631"/>
              <a:gd name="connsiteY16" fmla="*/ 358311 h 599737"/>
              <a:gd name="connsiteX17" fmla="*/ 956649 w 1278631"/>
              <a:gd name="connsiteY17" fmla="*/ 322097 h 599737"/>
              <a:gd name="connsiteX18" fmla="*/ 1017006 w 1278631"/>
              <a:gd name="connsiteY18" fmla="*/ 264758 h 599737"/>
              <a:gd name="connsiteX19" fmla="*/ 1068309 w 1278631"/>
              <a:gd name="connsiteY19" fmla="*/ 234580 h 599737"/>
              <a:gd name="connsiteX20" fmla="*/ 1101505 w 1278631"/>
              <a:gd name="connsiteY20" fmla="*/ 201384 h 599737"/>
              <a:gd name="connsiteX21" fmla="*/ 1122630 w 1278631"/>
              <a:gd name="connsiteY21" fmla="*/ 159135 h 599737"/>
              <a:gd name="connsiteX22" fmla="*/ 1167897 w 1278631"/>
              <a:gd name="connsiteY22" fmla="*/ 156117 h 599737"/>
              <a:gd name="connsiteX23" fmla="*/ 1192040 w 1278631"/>
              <a:gd name="connsiteY23" fmla="*/ 122921 h 599737"/>
              <a:gd name="connsiteX24" fmla="*/ 1207129 w 1278631"/>
              <a:gd name="connsiteY24" fmla="*/ 104814 h 599737"/>
              <a:gd name="connsiteX25" fmla="*/ 1240325 w 1278631"/>
              <a:gd name="connsiteY25" fmla="*/ 110849 h 599737"/>
              <a:gd name="connsiteX26" fmla="*/ 1270503 w 1278631"/>
              <a:gd name="connsiteY26" fmla="*/ 71618 h 599737"/>
              <a:gd name="connsiteX27" fmla="*/ 1278631 w 1278631"/>
              <a:gd name="connsiteY27" fmla="*/ 0 h 599737"/>
              <a:gd name="connsiteX28" fmla="*/ 980792 w 1278631"/>
              <a:gd name="connsiteY28" fmla="*/ 92742 h 599737"/>
              <a:gd name="connsiteX29" fmla="*/ 334978 w 1278631"/>
              <a:gd name="connsiteY29" fmla="*/ 213455 h 599737"/>
              <a:gd name="connsiteX30" fmla="*/ 274622 w 1278631"/>
              <a:gd name="connsiteY30" fmla="*/ 249669 h 599737"/>
              <a:gd name="connsiteX31" fmla="*/ 235390 w 1278631"/>
              <a:gd name="connsiteY31" fmla="*/ 252687 h 599737"/>
              <a:gd name="connsiteX32" fmla="*/ 98837 w 1278631"/>
              <a:gd name="connsiteY32" fmla="*/ 262065 h 599737"/>
              <a:gd name="connsiteX0" fmla="*/ 98837 w 1278631"/>
              <a:gd name="connsiteY0" fmla="*/ 262065 h 599737"/>
              <a:gd name="connsiteX1" fmla="*/ 63374 w 1278631"/>
              <a:gd name="connsiteY1" fmla="*/ 346240 h 599737"/>
              <a:gd name="connsiteX2" fmla="*/ 63374 w 1278631"/>
              <a:gd name="connsiteY2" fmla="*/ 382453 h 599737"/>
              <a:gd name="connsiteX3" fmla="*/ 33196 w 1278631"/>
              <a:gd name="connsiteY3" fmla="*/ 466952 h 599737"/>
              <a:gd name="connsiteX4" fmla="*/ 33196 w 1278631"/>
              <a:gd name="connsiteY4" fmla="*/ 503166 h 599737"/>
              <a:gd name="connsiteX5" fmla="*/ 6036 w 1278631"/>
              <a:gd name="connsiteY5" fmla="*/ 539380 h 599737"/>
              <a:gd name="connsiteX6" fmla="*/ 6036 w 1278631"/>
              <a:gd name="connsiteY6" fmla="*/ 569558 h 599737"/>
              <a:gd name="connsiteX7" fmla="*/ 0 w 1278631"/>
              <a:gd name="connsiteY7" fmla="*/ 599737 h 599737"/>
              <a:gd name="connsiteX8" fmla="*/ 283675 w 1278631"/>
              <a:gd name="connsiteY8" fmla="*/ 554469 h 599737"/>
              <a:gd name="connsiteX9" fmla="*/ 328942 w 1278631"/>
              <a:gd name="connsiteY9" fmla="*/ 563523 h 599737"/>
              <a:gd name="connsiteX10" fmla="*/ 334978 w 1278631"/>
              <a:gd name="connsiteY10" fmla="*/ 545416 h 599737"/>
              <a:gd name="connsiteX11" fmla="*/ 365156 w 1278631"/>
              <a:gd name="connsiteY11" fmla="*/ 539380 h 599737"/>
              <a:gd name="connsiteX12" fmla="*/ 414939 w 1278631"/>
              <a:gd name="connsiteY12" fmla="*/ 521164 h 599737"/>
              <a:gd name="connsiteX13" fmla="*/ 443268 w 1278631"/>
              <a:gd name="connsiteY13" fmla="*/ 539549 h 599737"/>
              <a:gd name="connsiteX14" fmla="*/ 932507 w 1278631"/>
              <a:gd name="connsiteY14" fmla="*/ 427721 h 599737"/>
              <a:gd name="connsiteX15" fmla="*/ 905346 w 1278631"/>
              <a:gd name="connsiteY15" fmla="*/ 385471 h 599737"/>
              <a:gd name="connsiteX16" fmla="*/ 941560 w 1278631"/>
              <a:gd name="connsiteY16" fmla="*/ 358311 h 599737"/>
              <a:gd name="connsiteX17" fmla="*/ 956649 w 1278631"/>
              <a:gd name="connsiteY17" fmla="*/ 322097 h 599737"/>
              <a:gd name="connsiteX18" fmla="*/ 1017006 w 1278631"/>
              <a:gd name="connsiteY18" fmla="*/ 264758 h 599737"/>
              <a:gd name="connsiteX19" fmla="*/ 1068309 w 1278631"/>
              <a:gd name="connsiteY19" fmla="*/ 234580 h 599737"/>
              <a:gd name="connsiteX20" fmla="*/ 1101505 w 1278631"/>
              <a:gd name="connsiteY20" fmla="*/ 201384 h 599737"/>
              <a:gd name="connsiteX21" fmla="*/ 1141254 w 1278631"/>
              <a:gd name="connsiteY21" fmla="*/ 170765 h 599737"/>
              <a:gd name="connsiteX22" fmla="*/ 1167897 w 1278631"/>
              <a:gd name="connsiteY22" fmla="*/ 156117 h 599737"/>
              <a:gd name="connsiteX23" fmla="*/ 1192040 w 1278631"/>
              <a:gd name="connsiteY23" fmla="*/ 122921 h 599737"/>
              <a:gd name="connsiteX24" fmla="*/ 1207129 w 1278631"/>
              <a:gd name="connsiteY24" fmla="*/ 104814 h 599737"/>
              <a:gd name="connsiteX25" fmla="*/ 1240325 w 1278631"/>
              <a:gd name="connsiteY25" fmla="*/ 110849 h 599737"/>
              <a:gd name="connsiteX26" fmla="*/ 1270503 w 1278631"/>
              <a:gd name="connsiteY26" fmla="*/ 71618 h 599737"/>
              <a:gd name="connsiteX27" fmla="*/ 1278631 w 1278631"/>
              <a:gd name="connsiteY27" fmla="*/ 0 h 599737"/>
              <a:gd name="connsiteX28" fmla="*/ 980792 w 1278631"/>
              <a:gd name="connsiteY28" fmla="*/ 92742 h 599737"/>
              <a:gd name="connsiteX29" fmla="*/ 334978 w 1278631"/>
              <a:gd name="connsiteY29" fmla="*/ 213455 h 599737"/>
              <a:gd name="connsiteX30" fmla="*/ 274622 w 1278631"/>
              <a:gd name="connsiteY30" fmla="*/ 249669 h 599737"/>
              <a:gd name="connsiteX31" fmla="*/ 235390 w 1278631"/>
              <a:gd name="connsiteY31" fmla="*/ 252687 h 599737"/>
              <a:gd name="connsiteX32" fmla="*/ 98837 w 1278631"/>
              <a:gd name="connsiteY32" fmla="*/ 262065 h 599737"/>
              <a:gd name="connsiteX0" fmla="*/ 98837 w 1278631"/>
              <a:gd name="connsiteY0" fmla="*/ 262065 h 599737"/>
              <a:gd name="connsiteX1" fmla="*/ 63374 w 1278631"/>
              <a:gd name="connsiteY1" fmla="*/ 346240 h 599737"/>
              <a:gd name="connsiteX2" fmla="*/ 63374 w 1278631"/>
              <a:gd name="connsiteY2" fmla="*/ 382453 h 599737"/>
              <a:gd name="connsiteX3" fmla="*/ 33196 w 1278631"/>
              <a:gd name="connsiteY3" fmla="*/ 466952 h 599737"/>
              <a:gd name="connsiteX4" fmla="*/ 33196 w 1278631"/>
              <a:gd name="connsiteY4" fmla="*/ 503166 h 599737"/>
              <a:gd name="connsiteX5" fmla="*/ 6036 w 1278631"/>
              <a:gd name="connsiteY5" fmla="*/ 539380 h 599737"/>
              <a:gd name="connsiteX6" fmla="*/ 6036 w 1278631"/>
              <a:gd name="connsiteY6" fmla="*/ 569558 h 599737"/>
              <a:gd name="connsiteX7" fmla="*/ 0 w 1278631"/>
              <a:gd name="connsiteY7" fmla="*/ 599737 h 599737"/>
              <a:gd name="connsiteX8" fmla="*/ 283675 w 1278631"/>
              <a:gd name="connsiteY8" fmla="*/ 554469 h 599737"/>
              <a:gd name="connsiteX9" fmla="*/ 328942 w 1278631"/>
              <a:gd name="connsiteY9" fmla="*/ 563523 h 599737"/>
              <a:gd name="connsiteX10" fmla="*/ 334978 w 1278631"/>
              <a:gd name="connsiteY10" fmla="*/ 545416 h 599737"/>
              <a:gd name="connsiteX11" fmla="*/ 365156 w 1278631"/>
              <a:gd name="connsiteY11" fmla="*/ 539380 h 599737"/>
              <a:gd name="connsiteX12" fmla="*/ 414939 w 1278631"/>
              <a:gd name="connsiteY12" fmla="*/ 521164 h 599737"/>
              <a:gd name="connsiteX13" fmla="*/ 443268 w 1278631"/>
              <a:gd name="connsiteY13" fmla="*/ 539549 h 599737"/>
              <a:gd name="connsiteX14" fmla="*/ 932507 w 1278631"/>
              <a:gd name="connsiteY14" fmla="*/ 427721 h 599737"/>
              <a:gd name="connsiteX15" fmla="*/ 905346 w 1278631"/>
              <a:gd name="connsiteY15" fmla="*/ 385471 h 599737"/>
              <a:gd name="connsiteX16" fmla="*/ 941560 w 1278631"/>
              <a:gd name="connsiteY16" fmla="*/ 358311 h 599737"/>
              <a:gd name="connsiteX17" fmla="*/ 956649 w 1278631"/>
              <a:gd name="connsiteY17" fmla="*/ 322097 h 599737"/>
              <a:gd name="connsiteX18" fmla="*/ 1017006 w 1278631"/>
              <a:gd name="connsiteY18" fmla="*/ 264758 h 599737"/>
              <a:gd name="connsiteX19" fmla="*/ 1068309 w 1278631"/>
              <a:gd name="connsiteY19" fmla="*/ 234580 h 599737"/>
              <a:gd name="connsiteX20" fmla="*/ 1099176 w 1278631"/>
              <a:gd name="connsiteY20" fmla="*/ 173472 h 599737"/>
              <a:gd name="connsiteX21" fmla="*/ 1141254 w 1278631"/>
              <a:gd name="connsiteY21" fmla="*/ 170765 h 599737"/>
              <a:gd name="connsiteX22" fmla="*/ 1167897 w 1278631"/>
              <a:gd name="connsiteY22" fmla="*/ 156117 h 599737"/>
              <a:gd name="connsiteX23" fmla="*/ 1192040 w 1278631"/>
              <a:gd name="connsiteY23" fmla="*/ 122921 h 599737"/>
              <a:gd name="connsiteX24" fmla="*/ 1207129 w 1278631"/>
              <a:gd name="connsiteY24" fmla="*/ 104814 h 599737"/>
              <a:gd name="connsiteX25" fmla="*/ 1240325 w 1278631"/>
              <a:gd name="connsiteY25" fmla="*/ 110849 h 599737"/>
              <a:gd name="connsiteX26" fmla="*/ 1270503 w 1278631"/>
              <a:gd name="connsiteY26" fmla="*/ 71618 h 599737"/>
              <a:gd name="connsiteX27" fmla="*/ 1278631 w 1278631"/>
              <a:gd name="connsiteY27" fmla="*/ 0 h 599737"/>
              <a:gd name="connsiteX28" fmla="*/ 980792 w 1278631"/>
              <a:gd name="connsiteY28" fmla="*/ 92742 h 599737"/>
              <a:gd name="connsiteX29" fmla="*/ 334978 w 1278631"/>
              <a:gd name="connsiteY29" fmla="*/ 213455 h 599737"/>
              <a:gd name="connsiteX30" fmla="*/ 274622 w 1278631"/>
              <a:gd name="connsiteY30" fmla="*/ 249669 h 599737"/>
              <a:gd name="connsiteX31" fmla="*/ 235390 w 1278631"/>
              <a:gd name="connsiteY31" fmla="*/ 252687 h 599737"/>
              <a:gd name="connsiteX32" fmla="*/ 98837 w 1278631"/>
              <a:gd name="connsiteY32" fmla="*/ 262065 h 599737"/>
              <a:gd name="connsiteX0" fmla="*/ 98837 w 1278631"/>
              <a:gd name="connsiteY0" fmla="*/ 262065 h 599737"/>
              <a:gd name="connsiteX1" fmla="*/ 63374 w 1278631"/>
              <a:gd name="connsiteY1" fmla="*/ 346240 h 599737"/>
              <a:gd name="connsiteX2" fmla="*/ 63374 w 1278631"/>
              <a:gd name="connsiteY2" fmla="*/ 382453 h 599737"/>
              <a:gd name="connsiteX3" fmla="*/ 33196 w 1278631"/>
              <a:gd name="connsiteY3" fmla="*/ 466952 h 599737"/>
              <a:gd name="connsiteX4" fmla="*/ 33196 w 1278631"/>
              <a:gd name="connsiteY4" fmla="*/ 503166 h 599737"/>
              <a:gd name="connsiteX5" fmla="*/ 6036 w 1278631"/>
              <a:gd name="connsiteY5" fmla="*/ 539380 h 599737"/>
              <a:gd name="connsiteX6" fmla="*/ 6036 w 1278631"/>
              <a:gd name="connsiteY6" fmla="*/ 569558 h 599737"/>
              <a:gd name="connsiteX7" fmla="*/ 0 w 1278631"/>
              <a:gd name="connsiteY7" fmla="*/ 599737 h 599737"/>
              <a:gd name="connsiteX8" fmla="*/ 283675 w 1278631"/>
              <a:gd name="connsiteY8" fmla="*/ 554469 h 599737"/>
              <a:gd name="connsiteX9" fmla="*/ 328942 w 1278631"/>
              <a:gd name="connsiteY9" fmla="*/ 563523 h 599737"/>
              <a:gd name="connsiteX10" fmla="*/ 334978 w 1278631"/>
              <a:gd name="connsiteY10" fmla="*/ 545416 h 599737"/>
              <a:gd name="connsiteX11" fmla="*/ 365156 w 1278631"/>
              <a:gd name="connsiteY11" fmla="*/ 539380 h 599737"/>
              <a:gd name="connsiteX12" fmla="*/ 414939 w 1278631"/>
              <a:gd name="connsiteY12" fmla="*/ 521164 h 599737"/>
              <a:gd name="connsiteX13" fmla="*/ 443268 w 1278631"/>
              <a:gd name="connsiteY13" fmla="*/ 539549 h 599737"/>
              <a:gd name="connsiteX14" fmla="*/ 932507 w 1278631"/>
              <a:gd name="connsiteY14" fmla="*/ 427721 h 599737"/>
              <a:gd name="connsiteX15" fmla="*/ 905346 w 1278631"/>
              <a:gd name="connsiteY15" fmla="*/ 385471 h 599737"/>
              <a:gd name="connsiteX16" fmla="*/ 941560 w 1278631"/>
              <a:gd name="connsiteY16" fmla="*/ 358311 h 599737"/>
              <a:gd name="connsiteX17" fmla="*/ 956649 w 1278631"/>
              <a:gd name="connsiteY17" fmla="*/ 322097 h 599737"/>
              <a:gd name="connsiteX18" fmla="*/ 1017006 w 1278631"/>
              <a:gd name="connsiteY18" fmla="*/ 264758 h 599737"/>
              <a:gd name="connsiteX19" fmla="*/ 1068309 w 1278631"/>
              <a:gd name="connsiteY19" fmla="*/ 234580 h 599737"/>
              <a:gd name="connsiteX20" fmla="*/ 1099176 w 1278631"/>
              <a:gd name="connsiteY20" fmla="*/ 173472 h 599737"/>
              <a:gd name="connsiteX21" fmla="*/ 1141254 w 1278631"/>
              <a:gd name="connsiteY21" fmla="*/ 170765 h 599737"/>
              <a:gd name="connsiteX22" fmla="*/ 1167897 w 1278631"/>
              <a:gd name="connsiteY22" fmla="*/ 156117 h 599737"/>
              <a:gd name="connsiteX23" fmla="*/ 1192040 w 1278631"/>
              <a:gd name="connsiteY23" fmla="*/ 122921 h 599737"/>
              <a:gd name="connsiteX24" fmla="*/ 1211785 w 1278631"/>
              <a:gd name="connsiteY24" fmla="*/ 123423 h 599737"/>
              <a:gd name="connsiteX25" fmla="*/ 1240325 w 1278631"/>
              <a:gd name="connsiteY25" fmla="*/ 110849 h 599737"/>
              <a:gd name="connsiteX26" fmla="*/ 1270503 w 1278631"/>
              <a:gd name="connsiteY26" fmla="*/ 71618 h 599737"/>
              <a:gd name="connsiteX27" fmla="*/ 1278631 w 1278631"/>
              <a:gd name="connsiteY27" fmla="*/ 0 h 599737"/>
              <a:gd name="connsiteX28" fmla="*/ 980792 w 1278631"/>
              <a:gd name="connsiteY28" fmla="*/ 92742 h 599737"/>
              <a:gd name="connsiteX29" fmla="*/ 334978 w 1278631"/>
              <a:gd name="connsiteY29" fmla="*/ 213455 h 599737"/>
              <a:gd name="connsiteX30" fmla="*/ 274622 w 1278631"/>
              <a:gd name="connsiteY30" fmla="*/ 249669 h 599737"/>
              <a:gd name="connsiteX31" fmla="*/ 235390 w 1278631"/>
              <a:gd name="connsiteY31" fmla="*/ 252687 h 599737"/>
              <a:gd name="connsiteX32" fmla="*/ 98837 w 1278631"/>
              <a:gd name="connsiteY32" fmla="*/ 262065 h 599737"/>
              <a:gd name="connsiteX0" fmla="*/ 98837 w 1278631"/>
              <a:gd name="connsiteY0" fmla="*/ 262065 h 599737"/>
              <a:gd name="connsiteX1" fmla="*/ 63374 w 1278631"/>
              <a:gd name="connsiteY1" fmla="*/ 346240 h 599737"/>
              <a:gd name="connsiteX2" fmla="*/ 63374 w 1278631"/>
              <a:gd name="connsiteY2" fmla="*/ 382453 h 599737"/>
              <a:gd name="connsiteX3" fmla="*/ 33196 w 1278631"/>
              <a:gd name="connsiteY3" fmla="*/ 466952 h 599737"/>
              <a:gd name="connsiteX4" fmla="*/ 33196 w 1278631"/>
              <a:gd name="connsiteY4" fmla="*/ 503166 h 599737"/>
              <a:gd name="connsiteX5" fmla="*/ 6036 w 1278631"/>
              <a:gd name="connsiteY5" fmla="*/ 539380 h 599737"/>
              <a:gd name="connsiteX6" fmla="*/ 6036 w 1278631"/>
              <a:gd name="connsiteY6" fmla="*/ 569558 h 599737"/>
              <a:gd name="connsiteX7" fmla="*/ 0 w 1278631"/>
              <a:gd name="connsiteY7" fmla="*/ 599737 h 599737"/>
              <a:gd name="connsiteX8" fmla="*/ 283675 w 1278631"/>
              <a:gd name="connsiteY8" fmla="*/ 554469 h 599737"/>
              <a:gd name="connsiteX9" fmla="*/ 328942 w 1278631"/>
              <a:gd name="connsiteY9" fmla="*/ 563523 h 599737"/>
              <a:gd name="connsiteX10" fmla="*/ 334978 w 1278631"/>
              <a:gd name="connsiteY10" fmla="*/ 545416 h 599737"/>
              <a:gd name="connsiteX11" fmla="*/ 365156 w 1278631"/>
              <a:gd name="connsiteY11" fmla="*/ 539380 h 599737"/>
              <a:gd name="connsiteX12" fmla="*/ 414939 w 1278631"/>
              <a:gd name="connsiteY12" fmla="*/ 521164 h 599737"/>
              <a:gd name="connsiteX13" fmla="*/ 443268 w 1278631"/>
              <a:gd name="connsiteY13" fmla="*/ 539549 h 599737"/>
              <a:gd name="connsiteX14" fmla="*/ 932507 w 1278631"/>
              <a:gd name="connsiteY14" fmla="*/ 427721 h 599737"/>
              <a:gd name="connsiteX15" fmla="*/ 905346 w 1278631"/>
              <a:gd name="connsiteY15" fmla="*/ 385471 h 599737"/>
              <a:gd name="connsiteX16" fmla="*/ 941560 w 1278631"/>
              <a:gd name="connsiteY16" fmla="*/ 358311 h 599737"/>
              <a:gd name="connsiteX17" fmla="*/ 956649 w 1278631"/>
              <a:gd name="connsiteY17" fmla="*/ 322097 h 599737"/>
              <a:gd name="connsiteX18" fmla="*/ 1017006 w 1278631"/>
              <a:gd name="connsiteY18" fmla="*/ 264758 h 599737"/>
              <a:gd name="connsiteX19" fmla="*/ 1068309 w 1278631"/>
              <a:gd name="connsiteY19" fmla="*/ 234580 h 599737"/>
              <a:gd name="connsiteX20" fmla="*/ 1099176 w 1278631"/>
              <a:gd name="connsiteY20" fmla="*/ 173472 h 599737"/>
              <a:gd name="connsiteX21" fmla="*/ 1141254 w 1278631"/>
              <a:gd name="connsiteY21" fmla="*/ 170765 h 599737"/>
              <a:gd name="connsiteX22" fmla="*/ 1177209 w 1278631"/>
              <a:gd name="connsiteY22" fmla="*/ 135183 h 599737"/>
              <a:gd name="connsiteX23" fmla="*/ 1192040 w 1278631"/>
              <a:gd name="connsiteY23" fmla="*/ 122921 h 599737"/>
              <a:gd name="connsiteX24" fmla="*/ 1211785 w 1278631"/>
              <a:gd name="connsiteY24" fmla="*/ 123423 h 599737"/>
              <a:gd name="connsiteX25" fmla="*/ 1240325 w 1278631"/>
              <a:gd name="connsiteY25" fmla="*/ 110849 h 599737"/>
              <a:gd name="connsiteX26" fmla="*/ 1270503 w 1278631"/>
              <a:gd name="connsiteY26" fmla="*/ 71618 h 599737"/>
              <a:gd name="connsiteX27" fmla="*/ 1278631 w 1278631"/>
              <a:gd name="connsiteY27" fmla="*/ 0 h 599737"/>
              <a:gd name="connsiteX28" fmla="*/ 980792 w 1278631"/>
              <a:gd name="connsiteY28" fmla="*/ 92742 h 599737"/>
              <a:gd name="connsiteX29" fmla="*/ 334978 w 1278631"/>
              <a:gd name="connsiteY29" fmla="*/ 213455 h 599737"/>
              <a:gd name="connsiteX30" fmla="*/ 274622 w 1278631"/>
              <a:gd name="connsiteY30" fmla="*/ 249669 h 599737"/>
              <a:gd name="connsiteX31" fmla="*/ 235390 w 1278631"/>
              <a:gd name="connsiteY31" fmla="*/ 252687 h 599737"/>
              <a:gd name="connsiteX32" fmla="*/ 98837 w 1278631"/>
              <a:gd name="connsiteY32" fmla="*/ 262065 h 599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278631" h="599737">
                <a:moveTo>
                  <a:pt x="98837" y="262065"/>
                </a:moveTo>
                <a:lnTo>
                  <a:pt x="63374" y="346240"/>
                </a:lnTo>
                <a:lnTo>
                  <a:pt x="63374" y="382453"/>
                </a:lnTo>
                <a:lnTo>
                  <a:pt x="33196" y="466952"/>
                </a:lnTo>
                <a:lnTo>
                  <a:pt x="33196" y="503166"/>
                </a:lnTo>
                <a:lnTo>
                  <a:pt x="6036" y="539380"/>
                </a:lnTo>
                <a:lnTo>
                  <a:pt x="6036" y="569558"/>
                </a:lnTo>
                <a:lnTo>
                  <a:pt x="0" y="599737"/>
                </a:lnTo>
                <a:lnTo>
                  <a:pt x="283675" y="554469"/>
                </a:lnTo>
                <a:lnTo>
                  <a:pt x="328942" y="563523"/>
                </a:lnTo>
                <a:lnTo>
                  <a:pt x="334978" y="545416"/>
                </a:lnTo>
                <a:lnTo>
                  <a:pt x="365156" y="539380"/>
                </a:lnTo>
                <a:lnTo>
                  <a:pt x="414939" y="521164"/>
                </a:lnTo>
                <a:lnTo>
                  <a:pt x="443268" y="539549"/>
                </a:lnTo>
                <a:lnTo>
                  <a:pt x="932507" y="427721"/>
                </a:lnTo>
                <a:lnTo>
                  <a:pt x="905346" y="385471"/>
                </a:lnTo>
                <a:lnTo>
                  <a:pt x="941560" y="358311"/>
                </a:lnTo>
                <a:lnTo>
                  <a:pt x="956649" y="322097"/>
                </a:lnTo>
                <a:lnTo>
                  <a:pt x="1017006" y="264758"/>
                </a:lnTo>
                <a:lnTo>
                  <a:pt x="1068309" y="234580"/>
                </a:lnTo>
                <a:lnTo>
                  <a:pt x="1099176" y="173472"/>
                </a:lnTo>
                <a:lnTo>
                  <a:pt x="1141254" y="170765"/>
                </a:lnTo>
                <a:lnTo>
                  <a:pt x="1177209" y="135183"/>
                </a:lnTo>
                <a:lnTo>
                  <a:pt x="1192040" y="122921"/>
                </a:lnTo>
                <a:lnTo>
                  <a:pt x="1211785" y="123423"/>
                </a:lnTo>
                <a:lnTo>
                  <a:pt x="1240325" y="110849"/>
                </a:lnTo>
                <a:lnTo>
                  <a:pt x="1270503" y="71618"/>
                </a:lnTo>
                <a:lnTo>
                  <a:pt x="1278631" y="0"/>
                </a:lnTo>
                <a:lnTo>
                  <a:pt x="980792" y="92742"/>
                </a:lnTo>
                <a:lnTo>
                  <a:pt x="334978" y="213455"/>
                </a:lnTo>
                <a:lnTo>
                  <a:pt x="274622" y="249669"/>
                </a:lnTo>
                <a:lnTo>
                  <a:pt x="235390" y="252687"/>
                </a:lnTo>
                <a:lnTo>
                  <a:pt x="98837" y="262065"/>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1" name="Freeform 30"/>
          <p:cNvSpPr/>
          <p:nvPr/>
        </p:nvSpPr>
        <p:spPr>
          <a:xfrm>
            <a:off x="6034170" y="3117778"/>
            <a:ext cx="480174" cy="808196"/>
          </a:xfrm>
          <a:custGeom>
            <a:avLst/>
            <a:gdLst>
              <a:gd name="connsiteX0" fmla="*/ 0 w 497940"/>
              <a:gd name="connsiteY0" fmla="*/ 102606 h 832919"/>
              <a:gd name="connsiteX1" fmla="*/ 84499 w 497940"/>
              <a:gd name="connsiteY1" fmla="*/ 482851 h 832919"/>
              <a:gd name="connsiteX2" fmla="*/ 78463 w 497940"/>
              <a:gd name="connsiteY2" fmla="*/ 522083 h 832919"/>
              <a:gd name="connsiteX3" fmla="*/ 66392 w 497940"/>
              <a:gd name="connsiteY3" fmla="*/ 567350 h 832919"/>
              <a:gd name="connsiteX4" fmla="*/ 84499 w 497940"/>
              <a:gd name="connsiteY4" fmla="*/ 633742 h 832919"/>
              <a:gd name="connsiteX5" fmla="*/ 87516 w 497940"/>
              <a:gd name="connsiteY5" fmla="*/ 672974 h 832919"/>
              <a:gd name="connsiteX6" fmla="*/ 87516 w 497940"/>
              <a:gd name="connsiteY6" fmla="*/ 672974 h 832919"/>
              <a:gd name="connsiteX7" fmla="*/ 75445 w 497940"/>
              <a:gd name="connsiteY7" fmla="*/ 715224 h 832919"/>
              <a:gd name="connsiteX8" fmla="*/ 42249 w 497940"/>
              <a:gd name="connsiteY8" fmla="*/ 751438 h 832919"/>
              <a:gd name="connsiteX9" fmla="*/ 60356 w 497940"/>
              <a:gd name="connsiteY9" fmla="*/ 763509 h 832919"/>
              <a:gd name="connsiteX10" fmla="*/ 51303 w 497940"/>
              <a:gd name="connsiteY10" fmla="*/ 820847 h 832919"/>
              <a:gd name="connsiteX11" fmla="*/ 48285 w 497940"/>
              <a:gd name="connsiteY11" fmla="*/ 832919 h 832919"/>
              <a:gd name="connsiteX12" fmla="*/ 108641 w 497940"/>
              <a:gd name="connsiteY12" fmla="*/ 808776 h 832919"/>
              <a:gd name="connsiteX13" fmla="*/ 135802 w 497940"/>
              <a:gd name="connsiteY13" fmla="*/ 826883 h 832919"/>
              <a:gd name="connsiteX14" fmla="*/ 214265 w 497940"/>
              <a:gd name="connsiteY14" fmla="*/ 790669 h 832919"/>
              <a:gd name="connsiteX15" fmla="*/ 229354 w 497940"/>
              <a:gd name="connsiteY15" fmla="*/ 772562 h 832919"/>
              <a:gd name="connsiteX16" fmla="*/ 262550 w 497940"/>
              <a:gd name="connsiteY16" fmla="*/ 790669 h 832919"/>
              <a:gd name="connsiteX17" fmla="*/ 262550 w 497940"/>
              <a:gd name="connsiteY17" fmla="*/ 736348 h 832919"/>
              <a:gd name="connsiteX18" fmla="*/ 265568 w 497940"/>
              <a:gd name="connsiteY18" fmla="*/ 727295 h 832919"/>
              <a:gd name="connsiteX19" fmla="*/ 298764 w 497940"/>
              <a:gd name="connsiteY19" fmla="*/ 748420 h 832919"/>
              <a:gd name="connsiteX20" fmla="*/ 310835 w 497940"/>
              <a:gd name="connsiteY20" fmla="*/ 748420 h 832919"/>
              <a:gd name="connsiteX21" fmla="*/ 322906 w 497940"/>
              <a:gd name="connsiteY21" fmla="*/ 736348 h 832919"/>
              <a:gd name="connsiteX22" fmla="*/ 368174 w 497940"/>
              <a:gd name="connsiteY22" fmla="*/ 679010 h 832919"/>
              <a:gd name="connsiteX23" fmla="*/ 377227 w 497940"/>
              <a:gd name="connsiteY23" fmla="*/ 603564 h 832919"/>
              <a:gd name="connsiteX24" fmla="*/ 497940 w 497940"/>
              <a:gd name="connsiteY24" fmla="*/ 573386 h 832919"/>
              <a:gd name="connsiteX25" fmla="*/ 476815 w 497940"/>
              <a:gd name="connsiteY25" fmla="*/ 525101 h 832919"/>
              <a:gd name="connsiteX26" fmla="*/ 494922 w 497940"/>
              <a:gd name="connsiteY26" fmla="*/ 494923 h 832919"/>
              <a:gd name="connsiteX27" fmla="*/ 380245 w 497940"/>
              <a:gd name="connsiteY27" fmla="*/ 12071 h 832919"/>
              <a:gd name="connsiteX28" fmla="*/ 368174 w 497940"/>
              <a:gd name="connsiteY28" fmla="*/ 0 h 832919"/>
              <a:gd name="connsiteX29" fmla="*/ 184087 w 497940"/>
              <a:gd name="connsiteY29" fmla="*/ 45267 h 832919"/>
              <a:gd name="connsiteX30" fmla="*/ 126748 w 497940"/>
              <a:gd name="connsiteY30" fmla="*/ 54321 h 832919"/>
              <a:gd name="connsiteX31" fmla="*/ 105623 w 497940"/>
              <a:gd name="connsiteY31" fmla="*/ 51303 h 832919"/>
              <a:gd name="connsiteX32" fmla="*/ 57338 w 497940"/>
              <a:gd name="connsiteY32" fmla="*/ 87517 h 832919"/>
              <a:gd name="connsiteX33" fmla="*/ 0 w 497940"/>
              <a:gd name="connsiteY33" fmla="*/ 102606 h 832919"/>
              <a:gd name="connsiteX0" fmla="*/ 0 w 497940"/>
              <a:gd name="connsiteY0" fmla="*/ 102606 h 832919"/>
              <a:gd name="connsiteX1" fmla="*/ 84499 w 497940"/>
              <a:gd name="connsiteY1" fmla="*/ 482851 h 832919"/>
              <a:gd name="connsiteX2" fmla="*/ 78463 w 497940"/>
              <a:gd name="connsiteY2" fmla="*/ 522083 h 832919"/>
              <a:gd name="connsiteX3" fmla="*/ 66392 w 497940"/>
              <a:gd name="connsiteY3" fmla="*/ 567350 h 832919"/>
              <a:gd name="connsiteX4" fmla="*/ 84499 w 497940"/>
              <a:gd name="connsiteY4" fmla="*/ 633742 h 832919"/>
              <a:gd name="connsiteX5" fmla="*/ 87516 w 497940"/>
              <a:gd name="connsiteY5" fmla="*/ 672974 h 832919"/>
              <a:gd name="connsiteX6" fmla="*/ 87516 w 497940"/>
              <a:gd name="connsiteY6" fmla="*/ 672974 h 832919"/>
              <a:gd name="connsiteX7" fmla="*/ 75445 w 497940"/>
              <a:gd name="connsiteY7" fmla="*/ 715224 h 832919"/>
              <a:gd name="connsiteX8" fmla="*/ 42249 w 497940"/>
              <a:gd name="connsiteY8" fmla="*/ 751438 h 832919"/>
              <a:gd name="connsiteX9" fmla="*/ 60356 w 497940"/>
              <a:gd name="connsiteY9" fmla="*/ 763509 h 832919"/>
              <a:gd name="connsiteX10" fmla="*/ 51303 w 497940"/>
              <a:gd name="connsiteY10" fmla="*/ 820847 h 832919"/>
              <a:gd name="connsiteX11" fmla="*/ 48285 w 497940"/>
              <a:gd name="connsiteY11" fmla="*/ 832919 h 832919"/>
              <a:gd name="connsiteX12" fmla="*/ 108641 w 497940"/>
              <a:gd name="connsiteY12" fmla="*/ 808776 h 832919"/>
              <a:gd name="connsiteX13" fmla="*/ 135802 w 497940"/>
              <a:gd name="connsiteY13" fmla="*/ 826883 h 832919"/>
              <a:gd name="connsiteX14" fmla="*/ 214265 w 497940"/>
              <a:gd name="connsiteY14" fmla="*/ 790669 h 832919"/>
              <a:gd name="connsiteX15" fmla="*/ 229354 w 497940"/>
              <a:gd name="connsiteY15" fmla="*/ 772562 h 832919"/>
              <a:gd name="connsiteX16" fmla="*/ 262550 w 497940"/>
              <a:gd name="connsiteY16" fmla="*/ 790669 h 832919"/>
              <a:gd name="connsiteX17" fmla="*/ 262550 w 497940"/>
              <a:gd name="connsiteY17" fmla="*/ 736348 h 832919"/>
              <a:gd name="connsiteX18" fmla="*/ 265568 w 497940"/>
              <a:gd name="connsiteY18" fmla="*/ 727295 h 832919"/>
              <a:gd name="connsiteX19" fmla="*/ 298764 w 497940"/>
              <a:gd name="connsiteY19" fmla="*/ 748420 h 832919"/>
              <a:gd name="connsiteX20" fmla="*/ 310835 w 497940"/>
              <a:gd name="connsiteY20" fmla="*/ 748420 h 832919"/>
              <a:gd name="connsiteX21" fmla="*/ 322906 w 497940"/>
              <a:gd name="connsiteY21" fmla="*/ 736348 h 832919"/>
              <a:gd name="connsiteX22" fmla="*/ 368174 w 497940"/>
              <a:gd name="connsiteY22" fmla="*/ 679010 h 832919"/>
              <a:gd name="connsiteX23" fmla="*/ 377227 w 497940"/>
              <a:gd name="connsiteY23" fmla="*/ 603564 h 832919"/>
              <a:gd name="connsiteX24" fmla="*/ 393738 w 497940"/>
              <a:gd name="connsiteY24" fmla="*/ 619533 h 832919"/>
              <a:gd name="connsiteX25" fmla="*/ 497940 w 497940"/>
              <a:gd name="connsiteY25" fmla="*/ 573386 h 832919"/>
              <a:gd name="connsiteX26" fmla="*/ 476815 w 497940"/>
              <a:gd name="connsiteY26" fmla="*/ 525101 h 832919"/>
              <a:gd name="connsiteX27" fmla="*/ 494922 w 497940"/>
              <a:gd name="connsiteY27" fmla="*/ 494923 h 832919"/>
              <a:gd name="connsiteX28" fmla="*/ 380245 w 497940"/>
              <a:gd name="connsiteY28" fmla="*/ 12071 h 832919"/>
              <a:gd name="connsiteX29" fmla="*/ 368174 w 497940"/>
              <a:gd name="connsiteY29" fmla="*/ 0 h 832919"/>
              <a:gd name="connsiteX30" fmla="*/ 184087 w 497940"/>
              <a:gd name="connsiteY30" fmla="*/ 45267 h 832919"/>
              <a:gd name="connsiteX31" fmla="*/ 126748 w 497940"/>
              <a:gd name="connsiteY31" fmla="*/ 54321 h 832919"/>
              <a:gd name="connsiteX32" fmla="*/ 105623 w 497940"/>
              <a:gd name="connsiteY32" fmla="*/ 51303 h 832919"/>
              <a:gd name="connsiteX33" fmla="*/ 57338 w 497940"/>
              <a:gd name="connsiteY33" fmla="*/ 87517 h 832919"/>
              <a:gd name="connsiteX34" fmla="*/ 0 w 497940"/>
              <a:gd name="connsiteY34" fmla="*/ 102606 h 832919"/>
              <a:gd name="connsiteX0" fmla="*/ 0 w 497940"/>
              <a:gd name="connsiteY0" fmla="*/ 102606 h 832919"/>
              <a:gd name="connsiteX1" fmla="*/ 84499 w 497940"/>
              <a:gd name="connsiteY1" fmla="*/ 482851 h 832919"/>
              <a:gd name="connsiteX2" fmla="*/ 78463 w 497940"/>
              <a:gd name="connsiteY2" fmla="*/ 522083 h 832919"/>
              <a:gd name="connsiteX3" fmla="*/ 66392 w 497940"/>
              <a:gd name="connsiteY3" fmla="*/ 567350 h 832919"/>
              <a:gd name="connsiteX4" fmla="*/ 84499 w 497940"/>
              <a:gd name="connsiteY4" fmla="*/ 633742 h 832919"/>
              <a:gd name="connsiteX5" fmla="*/ 87516 w 497940"/>
              <a:gd name="connsiteY5" fmla="*/ 672974 h 832919"/>
              <a:gd name="connsiteX6" fmla="*/ 87516 w 497940"/>
              <a:gd name="connsiteY6" fmla="*/ 672974 h 832919"/>
              <a:gd name="connsiteX7" fmla="*/ 63514 w 497940"/>
              <a:gd name="connsiteY7" fmla="*/ 712845 h 832919"/>
              <a:gd name="connsiteX8" fmla="*/ 42249 w 497940"/>
              <a:gd name="connsiteY8" fmla="*/ 751438 h 832919"/>
              <a:gd name="connsiteX9" fmla="*/ 60356 w 497940"/>
              <a:gd name="connsiteY9" fmla="*/ 763509 h 832919"/>
              <a:gd name="connsiteX10" fmla="*/ 51303 w 497940"/>
              <a:gd name="connsiteY10" fmla="*/ 820847 h 832919"/>
              <a:gd name="connsiteX11" fmla="*/ 48285 w 497940"/>
              <a:gd name="connsiteY11" fmla="*/ 832919 h 832919"/>
              <a:gd name="connsiteX12" fmla="*/ 108641 w 497940"/>
              <a:gd name="connsiteY12" fmla="*/ 808776 h 832919"/>
              <a:gd name="connsiteX13" fmla="*/ 135802 w 497940"/>
              <a:gd name="connsiteY13" fmla="*/ 826883 h 832919"/>
              <a:gd name="connsiteX14" fmla="*/ 214265 w 497940"/>
              <a:gd name="connsiteY14" fmla="*/ 790669 h 832919"/>
              <a:gd name="connsiteX15" fmla="*/ 229354 w 497940"/>
              <a:gd name="connsiteY15" fmla="*/ 772562 h 832919"/>
              <a:gd name="connsiteX16" fmla="*/ 262550 w 497940"/>
              <a:gd name="connsiteY16" fmla="*/ 790669 h 832919"/>
              <a:gd name="connsiteX17" fmla="*/ 262550 w 497940"/>
              <a:gd name="connsiteY17" fmla="*/ 736348 h 832919"/>
              <a:gd name="connsiteX18" fmla="*/ 265568 w 497940"/>
              <a:gd name="connsiteY18" fmla="*/ 727295 h 832919"/>
              <a:gd name="connsiteX19" fmla="*/ 298764 w 497940"/>
              <a:gd name="connsiteY19" fmla="*/ 748420 h 832919"/>
              <a:gd name="connsiteX20" fmla="*/ 310835 w 497940"/>
              <a:gd name="connsiteY20" fmla="*/ 748420 h 832919"/>
              <a:gd name="connsiteX21" fmla="*/ 322906 w 497940"/>
              <a:gd name="connsiteY21" fmla="*/ 736348 h 832919"/>
              <a:gd name="connsiteX22" fmla="*/ 368174 w 497940"/>
              <a:gd name="connsiteY22" fmla="*/ 679010 h 832919"/>
              <a:gd name="connsiteX23" fmla="*/ 377227 w 497940"/>
              <a:gd name="connsiteY23" fmla="*/ 603564 h 832919"/>
              <a:gd name="connsiteX24" fmla="*/ 393738 w 497940"/>
              <a:gd name="connsiteY24" fmla="*/ 619533 h 832919"/>
              <a:gd name="connsiteX25" fmla="*/ 497940 w 497940"/>
              <a:gd name="connsiteY25" fmla="*/ 573386 h 832919"/>
              <a:gd name="connsiteX26" fmla="*/ 476815 w 497940"/>
              <a:gd name="connsiteY26" fmla="*/ 525101 h 832919"/>
              <a:gd name="connsiteX27" fmla="*/ 494922 w 497940"/>
              <a:gd name="connsiteY27" fmla="*/ 494923 h 832919"/>
              <a:gd name="connsiteX28" fmla="*/ 380245 w 497940"/>
              <a:gd name="connsiteY28" fmla="*/ 12071 h 832919"/>
              <a:gd name="connsiteX29" fmla="*/ 368174 w 497940"/>
              <a:gd name="connsiteY29" fmla="*/ 0 h 832919"/>
              <a:gd name="connsiteX30" fmla="*/ 184087 w 497940"/>
              <a:gd name="connsiteY30" fmla="*/ 45267 h 832919"/>
              <a:gd name="connsiteX31" fmla="*/ 126748 w 497940"/>
              <a:gd name="connsiteY31" fmla="*/ 54321 h 832919"/>
              <a:gd name="connsiteX32" fmla="*/ 105623 w 497940"/>
              <a:gd name="connsiteY32" fmla="*/ 51303 h 832919"/>
              <a:gd name="connsiteX33" fmla="*/ 57338 w 497940"/>
              <a:gd name="connsiteY33" fmla="*/ 87517 h 832919"/>
              <a:gd name="connsiteX34" fmla="*/ 0 w 497940"/>
              <a:gd name="connsiteY34" fmla="*/ 102606 h 832919"/>
              <a:gd name="connsiteX0" fmla="*/ 0 w 497940"/>
              <a:gd name="connsiteY0" fmla="*/ 102606 h 832919"/>
              <a:gd name="connsiteX1" fmla="*/ 84499 w 497940"/>
              <a:gd name="connsiteY1" fmla="*/ 482851 h 832919"/>
              <a:gd name="connsiteX2" fmla="*/ 78463 w 497940"/>
              <a:gd name="connsiteY2" fmla="*/ 522083 h 832919"/>
              <a:gd name="connsiteX3" fmla="*/ 66392 w 497940"/>
              <a:gd name="connsiteY3" fmla="*/ 567350 h 832919"/>
              <a:gd name="connsiteX4" fmla="*/ 84499 w 497940"/>
              <a:gd name="connsiteY4" fmla="*/ 633742 h 832919"/>
              <a:gd name="connsiteX5" fmla="*/ 87516 w 497940"/>
              <a:gd name="connsiteY5" fmla="*/ 672974 h 832919"/>
              <a:gd name="connsiteX6" fmla="*/ 80358 w 497940"/>
              <a:gd name="connsiteY6" fmla="*/ 672974 h 832919"/>
              <a:gd name="connsiteX7" fmla="*/ 63514 w 497940"/>
              <a:gd name="connsiteY7" fmla="*/ 712845 h 832919"/>
              <a:gd name="connsiteX8" fmla="*/ 42249 w 497940"/>
              <a:gd name="connsiteY8" fmla="*/ 751438 h 832919"/>
              <a:gd name="connsiteX9" fmla="*/ 60356 w 497940"/>
              <a:gd name="connsiteY9" fmla="*/ 763509 h 832919"/>
              <a:gd name="connsiteX10" fmla="*/ 51303 w 497940"/>
              <a:gd name="connsiteY10" fmla="*/ 820847 h 832919"/>
              <a:gd name="connsiteX11" fmla="*/ 48285 w 497940"/>
              <a:gd name="connsiteY11" fmla="*/ 832919 h 832919"/>
              <a:gd name="connsiteX12" fmla="*/ 108641 w 497940"/>
              <a:gd name="connsiteY12" fmla="*/ 808776 h 832919"/>
              <a:gd name="connsiteX13" fmla="*/ 135802 w 497940"/>
              <a:gd name="connsiteY13" fmla="*/ 826883 h 832919"/>
              <a:gd name="connsiteX14" fmla="*/ 214265 w 497940"/>
              <a:gd name="connsiteY14" fmla="*/ 790669 h 832919"/>
              <a:gd name="connsiteX15" fmla="*/ 229354 w 497940"/>
              <a:gd name="connsiteY15" fmla="*/ 772562 h 832919"/>
              <a:gd name="connsiteX16" fmla="*/ 262550 w 497940"/>
              <a:gd name="connsiteY16" fmla="*/ 790669 h 832919"/>
              <a:gd name="connsiteX17" fmla="*/ 262550 w 497940"/>
              <a:gd name="connsiteY17" fmla="*/ 736348 h 832919"/>
              <a:gd name="connsiteX18" fmla="*/ 265568 w 497940"/>
              <a:gd name="connsiteY18" fmla="*/ 727295 h 832919"/>
              <a:gd name="connsiteX19" fmla="*/ 298764 w 497940"/>
              <a:gd name="connsiteY19" fmla="*/ 748420 h 832919"/>
              <a:gd name="connsiteX20" fmla="*/ 310835 w 497940"/>
              <a:gd name="connsiteY20" fmla="*/ 748420 h 832919"/>
              <a:gd name="connsiteX21" fmla="*/ 322906 w 497940"/>
              <a:gd name="connsiteY21" fmla="*/ 736348 h 832919"/>
              <a:gd name="connsiteX22" fmla="*/ 368174 w 497940"/>
              <a:gd name="connsiteY22" fmla="*/ 679010 h 832919"/>
              <a:gd name="connsiteX23" fmla="*/ 377227 w 497940"/>
              <a:gd name="connsiteY23" fmla="*/ 603564 h 832919"/>
              <a:gd name="connsiteX24" fmla="*/ 393738 w 497940"/>
              <a:gd name="connsiteY24" fmla="*/ 619533 h 832919"/>
              <a:gd name="connsiteX25" fmla="*/ 497940 w 497940"/>
              <a:gd name="connsiteY25" fmla="*/ 573386 h 832919"/>
              <a:gd name="connsiteX26" fmla="*/ 476815 w 497940"/>
              <a:gd name="connsiteY26" fmla="*/ 525101 h 832919"/>
              <a:gd name="connsiteX27" fmla="*/ 494922 w 497940"/>
              <a:gd name="connsiteY27" fmla="*/ 494923 h 832919"/>
              <a:gd name="connsiteX28" fmla="*/ 380245 w 497940"/>
              <a:gd name="connsiteY28" fmla="*/ 12071 h 832919"/>
              <a:gd name="connsiteX29" fmla="*/ 368174 w 497940"/>
              <a:gd name="connsiteY29" fmla="*/ 0 h 832919"/>
              <a:gd name="connsiteX30" fmla="*/ 184087 w 497940"/>
              <a:gd name="connsiteY30" fmla="*/ 45267 h 832919"/>
              <a:gd name="connsiteX31" fmla="*/ 126748 w 497940"/>
              <a:gd name="connsiteY31" fmla="*/ 54321 h 832919"/>
              <a:gd name="connsiteX32" fmla="*/ 105623 w 497940"/>
              <a:gd name="connsiteY32" fmla="*/ 51303 h 832919"/>
              <a:gd name="connsiteX33" fmla="*/ 57338 w 497940"/>
              <a:gd name="connsiteY33" fmla="*/ 87517 h 832919"/>
              <a:gd name="connsiteX34" fmla="*/ 0 w 497940"/>
              <a:gd name="connsiteY34" fmla="*/ 102606 h 832919"/>
              <a:gd name="connsiteX0" fmla="*/ 0 w 497940"/>
              <a:gd name="connsiteY0" fmla="*/ 102606 h 832919"/>
              <a:gd name="connsiteX1" fmla="*/ 84499 w 497940"/>
              <a:gd name="connsiteY1" fmla="*/ 482851 h 832919"/>
              <a:gd name="connsiteX2" fmla="*/ 78463 w 497940"/>
              <a:gd name="connsiteY2" fmla="*/ 522083 h 832919"/>
              <a:gd name="connsiteX3" fmla="*/ 66392 w 497940"/>
              <a:gd name="connsiteY3" fmla="*/ 567350 h 832919"/>
              <a:gd name="connsiteX4" fmla="*/ 77340 w 497940"/>
              <a:gd name="connsiteY4" fmla="*/ 633742 h 832919"/>
              <a:gd name="connsiteX5" fmla="*/ 87516 w 497940"/>
              <a:gd name="connsiteY5" fmla="*/ 672974 h 832919"/>
              <a:gd name="connsiteX6" fmla="*/ 80358 w 497940"/>
              <a:gd name="connsiteY6" fmla="*/ 672974 h 832919"/>
              <a:gd name="connsiteX7" fmla="*/ 63514 w 497940"/>
              <a:gd name="connsiteY7" fmla="*/ 712845 h 832919"/>
              <a:gd name="connsiteX8" fmla="*/ 42249 w 497940"/>
              <a:gd name="connsiteY8" fmla="*/ 751438 h 832919"/>
              <a:gd name="connsiteX9" fmla="*/ 60356 w 497940"/>
              <a:gd name="connsiteY9" fmla="*/ 763509 h 832919"/>
              <a:gd name="connsiteX10" fmla="*/ 51303 w 497940"/>
              <a:gd name="connsiteY10" fmla="*/ 820847 h 832919"/>
              <a:gd name="connsiteX11" fmla="*/ 48285 w 497940"/>
              <a:gd name="connsiteY11" fmla="*/ 832919 h 832919"/>
              <a:gd name="connsiteX12" fmla="*/ 108641 w 497940"/>
              <a:gd name="connsiteY12" fmla="*/ 808776 h 832919"/>
              <a:gd name="connsiteX13" fmla="*/ 135802 w 497940"/>
              <a:gd name="connsiteY13" fmla="*/ 826883 h 832919"/>
              <a:gd name="connsiteX14" fmla="*/ 214265 w 497940"/>
              <a:gd name="connsiteY14" fmla="*/ 790669 h 832919"/>
              <a:gd name="connsiteX15" fmla="*/ 229354 w 497940"/>
              <a:gd name="connsiteY15" fmla="*/ 772562 h 832919"/>
              <a:gd name="connsiteX16" fmla="*/ 262550 w 497940"/>
              <a:gd name="connsiteY16" fmla="*/ 790669 h 832919"/>
              <a:gd name="connsiteX17" fmla="*/ 262550 w 497940"/>
              <a:gd name="connsiteY17" fmla="*/ 736348 h 832919"/>
              <a:gd name="connsiteX18" fmla="*/ 265568 w 497940"/>
              <a:gd name="connsiteY18" fmla="*/ 727295 h 832919"/>
              <a:gd name="connsiteX19" fmla="*/ 298764 w 497940"/>
              <a:gd name="connsiteY19" fmla="*/ 748420 h 832919"/>
              <a:gd name="connsiteX20" fmla="*/ 310835 w 497940"/>
              <a:gd name="connsiteY20" fmla="*/ 748420 h 832919"/>
              <a:gd name="connsiteX21" fmla="*/ 322906 w 497940"/>
              <a:gd name="connsiteY21" fmla="*/ 736348 h 832919"/>
              <a:gd name="connsiteX22" fmla="*/ 368174 w 497940"/>
              <a:gd name="connsiteY22" fmla="*/ 679010 h 832919"/>
              <a:gd name="connsiteX23" fmla="*/ 377227 w 497940"/>
              <a:gd name="connsiteY23" fmla="*/ 603564 h 832919"/>
              <a:gd name="connsiteX24" fmla="*/ 393738 w 497940"/>
              <a:gd name="connsiteY24" fmla="*/ 619533 h 832919"/>
              <a:gd name="connsiteX25" fmla="*/ 497940 w 497940"/>
              <a:gd name="connsiteY25" fmla="*/ 573386 h 832919"/>
              <a:gd name="connsiteX26" fmla="*/ 476815 w 497940"/>
              <a:gd name="connsiteY26" fmla="*/ 525101 h 832919"/>
              <a:gd name="connsiteX27" fmla="*/ 494922 w 497940"/>
              <a:gd name="connsiteY27" fmla="*/ 494923 h 832919"/>
              <a:gd name="connsiteX28" fmla="*/ 380245 w 497940"/>
              <a:gd name="connsiteY28" fmla="*/ 12071 h 832919"/>
              <a:gd name="connsiteX29" fmla="*/ 368174 w 497940"/>
              <a:gd name="connsiteY29" fmla="*/ 0 h 832919"/>
              <a:gd name="connsiteX30" fmla="*/ 184087 w 497940"/>
              <a:gd name="connsiteY30" fmla="*/ 45267 h 832919"/>
              <a:gd name="connsiteX31" fmla="*/ 126748 w 497940"/>
              <a:gd name="connsiteY31" fmla="*/ 54321 h 832919"/>
              <a:gd name="connsiteX32" fmla="*/ 105623 w 497940"/>
              <a:gd name="connsiteY32" fmla="*/ 51303 h 832919"/>
              <a:gd name="connsiteX33" fmla="*/ 57338 w 497940"/>
              <a:gd name="connsiteY33" fmla="*/ 87517 h 832919"/>
              <a:gd name="connsiteX34" fmla="*/ 0 w 497940"/>
              <a:gd name="connsiteY34" fmla="*/ 102606 h 832919"/>
              <a:gd name="connsiteX0" fmla="*/ 0 w 497940"/>
              <a:gd name="connsiteY0" fmla="*/ 102606 h 832919"/>
              <a:gd name="connsiteX1" fmla="*/ 84499 w 497940"/>
              <a:gd name="connsiteY1" fmla="*/ 482851 h 832919"/>
              <a:gd name="connsiteX2" fmla="*/ 78463 w 497940"/>
              <a:gd name="connsiteY2" fmla="*/ 522083 h 832919"/>
              <a:gd name="connsiteX3" fmla="*/ 66392 w 497940"/>
              <a:gd name="connsiteY3" fmla="*/ 567350 h 832919"/>
              <a:gd name="connsiteX4" fmla="*/ 77340 w 497940"/>
              <a:gd name="connsiteY4" fmla="*/ 633742 h 832919"/>
              <a:gd name="connsiteX5" fmla="*/ 87516 w 497940"/>
              <a:gd name="connsiteY5" fmla="*/ 672974 h 832919"/>
              <a:gd name="connsiteX6" fmla="*/ 80358 w 497940"/>
              <a:gd name="connsiteY6" fmla="*/ 672974 h 832919"/>
              <a:gd name="connsiteX7" fmla="*/ 63514 w 497940"/>
              <a:gd name="connsiteY7" fmla="*/ 712845 h 832919"/>
              <a:gd name="connsiteX8" fmla="*/ 42249 w 497940"/>
              <a:gd name="connsiteY8" fmla="*/ 751438 h 832919"/>
              <a:gd name="connsiteX9" fmla="*/ 46037 w 497940"/>
              <a:gd name="connsiteY9" fmla="*/ 773028 h 832919"/>
              <a:gd name="connsiteX10" fmla="*/ 51303 w 497940"/>
              <a:gd name="connsiteY10" fmla="*/ 820847 h 832919"/>
              <a:gd name="connsiteX11" fmla="*/ 48285 w 497940"/>
              <a:gd name="connsiteY11" fmla="*/ 832919 h 832919"/>
              <a:gd name="connsiteX12" fmla="*/ 108641 w 497940"/>
              <a:gd name="connsiteY12" fmla="*/ 808776 h 832919"/>
              <a:gd name="connsiteX13" fmla="*/ 135802 w 497940"/>
              <a:gd name="connsiteY13" fmla="*/ 826883 h 832919"/>
              <a:gd name="connsiteX14" fmla="*/ 214265 w 497940"/>
              <a:gd name="connsiteY14" fmla="*/ 790669 h 832919"/>
              <a:gd name="connsiteX15" fmla="*/ 229354 w 497940"/>
              <a:gd name="connsiteY15" fmla="*/ 772562 h 832919"/>
              <a:gd name="connsiteX16" fmla="*/ 262550 w 497940"/>
              <a:gd name="connsiteY16" fmla="*/ 790669 h 832919"/>
              <a:gd name="connsiteX17" fmla="*/ 262550 w 497940"/>
              <a:gd name="connsiteY17" fmla="*/ 736348 h 832919"/>
              <a:gd name="connsiteX18" fmla="*/ 265568 w 497940"/>
              <a:gd name="connsiteY18" fmla="*/ 727295 h 832919"/>
              <a:gd name="connsiteX19" fmla="*/ 298764 w 497940"/>
              <a:gd name="connsiteY19" fmla="*/ 748420 h 832919"/>
              <a:gd name="connsiteX20" fmla="*/ 310835 w 497940"/>
              <a:gd name="connsiteY20" fmla="*/ 748420 h 832919"/>
              <a:gd name="connsiteX21" fmla="*/ 322906 w 497940"/>
              <a:gd name="connsiteY21" fmla="*/ 736348 h 832919"/>
              <a:gd name="connsiteX22" fmla="*/ 368174 w 497940"/>
              <a:gd name="connsiteY22" fmla="*/ 679010 h 832919"/>
              <a:gd name="connsiteX23" fmla="*/ 377227 w 497940"/>
              <a:gd name="connsiteY23" fmla="*/ 603564 h 832919"/>
              <a:gd name="connsiteX24" fmla="*/ 393738 w 497940"/>
              <a:gd name="connsiteY24" fmla="*/ 619533 h 832919"/>
              <a:gd name="connsiteX25" fmla="*/ 497940 w 497940"/>
              <a:gd name="connsiteY25" fmla="*/ 573386 h 832919"/>
              <a:gd name="connsiteX26" fmla="*/ 476815 w 497940"/>
              <a:gd name="connsiteY26" fmla="*/ 525101 h 832919"/>
              <a:gd name="connsiteX27" fmla="*/ 494922 w 497940"/>
              <a:gd name="connsiteY27" fmla="*/ 494923 h 832919"/>
              <a:gd name="connsiteX28" fmla="*/ 380245 w 497940"/>
              <a:gd name="connsiteY28" fmla="*/ 12071 h 832919"/>
              <a:gd name="connsiteX29" fmla="*/ 368174 w 497940"/>
              <a:gd name="connsiteY29" fmla="*/ 0 h 832919"/>
              <a:gd name="connsiteX30" fmla="*/ 184087 w 497940"/>
              <a:gd name="connsiteY30" fmla="*/ 45267 h 832919"/>
              <a:gd name="connsiteX31" fmla="*/ 126748 w 497940"/>
              <a:gd name="connsiteY31" fmla="*/ 54321 h 832919"/>
              <a:gd name="connsiteX32" fmla="*/ 105623 w 497940"/>
              <a:gd name="connsiteY32" fmla="*/ 51303 h 832919"/>
              <a:gd name="connsiteX33" fmla="*/ 57338 w 497940"/>
              <a:gd name="connsiteY33" fmla="*/ 87517 h 832919"/>
              <a:gd name="connsiteX34" fmla="*/ 0 w 497940"/>
              <a:gd name="connsiteY34" fmla="*/ 102606 h 832919"/>
              <a:gd name="connsiteX0" fmla="*/ 0 w 497940"/>
              <a:gd name="connsiteY0" fmla="*/ 102606 h 832919"/>
              <a:gd name="connsiteX1" fmla="*/ 84499 w 497940"/>
              <a:gd name="connsiteY1" fmla="*/ 482851 h 832919"/>
              <a:gd name="connsiteX2" fmla="*/ 78463 w 497940"/>
              <a:gd name="connsiteY2" fmla="*/ 522083 h 832919"/>
              <a:gd name="connsiteX3" fmla="*/ 66392 w 497940"/>
              <a:gd name="connsiteY3" fmla="*/ 567350 h 832919"/>
              <a:gd name="connsiteX4" fmla="*/ 77340 w 497940"/>
              <a:gd name="connsiteY4" fmla="*/ 633742 h 832919"/>
              <a:gd name="connsiteX5" fmla="*/ 87516 w 497940"/>
              <a:gd name="connsiteY5" fmla="*/ 672974 h 832919"/>
              <a:gd name="connsiteX6" fmla="*/ 80358 w 497940"/>
              <a:gd name="connsiteY6" fmla="*/ 672974 h 832919"/>
              <a:gd name="connsiteX7" fmla="*/ 63514 w 497940"/>
              <a:gd name="connsiteY7" fmla="*/ 712845 h 832919"/>
              <a:gd name="connsiteX8" fmla="*/ 42249 w 497940"/>
              <a:gd name="connsiteY8" fmla="*/ 751438 h 832919"/>
              <a:gd name="connsiteX9" fmla="*/ 46037 w 497940"/>
              <a:gd name="connsiteY9" fmla="*/ 773028 h 832919"/>
              <a:gd name="connsiteX10" fmla="*/ 48285 w 497940"/>
              <a:gd name="connsiteY10" fmla="*/ 832919 h 832919"/>
              <a:gd name="connsiteX11" fmla="*/ 108641 w 497940"/>
              <a:gd name="connsiteY11" fmla="*/ 808776 h 832919"/>
              <a:gd name="connsiteX12" fmla="*/ 135802 w 497940"/>
              <a:gd name="connsiteY12" fmla="*/ 826883 h 832919"/>
              <a:gd name="connsiteX13" fmla="*/ 214265 w 497940"/>
              <a:gd name="connsiteY13" fmla="*/ 790669 h 832919"/>
              <a:gd name="connsiteX14" fmla="*/ 229354 w 497940"/>
              <a:gd name="connsiteY14" fmla="*/ 772562 h 832919"/>
              <a:gd name="connsiteX15" fmla="*/ 262550 w 497940"/>
              <a:gd name="connsiteY15" fmla="*/ 790669 h 832919"/>
              <a:gd name="connsiteX16" fmla="*/ 262550 w 497940"/>
              <a:gd name="connsiteY16" fmla="*/ 736348 h 832919"/>
              <a:gd name="connsiteX17" fmla="*/ 265568 w 497940"/>
              <a:gd name="connsiteY17" fmla="*/ 727295 h 832919"/>
              <a:gd name="connsiteX18" fmla="*/ 298764 w 497940"/>
              <a:gd name="connsiteY18" fmla="*/ 748420 h 832919"/>
              <a:gd name="connsiteX19" fmla="*/ 310835 w 497940"/>
              <a:gd name="connsiteY19" fmla="*/ 748420 h 832919"/>
              <a:gd name="connsiteX20" fmla="*/ 322906 w 497940"/>
              <a:gd name="connsiteY20" fmla="*/ 736348 h 832919"/>
              <a:gd name="connsiteX21" fmla="*/ 368174 w 497940"/>
              <a:gd name="connsiteY21" fmla="*/ 679010 h 832919"/>
              <a:gd name="connsiteX22" fmla="*/ 377227 w 497940"/>
              <a:gd name="connsiteY22" fmla="*/ 603564 h 832919"/>
              <a:gd name="connsiteX23" fmla="*/ 393738 w 497940"/>
              <a:gd name="connsiteY23" fmla="*/ 619533 h 832919"/>
              <a:gd name="connsiteX24" fmla="*/ 497940 w 497940"/>
              <a:gd name="connsiteY24" fmla="*/ 573386 h 832919"/>
              <a:gd name="connsiteX25" fmla="*/ 476815 w 497940"/>
              <a:gd name="connsiteY25" fmla="*/ 525101 h 832919"/>
              <a:gd name="connsiteX26" fmla="*/ 494922 w 497940"/>
              <a:gd name="connsiteY26" fmla="*/ 494923 h 832919"/>
              <a:gd name="connsiteX27" fmla="*/ 380245 w 497940"/>
              <a:gd name="connsiteY27" fmla="*/ 12071 h 832919"/>
              <a:gd name="connsiteX28" fmla="*/ 368174 w 497940"/>
              <a:gd name="connsiteY28" fmla="*/ 0 h 832919"/>
              <a:gd name="connsiteX29" fmla="*/ 184087 w 497940"/>
              <a:gd name="connsiteY29" fmla="*/ 45267 h 832919"/>
              <a:gd name="connsiteX30" fmla="*/ 126748 w 497940"/>
              <a:gd name="connsiteY30" fmla="*/ 54321 h 832919"/>
              <a:gd name="connsiteX31" fmla="*/ 105623 w 497940"/>
              <a:gd name="connsiteY31" fmla="*/ 51303 h 832919"/>
              <a:gd name="connsiteX32" fmla="*/ 57338 w 497940"/>
              <a:gd name="connsiteY32" fmla="*/ 87517 h 832919"/>
              <a:gd name="connsiteX33" fmla="*/ 0 w 497940"/>
              <a:gd name="connsiteY33" fmla="*/ 102606 h 832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97940" h="832919">
                <a:moveTo>
                  <a:pt x="0" y="102606"/>
                </a:moveTo>
                <a:lnTo>
                  <a:pt x="84499" y="482851"/>
                </a:lnTo>
                <a:lnTo>
                  <a:pt x="78463" y="522083"/>
                </a:lnTo>
                <a:lnTo>
                  <a:pt x="66392" y="567350"/>
                </a:lnTo>
                <a:lnTo>
                  <a:pt x="77340" y="633742"/>
                </a:lnTo>
                <a:lnTo>
                  <a:pt x="87516" y="672974"/>
                </a:lnTo>
                <a:lnTo>
                  <a:pt x="80358" y="672974"/>
                </a:lnTo>
                <a:lnTo>
                  <a:pt x="63514" y="712845"/>
                </a:lnTo>
                <a:lnTo>
                  <a:pt x="42249" y="751438"/>
                </a:lnTo>
                <a:lnTo>
                  <a:pt x="46037" y="773028"/>
                </a:lnTo>
                <a:cubicBezTo>
                  <a:pt x="46786" y="792992"/>
                  <a:pt x="47536" y="812955"/>
                  <a:pt x="48285" y="832919"/>
                </a:cubicBezTo>
                <a:lnTo>
                  <a:pt x="108641" y="808776"/>
                </a:lnTo>
                <a:lnTo>
                  <a:pt x="135802" y="826883"/>
                </a:lnTo>
                <a:lnTo>
                  <a:pt x="214265" y="790669"/>
                </a:lnTo>
                <a:lnTo>
                  <a:pt x="229354" y="772562"/>
                </a:lnTo>
                <a:lnTo>
                  <a:pt x="262550" y="790669"/>
                </a:lnTo>
                <a:lnTo>
                  <a:pt x="262550" y="736348"/>
                </a:lnTo>
                <a:lnTo>
                  <a:pt x="265568" y="727295"/>
                </a:lnTo>
                <a:lnTo>
                  <a:pt x="298764" y="748420"/>
                </a:lnTo>
                <a:lnTo>
                  <a:pt x="310835" y="748420"/>
                </a:lnTo>
                <a:lnTo>
                  <a:pt x="322906" y="736348"/>
                </a:lnTo>
                <a:lnTo>
                  <a:pt x="368174" y="679010"/>
                </a:lnTo>
                <a:lnTo>
                  <a:pt x="377227" y="603564"/>
                </a:lnTo>
                <a:cubicBezTo>
                  <a:pt x="380345" y="603334"/>
                  <a:pt x="390620" y="619763"/>
                  <a:pt x="393738" y="619533"/>
                </a:cubicBezTo>
                <a:lnTo>
                  <a:pt x="497940" y="573386"/>
                </a:lnTo>
                <a:lnTo>
                  <a:pt x="476815" y="525101"/>
                </a:lnTo>
                <a:lnTo>
                  <a:pt x="494922" y="494923"/>
                </a:lnTo>
                <a:lnTo>
                  <a:pt x="380245" y="12071"/>
                </a:lnTo>
                <a:lnTo>
                  <a:pt x="368174" y="0"/>
                </a:lnTo>
                <a:lnTo>
                  <a:pt x="184087" y="45267"/>
                </a:lnTo>
                <a:lnTo>
                  <a:pt x="126748" y="54321"/>
                </a:lnTo>
                <a:lnTo>
                  <a:pt x="105623" y="51303"/>
                </a:lnTo>
                <a:lnTo>
                  <a:pt x="57338" y="87517"/>
                </a:lnTo>
                <a:lnTo>
                  <a:pt x="0" y="102606"/>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2" name="Freeform 31"/>
          <p:cNvSpPr/>
          <p:nvPr/>
        </p:nvSpPr>
        <p:spPr>
          <a:xfrm>
            <a:off x="3268183" y="4367788"/>
            <a:ext cx="2104789" cy="1978157"/>
          </a:xfrm>
          <a:custGeom>
            <a:avLst/>
            <a:gdLst>
              <a:gd name="connsiteX0" fmla="*/ 586946 w 2168610"/>
              <a:gd name="connsiteY0" fmla="*/ 0 h 2032687"/>
              <a:gd name="connsiteX1" fmla="*/ 580767 w 2168610"/>
              <a:gd name="connsiteY1" fmla="*/ 864973 h 2032687"/>
              <a:gd name="connsiteX2" fmla="*/ 6178 w 2168610"/>
              <a:gd name="connsiteY2" fmla="*/ 846438 h 2032687"/>
              <a:gd name="connsiteX3" fmla="*/ 0 w 2168610"/>
              <a:gd name="connsiteY3" fmla="*/ 883509 h 2032687"/>
              <a:gd name="connsiteX4" fmla="*/ 49427 w 2168610"/>
              <a:gd name="connsiteY4" fmla="*/ 914400 h 2032687"/>
              <a:gd name="connsiteX5" fmla="*/ 105032 w 2168610"/>
              <a:gd name="connsiteY5" fmla="*/ 982363 h 2032687"/>
              <a:gd name="connsiteX6" fmla="*/ 154459 w 2168610"/>
              <a:gd name="connsiteY6" fmla="*/ 1056503 h 2032687"/>
              <a:gd name="connsiteX7" fmla="*/ 203886 w 2168610"/>
              <a:gd name="connsiteY7" fmla="*/ 1068860 h 2032687"/>
              <a:gd name="connsiteX8" fmla="*/ 240956 w 2168610"/>
              <a:gd name="connsiteY8" fmla="*/ 1118287 h 2032687"/>
              <a:gd name="connsiteX9" fmla="*/ 271848 w 2168610"/>
              <a:gd name="connsiteY9" fmla="*/ 1167714 h 2032687"/>
              <a:gd name="connsiteX10" fmla="*/ 296562 w 2168610"/>
              <a:gd name="connsiteY10" fmla="*/ 1223319 h 2032687"/>
              <a:gd name="connsiteX11" fmla="*/ 308919 w 2168610"/>
              <a:gd name="connsiteY11" fmla="*/ 1297460 h 2032687"/>
              <a:gd name="connsiteX12" fmla="*/ 327454 w 2168610"/>
              <a:gd name="connsiteY12" fmla="*/ 1322173 h 2032687"/>
              <a:gd name="connsiteX13" fmla="*/ 432486 w 2168610"/>
              <a:gd name="connsiteY13" fmla="*/ 1402492 h 2032687"/>
              <a:gd name="connsiteX14" fmla="*/ 438665 w 2168610"/>
              <a:gd name="connsiteY14" fmla="*/ 1377779 h 2032687"/>
              <a:gd name="connsiteX15" fmla="*/ 574589 w 2168610"/>
              <a:gd name="connsiteY15" fmla="*/ 1445741 h 2032687"/>
              <a:gd name="connsiteX16" fmla="*/ 574589 w 2168610"/>
              <a:gd name="connsiteY16" fmla="*/ 1445741 h 2032687"/>
              <a:gd name="connsiteX17" fmla="*/ 605481 w 2168610"/>
              <a:gd name="connsiteY17" fmla="*/ 1390136 h 2032687"/>
              <a:gd name="connsiteX18" fmla="*/ 661086 w 2168610"/>
              <a:gd name="connsiteY18" fmla="*/ 1322173 h 2032687"/>
              <a:gd name="connsiteX19" fmla="*/ 729048 w 2168610"/>
              <a:gd name="connsiteY19" fmla="*/ 1303638 h 2032687"/>
              <a:gd name="connsiteX20" fmla="*/ 821724 w 2168610"/>
              <a:gd name="connsiteY20" fmla="*/ 1315995 h 2032687"/>
              <a:gd name="connsiteX21" fmla="*/ 902043 w 2168610"/>
              <a:gd name="connsiteY21" fmla="*/ 1377779 h 2032687"/>
              <a:gd name="connsiteX22" fmla="*/ 957648 w 2168610"/>
              <a:gd name="connsiteY22" fmla="*/ 1458098 h 2032687"/>
              <a:gd name="connsiteX23" fmla="*/ 1013254 w 2168610"/>
              <a:gd name="connsiteY23" fmla="*/ 1538417 h 2032687"/>
              <a:gd name="connsiteX24" fmla="*/ 1062681 w 2168610"/>
              <a:gd name="connsiteY24" fmla="*/ 1624914 h 2032687"/>
              <a:gd name="connsiteX25" fmla="*/ 1118286 w 2168610"/>
              <a:gd name="connsiteY25" fmla="*/ 1692876 h 2032687"/>
              <a:gd name="connsiteX26" fmla="*/ 1167713 w 2168610"/>
              <a:gd name="connsiteY26" fmla="*/ 1729946 h 2032687"/>
              <a:gd name="connsiteX27" fmla="*/ 1198605 w 2168610"/>
              <a:gd name="connsiteY27" fmla="*/ 1810265 h 2032687"/>
              <a:gd name="connsiteX28" fmla="*/ 1223319 w 2168610"/>
              <a:gd name="connsiteY28" fmla="*/ 1872049 h 2032687"/>
              <a:gd name="connsiteX29" fmla="*/ 1248032 w 2168610"/>
              <a:gd name="connsiteY29" fmla="*/ 1933833 h 2032687"/>
              <a:gd name="connsiteX30" fmla="*/ 1278924 w 2168610"/>
              <a:gd name="connsiteY30" fmla="*/ 1977082 h 2032687"/>
              <a:gd name="connsiteX31" fmla="*/ 1340708 w 2168610"/>
              <a:gd name="connsiteY31" fmla="*/ 2001795 h 2032687"/>
              <a:gd name="connsiteX32" fmla="*/ 1439562 w 2168610"/>
              <a:gd name="connsiteY32" fmla="*/ 2020330 h 2032687"/>
              <a:gd name="connsiteX33" fmla="*/ 1513702 w 2168610"/>
              <a:gd name="connsiteY33" fmla="*/ 2032687 h 2032687"/>
              <a:gd name="connsiteX34" fmla="*/ 1606378 w 2168610"/>
              <a:gd name="connsiteY34" fmla="*/ 2032687 h 2032687"/>
              <a:gd name="connsiteX35" fmla="*/ 1587843 w 2168610"/>
              <a:gd name="connsiteY35" fmla="*/ 2020330 h 2032687"/>
              <a:gd name="connsiteX36" fmla="*/ 1587843 w 2168610"/>
              <a:gd name="connsiteY36" fmla="*/ 2020330 h 2032687"/>
              <a:gd name="connsiteX37" fmla="*/ 1575486 w 2168610"/>
              <a:gd name="connsiteY37" fmla="*/ 1952368 h 2032687"/>
              <a:gd name="connsiteX38" fmla="*/ 1550773 w 2168610"/>
              <a:gd name="connsiteY38" fmla="*/ 1921476 h 2032687"/>
              <a:gd name="connsiteX39" fmla="*/ 1544594 w 2168610"/>
              <a:gd name="connsiteY39" fmla="*/ 1884406 h 2032687"/>
              <a:gd name="connsiteX40" fmla="*/ 1526059 w 2168610"/>
              <a:gd name="connsiteY40" fmla="*/ 1841157 h 2032687"/>
              <a:gd name="connsiteX41" fmla="*/ 1538416 w 2168610"/>
              <a:gd name="connsiteY41" fmla="*/ 1810265 h 2032687"/>
              <a:gd name="connsiteX42" fmla="*/ 1532237 w 2168610"/>
              <a:gd name="connsiteY42" fmla="*/ 1791730 h 2032687"/>
              <a:gd name="connsiteX43" fmla="*/ 1488989 w 2168610"/>
              <a:gd name="connsiteY43" fmla="*/ 1767017 h 2032687"/>
              <a:gd name="connsiteX44" fmla="*/ 1538416 w 2168610"/>
              <a:gd name="connsiteY44" fmla="*/ 1736125 h 2032687"/>
              <a:gd name="connsiteX45" fmla="*/ 1544594 w 2168610"/>
              <a:gd name="connsiteY45" fmla="*/ 1723768 h 2032687"/>
              <a:gd name="connsiteX46" fmla="*/ 1550773 w 2168610"/>
              <a:gd name="connsiteY46" fmla="*/ 1692876 h 2032687"/>
              <a:gd name="connsiteX47" fmla="*/ 1526059 w 2168610"/>
              <a:gd name="connsiteY47" fmla="*/ 1661984 h 2032687"/>
              <a:gd name="connsiteX48" fmla="*/ 1550773 w 2168610"/>
              <a:gd name="connsiteY48" fmla="*/ 1661984 h 2032687"/>
              <a:gd name="connsiteX49" fmla="*/ 1575486 w 2168610"/>
              <a:gd name="connsiteY49" fmla="*/ 1643449 h 2032687"/>
              <a:gd name="connsiteX50" fmla="*/ 1550773 w 2168610"/>
              <a:gd name="connsiteY50" fmla="*/ 1587844 h 2032687"/>
              <a:gd name="connsiteX51" fmla="*/ 1550773 w 2168610"/>
              <a:gd name="connsiteY51" fmla="*/ 1587844 h 2032687"/>
              <a:gd name="connsiteX52" fmla="*/ 1618735 w 2168610"/>
              <a:gd name="connsiteY52" fmla="*/ 1587844 h 2032687"/>
              <a:gd name="connsiteX53" fmla="*/ 1631092 w 2168610"/>
              <a:gd name="connsiteY53" fmla="*/ 1575487 h 2032687"/>
              <a:gd name="connsiteX54" fmla="*/ 1649627 w 2168610"/>
              <a:gd name="connsiteY54" fmla="*/ 1526060 h 2032687"/>
              <a:gd name="connsiteX55" fmla="*/ 1686697 w 2168610"/>
              <a:gd name="connsiteY55" fmla="*/ 1526060 h 2032687"/>
              <a:gd name="connsiteX56" fmla="*/ 1705232 w 2168610"/>
              <a:gd name="connsiteY56" fmla="*/ 1526060 h 2032687"/>
              <a:gd name="connsiteX57" fmla="*/ 1705232 w 2168610"/>
              <a:gd name="connsiteY57" fmla="*/ 1495168 h 2032687"/>
              <a:gd name="connsiteX58" fmla="*/ 1699054 w 2168610"/>
              <a:gd name="connsiteY58" fmla="*/ 1476633 h 2032687"/>
              <a:gd name="connsiteX59" fmla="*/ 1699054 w 2168610"/>
              <a:gd name="connsiteY59" fmla="*/ 1476633 h 2032687"/>
              <a:gd name="connsiteX60" fmla="*/ 1773194 w 2168610"/>
              <a:gd name="connsiteY60" fmla="*/ 1482811 h 2032687"/>
              <a:gd name="connsiteX61" fmla="*/ 1834978 w 2168610"/>
              <a:gd name="connsiteY61" fmla="*/ 1470455 h 2032687"/>
              <a:gd name="connsiteX62" fmla="*/ 1896762 w 2168610"/>
              <a:gd name="connsiteY62" fmla="*/ 1414849 h 2032687"/>
              <a:gd name="connsiteX63" fmla="*/ 1896762 w 2168610"/>
              <a:gd name="connsiteY63" fmla="*/ 1371600 h 2032687"/>
              <a:gd name="connsiteX64" fmla="*/ 1946189 w 2168610"/>
              <a:gd name="connsiteY64" fmla="*/ 1340709 h 2032687"/>
              <a:gd name="connsiteX65" fmla="*/ 1940010 w 2168610"/>
              <a:gd name="connsiteY65" fmla="*/ 1278925 h 2032687"/>
              <a:gd name="connsiteX66" fmla="*/ 1983259 w 2168610"/>
              <a:gd name="connsiteY66" fmla="*/ 1260390 h 2032687"/>
              <a:gd name="connsiteX67" fmla="*/ 2007973 w 2168610"/>
              <a:gd name="connsiteY67" fmla="*/ 1322173 h 2032687"/>
              <a:gd name="connsiteX68" fmla="*/ 2143897 w 2168610"/>
              <a:gd name="connsiteY68" fmla="*/ 1248033 h 2032687"/>
              <a:gd name="connsiteX69" fmla="*/ 2156254 w 2168610"/>
              <a:gd name="connsiteY69" fmla="*/ 1161536 h 2032687"/>
              <a:gd name="connsiteX70" fmla="*/ 2143897 w 2168610"/>
              <a:gd name="connsiteY70" fmla="*/ 1124465 h 2032687"/>
              <a:gd name="connsiteX71" fmla="*/ 2137719 w 2168610"/>
              <a:gd name="connsiteY71" fmla="*/ 1087395 h 2032687"/>
              <a:gd name="connsiteX72" fmla="*/ 2150075 w 2168610"/>
              <a:gd name="connsiteY72" fmla="*/ 1044146 h 2032687"/>
              <a:gd name="connsiteX73" fmla="*/ 2168610 w 2168610"/>
              <a:gd name="connsiteY73" fmla="*/ 1007076 h 2032687"/>
              <a:gd name="connsiteX74" fmla="*/ 2131540 w 2168610"/>
              <a:gd name="connsiteY74" fmla="*/ 895865 h 2032687"/>
              <a:gd name="connsiteX75" fmla="*/ 2100648 w 2168610"/>
              <a:gd name="connsiteY75" fmla="*/ 864973 h 2032687"/>
              <a:gd name="connsiteX76" fmla="*/ 2075935 w 2168610"/>
              <a:gd name="connsiteY76" fmla="*/ 784655 h 2032687"/>
              <a:gd name="connsiteX77" fmla="*/ 2063578 w 2168610"/>
              <a:gd name="connsiteY77" fmla="*/ 611660 h 2032687"/>
              <a:gd name="connsiteX78" fmla="*/ 2051221 w 2168610"/>
              <a:gd name="connsiteY78" fmla="*/ 512806 h 2032687"/>
              <a:gd name="connsiteX79" fmla="*/ 2032686 w 2168610"/>
              <a:gd name="connsiteY79" fmla="*/ 494271 h 2032687"/>
              <a:gd name="connsiteX80" fmla="*/ 1983259 w 2168610"/>
              <a:gd name="connsiteY80" fmla="*/ 518984 h 2032687"/>
              <a:gd name="connsiteX81" fmla="*/ 1872048 w 2168610"/>
              <a:gd name="connsiteY81" fmla="*/ 463379 h 2032687"/>
              <a:gd name="connsiteX82" fmla="*/ 1834978 w 2168610"/>
              <a:gd name="connsiteY82" fmla="*/ 463379 h 2032687"/>
              <a:gd name="connsiteX83" fmla="*/ 1767016 w 2168610"/>
              <a:gd name="connsiteY83" fmla="*/ 457200 h 2032687"/>
              <a:gd name="connsiteX84" fmla="*/ 1692875 w 2168610"/>
              <a:gd name="connsiteY84" fmla="*/ 512806 h 2032687"/>
              <a:gd name="connsiteX85" fmla="*/ 1631092 w 2168610"/>
              <a:gd name="connsiteY85" fmla="*/ 481914 h 2032687"/>
              <a:gd name="connsiteX86" fmla="*/ 1594021 w 2168610"/>
              <a:gd name="connsiteY86" fmla="*/ 494271 h 2032687"/>
              <a:gd name="connsiteX87" fmla="*/ 1594021 w 2168610"/>
              <a:gd name="connsiteY87" fmla="*/ 494271 h 2032687"/>
              <a:gd name="connsiteX88" fmla="*/ 1519881 w 2168610"/>
              <a:gd name="connsiteY88" fmla="*/ 488092 h 2032687"/>
              <a:gd name="connsiteX89" fmla="*/ 1488989 w 2168610"/>
              <a:gd name="connsiteY89" fmla="*/ 463379 h 2032687"/>
              <a:gd name="connsiteX90" fmla="*/ 1439562 w 2168610"/>
              <a:gd name="connsiteY90" fmla="*/ 481914 h 2032687"/>
              <a:gd name="connsiteX91" fmla="*/ 1353065 w 2168610"/>
              <a:gd name="connsiteY91" fmla="*/ 438665 h 2032687"/>
              <a:gd name="connsiteX92" fmla="*/ 1291281 w 2168610"/>
              <a:gd name="connsiteY92" fmla="*/ 444844 h 2032687"/>
              <a:gd name="connsiteX93" fmla="*/ 1260389 w 2168610"/>
              <a:gd name="connsiteY93" fmla="*/ 432487 h 2032687"/>
              <a:gd name="connsiteX94" fmla="*/ 1235675 w 2168610"/>
              <a:gd name="connsiteY94" fmla="*/ 432487 h 2032687"/>
              <a:gd name="connsiteX95" fmla="*/ 1210962 w 2168610"/>
              <a:gd name="connsiteY95" fmla="*/ 389238 h 2032687"/>
              <a:gd name="connsiteX96" fmla="*/ 1136821 w 2168610"/>
              <a:gd name="connsiteY96" fmla="*/ 395417 h 2032687"/>
              <a:gd name="connsiteX97" fmla="*/ 1105929 w 2168610"/>
              <a:gd name="connsiteY97" fmla="*/ 364525 h 2032687"/>
              <a:gd name="connsiteX98" fmla="*/ 1087394 w 2168610"/>
              <a:gd name="connsiteY98" fmla="*/ 364525 h 2032687"/>
              <a:gd name="connsiteX99" fmla="*/ 1075037 w 2168610"/>
              <a:gd name="connsiteY99" fmla="*/ 352168 h 2032687"/>
              <a:gd name="connsiteX100" fmla="*/ 1062681 w 2168610"/>
              <a:gd name="connsiteY100" fmla="*/ 345990 h 2032687"/>
              <a:gd name="connsiteX101" fmla="*/ 1056502 w 2168610"/>
              <a:gd name="connsiteY101" fmla="*/ 6179 h 2032687"/>
              <a:gd name="connsiteX102" fmla="*/ 586946 w 2168610"/>
              <a:gd name="connsiteY102" fmla="*/ 0 h 2032687"/>
              <a:gd name="connsiteX0" fmla="*/ 586946 w 2168610"/>
              <a:gd name="connsiteY0" fmla="*/ 0 h 2032687"/>
              <a:gd name="connsiteX1" fmla="*/ 580767 w 2168610"/>
              <a:gd name="connsiteY1" fmla="*/ 864973 h 2032687"/>
              <a:gd name="connsiteX2" fmla="*/ 6178 w 2168610"/>
              <a:gd name="connsiteY2" fmla="*/ 846438 h 2032687"/>
              <a:gd name="connsiteX3" fmla="*/ 0 w 2168610"/>
              <a:gd name="connsiteY3" fmla="*/ 883509 h 2032687"/>
              <a:gd name="connsiteX4" fmla="*/ 49427 w 2168610"/>
              <a:gd name="connsiteY4" fmla="*/ 914400 h 2032687"/>
              <a:gd name="connsiteX5" fmla="*/ 105032 w 2168610"/>
              <a:gd name="connsiteY5" fmla="*/ 982363 h 2032687"/>
              <a:gd name="connsiteX6" fmla="*/ 154459 w 2168610"/>
              <a:gd name="connsiteY6" fmla="*/ 1056503 h 2032687"/>
              <a:gd name="connsiteX7" fmla="*/ 203886 w 2168610"/>
              <a:gd name="connsiteY7" fmla="*/ 1068860 h 2032687"/>
              <a:gd name="connsiteX8" fmla="*/ 240956 w 2168610"/>
              <a:gd name="connsiteY8" fmla="*/ 1118287 h 2032687"/>
              <a:gd name="connsiteX9" fmla="*/ 271848 w 2168610"/>
              <a:gd name="connsiteY9" fmla="*/ 1167714 h 2032687"/>
              <a:gd name="connsiteX10" fmla="*/ 296562 w 2168610"/>
              <a:gd name="connsiteY10" fmla="*/ 1223319 h 2032687"/>
              <a:gd name="connsiteX11" fmla="*/ 308919 w 2168610"/>
              <a:gd name="connsiteY11" fmla="*/ 1297460 h 2032687"/>
              <a:gd name="connsiteX12" fmla="*/ 327454 w 2168610"/>
              <a:gd name="connsiteY12" fmla="*/ 1322173 h 2032687"/>
              <a:gd name="connsiteX13" fmla="*/ 432486 w 2168610"/>
              <a:gd name="connsiteY13" fmla="*/ 1402492 h 2032687"/>
              <a:gd name="connsiteX14" fmla="*/ 438665 w 2168610"/>
              <a:gd name="connsiteY14" fmla="*/ 1377779 h 2032687"/>
              <a:gd name="connsiteX15" fmla="*/ 574589 w 2168610"/>
              <a:gd name="connsiteY15" fmla="*/ 1445741 h 2032687"/>
              <a:gd name="connsiteX16" fmla="*/ 574589 w 2168610"/>
              <a:gd name="connsiteY16" fmla="*/ 1445741 h 2032687"/>
              <a:gd name="connsiteX17" fmla="*/ 605481 w 2168610"/>
              <a:gd name="connsiteY17" fmla="*/ 1390136 h 2032687"/>
              <a:gd name="connsiteX18" fmla="*/ 661086 w 2168610"/>
              <a:gd name="connsiteY18" fmla="*/ 1322173 h 2032687"/>
              <a:gd name="connsiteX19" fmla="*/ 729048 w 2168610"/>
              <a:gd name="connsiteY19" fmla="*/ 1303638 h 2032687"/>
              <a:gd name="connsiteX20" fmla="*/ 821724 w 2168610"/>
              <a:gd name="connsiteY20" fmla="*/ 1315995 h 2032687"/>
              <a:gd name="connsiteX21" fmla="*/ 902043 w 2168610"/>
              <a:gd name="connsiteY21" fmla="*/ 1377779 h 2032687"/>
              <a:gd name="connsiteX22" fmla="*/ 957648 w 2168610"/>
              <a:gd name="connsiteY22" fmla="*/ 1458098 h 2032687"/>
              <a:gd name="connsiteX23" fmla="*/ 1013254 w 2168610"/>
              <a:gd name="connsiteY23" fmla="*/ 1538417 h 2032687"/>
              <a:gd name="connsiteX24" fmla="*/ 1062681 w 2168610"/>
              <a:gd name="connsiteY24" fmla="*/ 1624914 h 2032687"/>
              <a:gd name="connsiteX25" fmla="*/ 1118286 w 2168610"/>
              <a:gd name="connsiteY25" fmla="*/ 1692876 h 2032687"/>
              <a:gd name="connsiteX26" fmla="*/ 1167713 w 2168610"/>
              <a:gd name="connsiteY26" fmla="*/ 1729946 h 2032687"/>
              <a:gd name="connsiteX27" fmla="*/ 1198605 w 2168610"/>
              <a:gd name="connsiteY27" fmla="*/ 1810265 h 2032687"/>
              <a:gd name="connsiteX28" fmla="*/ 1223319 w 2168610"/>
              <a:gd name="connsiteY28" fmla="*/ 1872049 h 2032687"/>
              <a:gd name="connsiteX29" fmla="*/ 1248032 w 2168610"/>
              <a:gd name="connsiteY29" fmla="*/ 1933833 h 2032687"/>
              <a:gd name="connsiteX30" fmla="*/ 1278924 w 2168610"/>
              <a:gd name="connsiteY30" fmla="*/ 1977082 h 2032687"/>
              <a:gd name="connsiteX31" fmla="*/ 1340708 w 2168610"/>
              <a:gd name="connsiteY31" fmla="*/ 2001795 h 2032687"/>
              <a:gd name="connsiteX32" fmla="*/ 1439562 w 2168610"/>
              <a:gd name="connsiteY32" fmla="*/ 2020330 h 2032687"/>
              <a:gd name="connsiteX33" fmla="*/ 1513702 w 2168610"/>
              <a:gd name="connsiteY33" fmla="*/ 2032687 h 2032687"/>
              <a:gd name="connsiteX34" fmla="*/ 1606378 w 2168610"/>
              <a:gd name="connsiteY34" fmla="*/ 2032687 h 2032687"/>
              <a:gd name="connsiteX35" fmla="*/ 1587843 w 2168610"/>
              <a:gd name="connsiteY35" fmla="*/ 2020330 h 2032687"/>
              <a:gd name="connsiteX36" fmla="*/ 1587843 w 2168610"/>
              <a:gd name="connsiteY36" fmla="*/ 2020330 h 2032687"/>
              <a:gd name="connsiteX37" fmla="*/ 1575486 w 2168610"/>
              <a:gd name="connsiteY37" fmla="*/ 1952368 h 2032687"/>
              <a:gd name="connsiteX38" fmla="*/ 1550773 w 2168610"/>
              <a:gd name="connsiteY38" fmla="*/ 1921476 h 2032687"/>
              <a:gd name="connsiteX39" fmla="*/ 1544594 w 2168610"/>
              <a:gd name="connsiteY39" fmla="*/ 1884406 h 2032687"/>
              <a:gd name="connsiteX40" fmla="*/ 1526059 w 2168610"/>
              <a:gd name="connsiteY40" fmla="*/ 1841157 h 2032687"/>
              <a:gd name="connsiteX41" fmla="*/ 1538416 w 2168610"/>
              <a:gd name="connsiteY41" fmla="*/ 1810265 h 2032687"/>
              <a:gd name="connsiteX42" fmla="*/ 1532237 w 2168610"/>
              <a:gd name="connsiteY42" fmla="*/ 1791730 h 2032687"/>
              <a:gd name="connsiteX43" fmla="*/ 1488989 w 2168610"/>
              <a:gd name="connsiteY43" fmla="*/ 1767017 h 2032687"/>
              <a:gd name="connsiteX44" fmla="*/ 1538416 w 2168610"/>
              <a:gd name="connsiteY44" fmla="*/ 1736125 h 2032687"/>
              <a:gd name="connsiteX45" fmla="*/ 1544594 w 2168610"/>
              <a:gd name="connsiteY45" fmla="*/ 1723768 h 2032687"/>
              <a:gd name="connsiteX46" fmla="*/ 1550773 w 2168610"/>
              <a:gd name="connsiteY46" fmla="*/ 1692876 h 2032687"/>
              <a:gd name="connsiteX47" fmla="*/ 1526059 w 2168610"/>
              <a:gd name="connsiteY47" fmla="*/ 1661984 h 2032687"/>
              <a:gd name="connsiteX48" fmla="*/ 1550773 w 2168610"/>
              <a:gd name="connsiteY48" fmla="*/ 1661984 h 2032687"/>
              <a:gd name="connsiteX49" fmla="*/ 1575486 w 2168610"/>
              <a:gd name="connsiteY49" fmla="*/ 1643449 h 2032687"/>
              <a:gd name="connsiteX50" fmla="*/ 1550773 w 2168610"/>
              <a:gd name="connsiteY50" fmla="*/ 1587844 h 2032687"/>
              <a:gd name="connsiteX51" fmla="*/ 1550773 w 2168610"/>
              <a:gd name="connsiteY51" fmla="*/ 1587844 h 2032687"/>
              <a:gd name="connsiteX52" fmla="*/ 1618735 w 2168610"/>
              <a:gd name="connsiteY52" fmla="*/ 1587844 h 2032687"/>
              <a:gd name="connsiteX53" fmla="*/ 1631092 w 2168610"/>
              <a:gd name="connsiteY53" fmla="*/ 1575487 h 2032687"/>
              <a:gd name="connsiteX54" fmla="*/ 1649627 w 2168610"/>
              <a:gd name="connsiteY54" fmla="*/ 1526060 h 2032687"/>
              <a:gd name="connsiteX55" fmla="*/ 1686697 w 2168610"/>
              <a:gd name="connsiteY55" fmla="*/ 1526060 h 2032687"/>
              <a:gd name="connsiteX56" fmla="*/ 1705232 w 2168610"/>
              <a:gd name="connsiteY56" fmla="*/ 1526060 h 2032687"/>
              <a:gd name="connsiteX57" fmla="*/ 1705232 w 2168610"/>
              <a:gd name="connsiteY57" fmla="*/ 1495168 h 2032687"/>
              <a:gd name="connsiteX58" fmla="*/ 1699054 w 2168610"/>
              <a:gd name="connsiteY58" fmla="*/ 1476633 h 2032687"/>
              <a:gd name="connsiteX59" fmla="*/ 1699054 w 2168610"/>
              <a:gd name="connsiteY59" fmla="*/ 1476633 h 2032687"/>
              <a:gd name="connsiteX60" fmla="*/ 1773194 w 2168610"/>
              <a:gd name="connsiteY60" fmla="*/ 1482811 h 2032687"/>
              <a:gd name="connsiteX61" fmla="*/ 1834978 w 2168610"/>
              <a:gd name="connsiteY61" fmla="*/ 1470455 h 2032687"/>
              <a:gd name="connsiteX62" fmla="*/ 1896762 w 2168610"/>
              <a:gd name="connsiteY62" fmla="*/ 1414849 h 2032687"/>
              <a:gd name="connsiteX63" fmla="*/ 1896762 w 2168610"/>
              <a:gd name="connsiteY63" fmla="*/ 1371600 h 2032687"/>
              <a:gd name="connsiteX64" fmla="*/ 1946189 w 2168610"/>
              <a:gd name="connsiteY64" fmla="*/ 1340709 h 2032687"/>
              <a:gd name="connsiteX65" fmla="*/ 1940010 w 2168610"/>
              <a:gd name="connsiteY65" fmla="*/ 1278925 h 2032687"/>
              <a:gd name="connsiteX66" fmla="*/ 1983259 w 2168610"/>
              <a:gd name="connsiteY66" fmla="*/ 1260390 h 2032687"/>
              <a:gd name="connsiteX67" fmla="*/ 2007973 w 2168610"/>
              <a:gd name="connsiteY67" fmla="*/ 1322173 h 2032687"/>
              <a:gd name="connsiteX68" fmla="*/ 2143897 w 2168610"/>
              <a:gd name="connsiteY68" fmla="*/ 1248033 h 2032687"/>
              <a:gd name="connsiteX69" fmla="*/ 2156254 w 2168610"/>
              <a:gd name="connsiteY69" fmla="*/ 1161536 h 2032687"/>
              <a:gd name="connsiteX70" fmla="*/ 2143897 w 2168610"/>
              <a:gd name="connsiteY70" fmla="*/ 1124465 h 2032687"/>
              <a:gd name="connsiteX71" fmla="*/ 2137719 w 2168610"/>
              <a:gd name="connsiteY71" fmla="*/ 1087395 h 2032687"/>
              <a:gd name="connsiteX72" fmla="*/ 2150075 w 2168610"/>
              <a:gd name="connsiteY72" fmla="*/ 1044146 h 2032687"/>
              <a:gd name="connsiteX73" fmla="*/ 2168610 w 2168610"/>
              <a:gd name="connsiteY73" fmla="*/ 1007076 h 2032687"/>
              <a:gd name="connsiteX74" fmla="*/ 2131540 w 2168610"/>
              <a:gd name="connsiteY74" fmla="*/ 895865 h 2032687"/>
              <a:gd name="connsiteX75" fmla="*/ 2100648 w 2168610"/>
              <a:gd name="connsiteY75" fmla="*/ 864973 h 2032687"/>
              <a:gd name="connsiteX76" fmla="*/ 2075935 w 2168610"/>
              <a:gd name="connsiteY76" fmla="*/ 784655 h 2032687"/>
              <a:gd name="connsiteX77" fmla="*/ 2063578 w 2168610"/>
              <a:gd name="connsiteY77" fmla="*/ 611660 h 2032687"/>
              <a:gd name="connsiteX78" fmla="*/ 2051221 w 2168610"/>
              <a:gd name="connsiteY78" fmla="*/ 512806 h 2032687"/>
              <a:gd name="connsiteX79" fmla="*/ 2032686 w 2168610"/>
              <a:gd name="connsiteY79" fmla="*/ 494271 h 2032687"/>
              <a:gd name="connsiteX80" fmla="*/ 1983259 w 2168610"/>
              <a:gd name="connsiteY80" fmla="*/ 518984 h 2032687"/>
              <a:gd name="connsiteX81" fmla="*/ 1872048 w 2168610"/>
              <a:gd name="connsiteY81" fmla="*/ 463379 h 2032687"/>
              <a:gd name="connsiteX82" fmla="*/ 1834978 w 2168610"/>
              <a:gd name="connsiteY82" fmla="*/ 463379 h 2032687"/>
              <a:gd name="connsiteX83" fmla="*/ 1767016 w 2168610"/>
              <a:gd name="connsiteY83" fmla="*/ 457200 h 2032687"/>
              <a:gd name="connsiteX84" fmla="*/ 1692875 w 2168610"/>
              <a:gd name="connsiteY84" fmla="*/ 512806 h 2032687"/>
              <a:gd name="connsiteX85" fmla="*/ 1631092 w 2168610"/>
              <a:gd name="connsiteY85" fmla="*/ 481914 h 2032687"/>
              <a:gd name="connsiteX86" fmla="*/ 1594021 w 2168610"/>
              <a:gd name="connsiteY86" fmla="*/ 494271 h 2032687"/>
              <a:gd name="connsiteX87" fmla="*/ 1594021 w 2168610"/>
              <a:gd name="connsiteY87" fmla="*/ 494271 h 2032687"/>
              <a:gd name="connsiteX88" fmla="*/ 1519881 w 2168610"/>
              <a:gd name="connsiteY88" fmla="*/ 488092 h 2032687"/>
              <a:gd name="connsiteX89" fmla="*/ 1488989 w 2168610"/>
              <a:gd name="connsiteY89" fmla="*/ 463379 h 2032687"/>
              <a:gd name="connsiteX90" fmla="*/ 1439562 w 2168610"/>
              <a:gd name="connsiteY90" fmla="*/ 481914 h 2032687"/>
              <a:gd name="connsiteX91" fmla="*/ 1353065 w 2168610"/>
              <a:gd name="connsiteY91" fmla="*/ 438665 h 2032687"/>
              <a:gd name="connsiteX92" fmla="*/ 1291281 w 2168610"/>
              <a:gd name="connsiteY92" fmla="*/ 444844 h 2032687"/>
              <a:gd name="connsiteX93" fmla="*/ 1260389 w 2168610"/>
              <a:gd name="connsiteY93" fmla="*/ 432487 h 2032687"/>
              <a:gd name="connsiteX94" fmla="*/ 1235675 w 2168610"/>
              <a:gd name="connsiteY94" fmla="*/ 432487 h 2032687"/>
              <a:gd name="connsiteX95" fmla="*/ 1210962 w 2168610"/>
              <a:gd name="connsiteY95" fmla="*/ 389238 h 2032687"/>
              <a:gd name="connsiteX96" fmla="*/ 1136821 w 2168610"/>
              <a:gd name="connsiteY96" fmla="*/ 395417 h 2032687"/>
              <a:gd name="connsiteX97" fmla="*/ 1105929 w 2168610"/>
              <a:gd name="connsiteY97" fmla="*/ 364525 h 2032687"/>
              <a:gd name="connsiteX98" fmla="*/ 1087394 w 2168610"/>
              <a:gd name="connsiteY98" fmla="*/ 364525 h 2032687"/>
              <a:gd name="connsiteX99" fmla="*/ 1075037 w 2168610"/>
              <a:gd name="connsiteY99" fmla="*/ 352168 h 2032687"/>
              <a:gd name="connsiteX100" fmla="*/ 1062681 w 2168610"/>
              <a:gd name="connsiteY100" fmla="*/ 345990 h 2032687"/>
              <a:gd name="connsiteX101" fmla="*/ 1068450 w 2168610"/>
              <a:gd name="connsiteY101" fmla="*/ 3796 h 2032687"/>
              <a:gd name="connsiteX102" fmla="*/ 586946 w 2168610"/>
              <a:gd name="connsiteY102" fmla="*/ 0 h 2032687"/>
              <a:gd name="connsiteX0" fmla="*/ 598875 w 2168610"/>
              <a:gd name="connsiteY0" fmla="*/ 0 h 2032687"/>
              <a:gd name="connsiteX1" fmla="*/ 580767 w 2168610"/>
              <a:gd name="connsiteY1" fmla="*/ 864973 h 2032687"/>
              <a:gd name="connsiteX2" fmla="*/ 6178 w 2168610"/>
              <a:gd name="connsiteY2" fmla="*/ 846438 h 2032687"/>
              <a:gd name="connsiteX3" fmla="*/ 0 w 2168610"/>
              <a:gd name="connsiteY3" fmla="*/ 883509 h 2032687"/>
              <a:gd name="connsiteX4" fmla="*/ 49427 w 2168610"/>
              <a:gd name="connsiteY4" fmla="*/ 914400 h 2032687"/>
              <a:gd name="connsiteX5" fmla="*/ 105032 w 2168610"/>
              <a:gd name="connsiteY5" fmla="*/ 982363 h 2032687"/>
              <a:gd name="connsiteX6" fmla="*/ 154459 w 2168610"/>
              <a:gd name="connsiteY6" fmla="*/ 1056503 h 2032687"/>
              <a:gd name="connsiteX7" fmla="*/ 203886 w 2168610"/>
              <a:gd name="connsiteY7" fmla="*/ 1068860 h 2032687"/>
              <a:gd name="connsiteX8" fmla="*/ 240956 w 2168610"/>
              <a:gd name="connsiteY8" fmla="*/ 1118287 h 2032687"/>
              <a:gd name="connsiteX9" fmla="*/ 271848 w 2168610"/>
              <a:gd name="connsiteY9" fmla="*/ 1167714 h 2032687"/>
              <a:gd name="connsiteX10" fmla="*/ 296562 w 2168610"/>
              <a:gd name="connsiteY10" fmla="*/ 1223319 h 2032687"/>
              <a:gd name="connsiteX11" fmla="*/ 308919 w 2168610"/>
              <a:gd name="connsiteY11" fmla="*/ 1297460 h 2032687"/>
              <a:gd name="connsiteX12" fmla="*/ 327454 w 2168610"/>
              <a:gd name="connsiteY12" fmla="*/ 1322173 h 2032687"/>
              <a:gd name="connsiteX13" fmla="*/ 432486 w 2168610"/>
              <a:gd name="connsiteY13" fmla="*/ 1402492 h 2032687"/>
              <a:gd name="connsiteX14" fmla="*/ 438665 w 2168610"/>
              <a:gd name="connsiteY14" fmla="*/ 1377779 h 2032687"/>
              <a:gd name="connsiteX15" fmla="*/ 574589 w 2168610"/>
              <a:gd name="connsiteY15" fmla="*/ 1445741 h 2032687"/>
              <a:gd name="connsiteX16" fmla="*/ 574589 w 2168610"/>
              <a:gd name="connsiteY16" fmla="*/ 1445741 h 2032687"/>
              <a:gd name="connsiteX17" fmla="*/ 605481 w 2168610"/>
              <a:gd name="connsiteY17" fmla="*/ 1390136 h 2032687"/>
              <a:gd name="connsiteX18" fmla="*/ 661086 w 2168610"/>
              <a:gd name="connsiteY18" fmla="*/ 1322173 h 2032687"/>
              <a:gd name="connsiteX19" fmla="*/ 729048 w 2168610"/>
              <a:gd name="connsiteY19" fmla="*/ 1303638 h 2032687"/>
              <a:gd name="connsiteX20" fmla="*/ 821724 w 2168610"/>
              <a:gd name="connsiteY20" fmla="*/ 1315995 h 2032687"/>
              <a:gd name="connsiteX21" fmla="*/ 902043 w 2168610"/>
              <a:gd name="connsiteY21" fmla="*/ 1377779 h 2032687"/>
              <a:gd name="connsiteX22" fmla="*/ 957648 w 2168610"/>
              <a:gd name="connsiteY22" fmla="*/ 1458098 h 2032687"/>
              <a:gd name="connsiteX23" fmla="*/ 1013254 w 2168610"/>
              <a:gd name="connsiteY23" fmla="*/ 1538417 h 2032687"/>
              <a:gd name="connsiteX24" fmla="*/ 1062681 w 2168610"/>
              <a:gd name="connsiteY24" fmla="*/ 1624914 h 2032687"/>
              <a:gd name="connsiteX25" fmla="*/ 1118286 w 2168610"/>
              <a:gd name="connsiteY25" fmla="*/ 1692876 h 2032687"/>
              <a:gd name="connsiteX26" fmla="*/ 1167713 w 2168610"/>
              <a:gd name="connsiteY26" fmla="*/ 1729946 h 2032687"/>
              <a:gd name="connsiteX27" fmla="*/ 1198605 w 2168610"/>
              <a:gd name="connsiteY27" fmla="*/ 1810265 h 2032687"/>
              <a:gd name="connsiteX28" fmla="*/ 1223319 w 2168610"/>
              <a:gd name="connsiteY28" fmla="*/ 1872049 h 2032687"/>
              <a:gd name="connsiteX29" fmla="*/ 1248032 w 2168610"/>
              <a:gd name="connsiteY29" fmla="*/ 1933833 h 2032687"/>
              <a:gd name="connsiteX30" fmla="*/ 1278924 w 2168610"/>
              <a:gd name="connsiteY30" fmla="*/ 1977082 h 2032687"/>
              <a:gd name="connsiteX31" fmla="*/ 1340708 w 2168610"/>
              <a:gd name="connsiteY31" fmla="*/ 2001795 h 2032687"/>
              <a:gd name="connsiteX32" fmla="*/ 1439562 w 2168610"/>
              <a:gd name="connsiteY32" fmla="*/ 2020330 h 2032687"/>
              <a:gd name="connsiteX33" fmla="*/ 1513702 w 2168610"/>
              <a:gd name="connsiteY33" fmla="*/ 2032687 h 2032687"/>
              <a:gd name="connsiteX34" fmla="*/ 1606378 w 2168610"/>
              <a:gd name="connsiteY34" fmla="*/ 2032687 h 2032687"/>
              <a:gd name="connsiteX35" fmla="*/ 1587843 w 2168610"/>
              <a:gd name="connsiteY35" fmla="*/ 2020330 h 2032687"/>
              <a:gd name="connsiteX36" fmla="*/ 1587843 w 2168610"/>
              <a:gd name="connsiteY36" fmla="*/ 2020330 h 2032687"/>
              <a:gd name="connsiteX37" fmla="*/ 1575486 w 2168610"/>
              <a:gd name="connsiteY37" fmla="*/ 1952368 h 2032687"/>
              <a:gd name="connsiteX38" fmla="*/ 1550773 w 2168610"/>
              <a:gd name="connsiteY38" fmla="*/ 1921476 h 2032687"/>
              <a:gd name="connsiteX39" fmla="*/ 1544594 w 2168610"/>
              <a:gd name="connsiteY39" fmla="*/ 1884406 h 2032687"/>
              <a:gd name="connsiteX40" fmla="*/ 1526059 w 2168610"/>
              <a:gd name="connsiteY40" fmla="*/ 1841157 h 2032687"/>
              <a:gd name="connsiteX41" fmla="*/ 1538416 w 2168610"/>
              <a:gd name="connsiteY41" fmla="*/ 1810265 h 2032687"/>
              <a:gd name="connsiteX42" fmla="*/ 1532237 w 2168610"/>
              <a:gd name="connsiteY42" fmla="*/ 1791730 h 2032687"/>
              <a:gd name="connsiteX43" fmla="*/ 1488989 w 2168610"/>
              <a:gd name="connsiteY43" fmla="*/ 1767017 h 2032687"/>
              <a:gd name="connsiteX44" fmla="*/ 1538416 w 2168610"/>
              <a:gd name="connsiteY44" fmla="*/ 1736125 h 2032687"/>
              <a:gd name="connsiteX45" fmla="*/ 1544594 w 2168610"/>
              <a:gd name="connsiteY45" fmla="*/ 1723768 h 2032687"/>
              <a:gd name="connsiteX46" fmla="*/ 1550773 w 2168610"/>
              <a:gd name="connsiteY46" fmla="*/ 1692876 h 2032687"/>
              <a:gd name="connsiteX47" fmla="*/ 1526059 w 2168610"/>
              <a:gd name="connsiteY47" fmla="*/ 1661984 h 2032687"/>
              <a:gd name="connsiteX48" fmla="*/ 1550773 w 2168610"/>
              <a:gd name="connsiteY48" fmla="*/ 1661984 h 2032687"/>
              <a:gd name="connsiteX49" fmla="*/ 1575486 w 2168610"/>
              <a:gd name="connsiteY49" fmla="*/ 1643449 h 2032687"/>
              <a:gd name="connsiteX50" fmla="*/ 1550773 w 2168610"/>
              <a:gd name="connsiteY50" fmla="*/ 1587844 h 2032687"/>
              <a:gd name="connsiteX51" fmla="*/ 1550773 w 2168610"/>
              <a:gd name="connsiteY51" fmla="*/ 1587844 h 2032687"/>
              <a:gd name="connsiteX52" fmla="*/ 1618735 w 2168610"/>
              <a:gd name="connsiteY52" fmla="*/ 1587844 h 2032687"/>
              <a:gd name="connsiteX53" fmla="*/ 1631092 w 2168610"/>
              <a:gd name="connsiteY53" fmla="*/ 1575487 h 2032687"/>
              <a:gd name="connsiteX54" fmla="*/ 1649627 w 2168610"/>
              <a:gd name="connsiteY54" fmla="*/ 1526060 h 2032687"/>
              <a:gd name="connsiteX55" fmla="*/ 1686697 w 2168610"/>
              <a:gd name="connsiteY55" fmla="*/ 1526060 h 2032687"/>
              <a:gd name="connsiteX56" fmla="*/ 1705232 w 2168610"/>
              <a:gd name="connsiteY56" fmla="*/ 1526060 h 2032687"/>
              <a:gd name="connsiteX57" fmla="*/ 1705232 w 2168610"/>
              <a:gd name="connsiteY57" fmla="*/ 1495168 h 2032687"/>
              <a:gd name="connsiteX58" fmla="*/ 1699054 w 2168610"/>
              <a:gd name="connsiteY58" fmla="*/ 1476633 h 2032687"/>
              <a:gd name="connsiteX59" fmla="*/ 1699054 w 2168610"/>
              <a:gd name="connsiteY59" fmla="*/ 1476633 h 2032687"/>
              <a:gd name="connsiteX60" fmla="*/ 1773194 w 2168610"/>
              <a:gd name="connsiteY60" fmla="*/ 1482811 h 2032687"/>
              <a:gd name="connsiteX61" fmla="*/ 1834978 w 2168610"/>
              <a:gd name="connsiteY61" fmla="*/ 1470455 h 2032687"/>
              <a:gd name="connsiteX62" fmla="*/ 1896762 w 2168610"/>
              <a:gd name="connsiteY62" fmla="*/ 1414849 h 2032687"/>
              <a:gd name="connsiteX63" fmla="*/ 1896762 w 2168610"/>
              <a:gd name="connsiteY63" fmla="*/ 1371600 h 2032687"/>
              <a:gd name="connsiteX64" fmla="*/ 1946189 w 2168610"/>
              <a:gd name="connsiteY64" fmla="*/ 1340709 h 2032687"/>
              <a:gd name="connsiteX65" fmla="*/ 1940010 w 2168610"/>
              <a:gd name="connsiteY65" fmla="*/ 1278925 h 2032687"/>
              <a:gd name="connsiteX66" fmla="*/ 1983259 w 2168610"/>
              <a:gd name="connsiteY66" fmla="*/ 1260390 h 2032687"/>
              <a:gd name="connsiteX67" fmla="*/ 2007973 w 2168610"/>
              <a:gd name="connsiteY67" fmla="*/ 1322173 h 2032687"/>
              <a:gd name="connsiteX68" fmla="*/ 2143897 w 2168610"/>
              <a:gd name="connsiteY68" fmla="*/ 1248033 h 2032687"/>
              <a:gd name="connsiteX69" fmla="*/ 2156254 w 2168610"/>
              <a:gd name="connsiteY69" fmla="*/ 1161536 h 2032687"/>
              <a:gd name="connsiteX70" fmla="*/ 2143897 w 2168610"/>
              <a:gd name="connsiteY70" fmla="*/ 1124465 h 2032687"/>
              <a:gd name="connsiteX71" fmla="*/ 2137719 w 2168610"/>
              <a:gd name="connsiteY71" fmla="*/ 1087395 h 2032687"/>
              <a:gd name="connsiteX72" fmla="*/ 2150075 w 2168610"/>
              <a:gd name="connsiteY72" fmla="*/ 1044146 h 2032687"/>
              <a:gd name="connsiteX73" fmla="*/ 2168610 w 2168610"/>
              <a:gd name="connsiteY73" fmla="*/ 1007076 h 2032687"/>
              <a:gd name="connsiteX74" fmla="*/ 2131540 w 2168610"/>
              <a:gd name="connsiteY74" fmla="*/ 895865 h 2032687"/>
              <a:gd name="connsiteX75" fmla="*/ 2100648 w 2168610"/>
              <a:gd name="connsiteY75" fmla="*/ 864973 h 2032687"/>
              <a:gd name="connsiteX76" fmla="*/ 2075935 w 2168610"/>
              <a:gd name="connsiteY76" fmla="*/ 784655 h 2032687"/>
              <a:gd name="connsiteX77" fmla="*/ 2063578 w 2168610"/>
              <a:gd name="connsiteY77" fmla="*/ 611660 h 2032687"/>
              <a:gd name="connsiteX78" fmla="*/ 2051221 w 2168610"/>
              <a:gd name="connsiteY78" fmla="*/ 512806 h 2032687"/>
              <a:gd name="connsiteX79" fmla="*/ 2032686 w 2168610"/>
              <a:gd name="connsiteY79" fmla="*/ 494271 h 2032687"/>
              <a:gd name="connsiteX80" fmla="*/ 1983259 w 2168610"/>
              <a:gd name="connsiteY80" fmla="*/ 518984 h 2032687"/>
              <a:gd name="connsiteX81" fmla="*/ 1872048 w 2168610"/>
              <a:gd name="connsiteY81" fmla="*/ 463379 h 2032687"/>
              <a:gd name="connsiteX82" fmla="*/ 1834978 w 2168610"/>
              <a:gd name="connsiteY82" fmla="*/ 463379 h 2032687"/>
              <a:gd name="connsiteX83" fmla="*/ 1767016 w 2168610"/>
              <a:gd name="connsiteY83" fmla="*/ 457200 h 2032687"/>
              <a:gd name="connsiteX84" fmla="*/ 1692875 w 2168610"/>
              <a:gd name="connsiteY84" fmla="*/ 512806 h 2032687"/>
              <a:gd name="connsiteX85" fmla="*/ 1631092 w 2168610"/>
              <a:gd name="connsiteY85" fmla="*/ 481914 h 2032687"/>
              <a:gd name="connsiteX86" fmla="*/ 1594021 w 2168610"/>
              <a:gd name="connsiteY86" fmla="*/ 494271 h 2032687"/>
              <a:gd name="connsiteX87" fmla="*/ 1594021 w 2168610"/>
              <a:gd name="connsiteY87" fmla="*/ 494271 h 2032687"/>
              <a:gd name="connsiteX88" fmla="*/ 1519881 w 2168610"/>
              <a:gd name="connsiteY88" fmla="*/ 488092 h 2032687"/>
              <a:gd name="connsiteX89" fmla="*/ 1488989 w 2168610"/>
              <a:gd name="connsiteY89" fmla="*/ 463379 h 2032687"/>
              <a:gd name="connsiteX90" fmla="*/ 1439562 w 2168610"/>
              <a:gd name="connsiteY90" fmla="*/ 481914 h 2032687"/>
              <a:gd name="connsiteX91" fmla="*/ 1353065 w 2168610"/>
              <a:gd name="connsiteY91" fmla="*/ 438665 h 2032687"/>
              <a:gd name="connsiteX92" fmla="*/ 1291281 w 2168610"/>
              <a:gd name="connsiteY92" fmla="*/ 444844 h 2032687"/>
              <a:gd name="connsiteX93" fmla="*/ 1260389 w 2168610"/>
              <a:gd name="connsiteY93" fmla="*/ 432487 h 2032687"/>
              <a:gd name="connsiteX94" fmla="*/ 1235675 w 2168610"/>
              <a:gd name="connsiteY94" fmla="*/ 432487 h 2032687"/>
              <a:gd name="connsiteX95" fmla="*/ 1210962 w 2168610"/>
              <a:gd name="connsiteY95" fmla="*/ 389238 h 2032687"/>
              <a:gd name="connsiteX96" fmla="*/ 1136821 w 2168610"/>
              <a:gd name="connsiteY96" fmla="*/ 395417 h 2032687"/>
              <a:gd name="connsiteX97" fmla="*/ 1105929 w 2168610"/>
              <a:gd name="connsiteY97" fmla="*/ 364525 h 2032687"/>
              <a:gd name="connsiteX98" fmla="*/ 1087394 w 2168610"/>
              <a:gd name="connsiteY98" fmla="*/ 364525 h 2032687"/>
              <a:gd name="connsiteX99" fmla="*/ 1075037 w 2168610"/>
              <a:gd name="connsiteY99" fmla="*/ 352168 h 2032687"/>
              <a:gd name="connsiteX100" fmla="*/ 1062681 w 2168610"/>
              <a:gd name="connsiteY100" fmla="*/ 345990 h 2032687"/>
              <a:gd name="connsiteX101" fmla="*/ 1068450 w 2168610"/>
              <a:gd name="connsiteY101" fmla="*/ 3796 h 2032687"/>
              <a:gd name="connsiteX102" fmla="*/ 598875 w 2168610"/>
              <a:gd name="connsiteY102" fmla="*/ 0 h 2032687"/>
              <a:gd name="connsiteX0" fmla="*/ 598898 w 2168610"/>
              <a:gd name="connsiteY0" fmla="*/ 0 h 2039827"/>
              <a:gd name="connsiteX1" fmla="*/ 580767 w 2168610"/>
              <a:gd name="connsiteY1" fmla="*/ 872113 h 2039827"/>
              <a:gd name="connsiteX2" fmla="*/ 6178 w 2168610"/>
              <a:gd name="connsiteY2" fmla="*/ 853578 h 2039827"/>
              <a:gd name="connsiteX3" fmla="*/ 0 w 2168610"/>
              <a:gd name="connsiteY3" fmla="*/ 890649 h 2039827"/>
              <a:gd name="connsiteX4" fmla="*/ 49427 w 2168610"/>
              <a:gd name="connsiteY4" fmla="*/ 921540 h 2039827"/>
              <a:gd name="connsiteX5" fmla="*/ 105032 w 2168610"/>
              <a:gd name="connsiteY5" fmla="*/ 989503 h 2039827"/>
              <a:gd name="connsiteX6" fmla="*/ 154459 w 2168610"/>
              <a:gd name="connsiteY6" fmla="*/ 1063643 h 2039827"/>
              <a:gd name="connsiteX7" fmla="*/ 203886 w 2168610"/>
              <a:gd name="connsiteY7" fmla="*/ 1076000 h 2039827"/>
              <a:gd name="connsiteX8" fmla="*/ 240956 w 2168610"/>
              <a:gd name="connsiteY8" fmla="*/ 1125427 h 2039827"/>
              <a:gd name="connsiteX9" fmla="*/ 271848 w 2168610"/>
              <a:gd name="connsiteY9" fmla="*/ 1174854 h 2039827"/>
              <a:gd name="connsiteX10" fmla="*/ 296562 w 2168610"/>
              <a:gd name="connsiteY10" fmla="*/ 1230459 h 2039827"/>
              <a:gd name="connsiteX11" fmla="*/ 308919 w 2168610"/>
              <a:gd name="connsiteY11" fmla="*/ 1304600 h 2039827"/>
              <a:gd name="connsiteX12" fmla="*/ 327454 w 2168610"/>
              <a:gd name="connsiteY12" fmla="*/ 1329313 h 2039827"/>
              <a:gd name="connsiteX13" fmla="*/ 432486 w 2168610"/>
              <a:gd name="connsiteY13" fmla="*/ 1409632 h 2039827"/>
              <a:gd name="connsiteX14" fmla="*/ 438665 w 2168610"/>
              <a:gd name="connsiteY14" fmla="*/ 1384919 h 2039827"/>
              <a:gd name="connsiteX15" fmla="*/ 574589 w 2168610"/>
              <a:gd name="connsiteY15" fmla="*/ 1452881 h 2039827"/>
              <a:gd name="connsiteX16" fmla="*/ 574589 w 2168610"/>
              <a:gd name="connsiteY16" fmla="*/ 1452881 h 2039827"/>
              <a:gd name="connsiteX17" fmla="*/ 605481 w 2168610"/>
              <a:gd name="connsiteY17" fmla="*/ 1397276 h 2039827"/>
              <a:gd name="connsiteX18" fmla="*/ 661086 w 2168610"/>
              <a:gd name="connsiteY18" fmla="*/ 1329313 h 2039827"/>
              <a:gd name="connsiteX19" fmla="*/ 729048 w 2168610"/>
              <a:gd name="connsiteY19" fmla="*/ 1310778 h 2039827"/>
              <a:gd name="connsiteX20" fmla="*/ 821724 w 2168610"/>
              <a:gd name="connsiteY20" fmla="*/ 1323135 h 2039827"/>
              <a:gd name="connsiteX21" fmla="*/ 902043 w 2168610"/>
              <a:gd name="connsiteY21" fmla="*/ 1384919 h 2039827"/>
              <a:gd name="connsiteX22" fmla="*/ 957648 w 2168610"/>
              <a:gd name="connsiteY22" fmla="*/ 1465238 h 2039827"/>
              <a:gd name="connsiteX23" fmla="*/ 1013254 w 2168610"/>
              <a:gd name="connsiteY23" fmla="*/ 1545557 h 2039827"/>
              <a:gd name="connsiteX24" fmla="*/ 1062681 w 2168610"/>
              <a:gd name="connsiteY24" fmla="*/ 1632054 h 2039827"/>
              <a:gd name="connsiteX25" fmla="*/ 1118286 w 2168610"/>
              <a:gd name="connsiteY25" fmla="*/ 1700016 h 2039827"/>
              <a:gd name="connsiteX26" fmla="*/ 1167713 w 2168610"/>
              <a:gd name="connsiteY26" fmla="*/ 1737086 h 2039827"/>
              <a:gd name="connsiteX27" fmla="*/ 1198605 w 2168610"/>
              <a:gd name="connsiteY27" fmla="*/ 1817405 h 2039827"/>
              <a:gd name="connsiteX28" fmla="*/ 1223319 w 2168610"/>
              <a:gd name="connsiteY28" fmla="*/ 1879189 h 2039827"/>
              <a:gd name="connsiteX29" fmla="*/ 1248032 w 2168610"/>
              <a:gd name="connsiteY29" fmla="*/ 1940973 h 2039827"/>
              <a:gd name="connsiteX30" fmla="*/ 1278924 w 2168610"/>
              <a:gd name="connsiteY30" fmla="*/ 1984222 h 2039827"/>
              <a:gd name="connsiteX31" fmla="*/ 1340708 w 2168610"/>
              <a:gd name="connsiteY31" fmla="*/ 2008935 h 2039827"/>
              <a:gd name="connsiteX32" fmla="*/ 1439562 w 2168610"/>
              <a:gd name="connsiteY32" fmla="*/ 2027470 h 2039827"/>
              <a:gd name="connsiteX33" fmla="*/ 1513702 w 2168610"/>
              <a:gd name="connsiteY33" fmla="*/ 2039827 h 2039827"/>
              <a:gd name="connsiteX34" fmla="*/ 1606378 w 2168610"/>
              <a:gd name="connsiteY34" fmla="*/ 2039827 h 2039827"/>
              <a:gd name="connsiteX35" fmla="*/ 1587843 w 2168610"/>
              <a:gd name="connsiteY35" fmla="*/ 2027470 h 2039827"/>
              <a:gd name="connsiteX36" fmla="*/ 1587843 w 2168610"/>
              <a:gd name="connsiteY36" fmla="*/ 2027470 h 2039827"/>
              <a:gd name="connsiteX37" fmla="*/ 1575486 w 2168610"/>
              <a:gd name="connsiteY37" fmla="*/ 1959508 h 2039827"/>
              <a:gd name="connsiteX38" fmla="*/ 1550773 w 2168610"/>
              <a:gd name="connsiteY38" fmla="*/ 1928616 h 2039827"/>
              <a:gd name="connsiteX39" fmla="*/ 1544594 w 2168610"/>
              <a:gd name="connsiteY39" fmla="*/ 1891546 h 2039827"/>
              <a:gd name="connsiteX40" fmla="*/ 1526059 w 2168610"/>
              <a:gd name="connsiteY40" fmla="*/ 1848297 h 2039827"/>
              <a:gd name="connsiteX41" fmla="*/ 1538416 w 2168610"/>
              <a:gd name="connsiteY41" fmla="*/ 1817405 h 2039827"/>
              <a:gd name="connsiteX42" fmla="*/ 1532237 w 2168610"/>
              <a:gd name="connsiteY42" fmla="*/ 1798870 h 2039827"/>
              <a:gd name="connsiteX43" fmla="*/ 1488989 w 2168610"/>
              <a:gd name="connsiteY43" fmla="*/ 1774157 h 2039827"/>
              <a:gd name="connsiteX44" fmla="*/ 1538416 w 2168610"/>
              <a:gd name="connsiteY44" fmla="*/ 1743265 h 2039827"/>
              <a:gd name="connsiteX45" fmla="*/ 1544594 w 2168610"/>
              <a:gd name="connsiteY45" fmla="*/ 1730908 h 2039827"/>
              <a:gd name="connsiteX46" fmla="*/ 1550773 w 2168610"/>
              <a:gd name="connsiteY46" fmla="*/ 1700016 h 2039827"/>
              <a:gd name="connsiteX47" fmla="*/ 1526059 w 2168610"/>
              <a:gd name="connsiteY47" fmla="*/ 1669124 h 2039827"/>
              <a:gd name="connsiteX48" fmla="*/ 1550773 w 2168610"/>
              <a:gd name="connsiteY48" fmla="*/ 1669124 h 2039827"/>
              <a:gd name="connsiteX49" fmla="*/ 1575486 w 2168610"/>
              <a:gd name="connsiteY49" fmla="*/ 1650589 h 2039827"/>
              <a:gd name="connsiteX50" fmla="*/ 1550773 w 2168610"/>
              <a:gd name="connsiteY50" fmla="*/ 1594984 h 2039827"/>
              <a:gd name="connsiteX51" fmla="*/ 1550773 w 2168610"/>
              <a:gd name="connsiteY51" fmla="*/ 1594984 h 2039827"/>
              <a:gd name="connsiteX52" fmla="*/ 1618735 w 2168610"/>
              <a:gd name="connsiteY52" fmla="*/ 1594984 h 2039827"/>
              <a:gd name="connsiteX53" fmla="*/ 1631092 w 2168610"/>
              <a:gd name="connsiteY53" fmla="*/ 1582627 h 2039827"/>
              <a:gd name="connsiteX54" fmla="*/ 1649627 w 2168610"/>
              <a:gd name="connsiteY54" fmla="*/ 1533200 h 2039827"/>
              <a:gd name="connsiteX55" fmla="*/ 1686697 w 2168610"/>
              <a:gd name="connsiteY55" fmla="*/ 1533200 h 2039827"/>
              <a:gd name="connsiteX56" fmla="*/ 1705232 w 2168610"/>
              <a:gd name="connsiteY56" fmla="*/ 1533200 h 2039827"/>
              <a:gd name="connsiteX57" fmla="*/ 1705232 w 2168610"/>
              <a:gd name="connsiteY57" fmla="*/ 1502308 h 2039827"/>
              <a:gd name="connsiteX58" fmla="*/ 1699054 w 2168610"/>
              <a:gd name="connsiteY58" fmla="*/ 1483773 h 2039827"/>
              <a:gd name="connsiteX59" fmla="*/ 1699054 w 2168610"/>
              <a:gd name="connsiteY59" fmla="*/ 1483773 h 2039827"/>
              <a:gd name="connsiteX60" fmla="*/ 1773194 w 2168610"/>
              <a:gd name="connsiteY60" fmla="*/ 1489951 h 2039827"/>
              <a:gd name="connsiteX61" fmla="*/ 1834978 w 2168610"/>
              <a:gd name="connsiteY61" fmla="*/ 1477595 h 2039827"/>
              <a:gd name="connsiteX62" fmla="*/ 1896762 w 2168610"/>
              <a:gd name="connsiteY62" fmla="*/ 1421989 h 2039827"/>
              <a:gd name="connsiteX63" fmla="*/ 1896762 w 2168610"/>
              <a:gd name="connsiteY63" fmla="*/ 1378740 h 2039827"/>
              <a:gd name="connsiteX64" fmla="*/ 1946189 w 2168610"/>
              <a:gd name="connsiteY64" fmla="*/ 1347849 h 2039827"/>
              <a:gd name="connsiteX65" fmla="*/ 1940010 w 2168610"/>
              <a:gd name="connsiteY65" fmla="*/ 1286065 h 2039827"/>
              <a:gd name="connsiteX66" fmla="*/ 1983259 w 2168610"/>
              <a:gd name="connsiteY66" fmla="*/ 1267530 h 2039827"/>
              <a:gd name="connsiteX67" fmla="*/ 2007973 w 2168610"/>
              <a:gd name="connsiteY67" fmla="*/ 1329313 h 2039827"/>
              <a:gd name="connsiteX68" fmla="*/ 2143897 w 2168610"/>
              <a:gd name="connsiteY68" fmla="*/ 1255173 h 2039827"/>
              <a:gd name="connsiteX69" fmla="*/ 2156254 w 2168610"/>
              <a:gd name="connsiteY69" fmla="*/ 1168676 h 2039827"/>
              <a:gd name="connsiteX70" fmla="*/ 2143897 w 2168610"/>
              <a:gd name="connsiteY70" fmla="*/ 1131605 h 2039827"/>
              <a:gd name="connsiteX71" fmla="*/ 2137719 w 2168610"/>
              <a:gd name="connsiteY71" fmla="*/ 1094535 h 2039827"/>
              <a:gd name="connsiteX72" fmla="*/ 2150075 w 2168610"/>
              <a:gd name="connsiteY72" fmla="*/ 1051286 h 2039827"/>
              <a:gd name="connsiteX73" fmla="*/ 2168610 w 2168610"/>
              <a:gd name="connsiteY73" fmla="*/ 1014216 h 2039827"/>
              <a:gd name="connsiteX74" fmla="*/ 2131540 w 2168610"/>
              <a:gd name="connsiteY74" fmla="*/ 903005 h 2039827"/>
              <a:gd name="connsiteX75" fmla="*/ 2100648 w 2168610"/>
              <a:gd name="connsiteY75" fmla="*/ 872113 h 2039827"/>
              <a:gd name="connsiteX76" fmla="*/ 2075935 w 2168610"/>
              <a:gd name="connsiteY76" fmla="*/ 791795 h 2039827"/>
              <a:gd name="connsiteX77" fmla="*/ 2063578 w 2168610"/>
              <a:gd name="connsiteY77" fmla="*/ 618800 h 2039827"/>
              <a:gd name="connsiteX78" fmla="*/ 2051221 w 2168610"/>
              <a:gd name="connsiteY78" fmla="*/ 519946 h 2039827"/>
              <a:gd name="connsiteX79" fmla="*/ 2032686 w 2168610"/>
              <a:gd name="connsiteY79" fmla="*/ 501411 h 2039827"/>
              <a:gd name="connsiteX80" fmla="*/ 1983259 w 2168610"/>
              <a:gd name="connsiteY80" fmla="*/ 526124 h 2039827"/>
              <a:gd name="connsiteX81" fmla="*/ 1872048 w 2168610"/>
              <a:gd name="connsiteY81" fmla="*/ 470519 h 2039827"/>
              <a:gd name="connsiteX82" fmla="*/ 1834978 w 2168610"/>
              <a:gd name="connsiteY82" fmla="*/ 470519 h 2039827"/>
              <a:gd name="connsiteX83" fmla="*/ 1767016 w 2168610"/>
              <a:gd name="connsiteY83" fmla="*/ 464340 h 2039827"/>
              <a:gd name="connsiteX84" fmla="*/ 1692875 w 2168610"/>
              <a:gd name="connsiteY84" fmla="*/ 519946 h 2039827"/>
              <a:gd name="connsiteX85" fmla="*/ 1631092 w 2168610"/>
              <a:gd name="connsiteY85" fmla="*/ 489054 h 2039827"/>
              <a:gd name="connsiteX86" fmla="*/ 1594021 w 2168610"/>
              <a:gd name="connsiteY86" fmla="*/ 501411 h 2039827"/>
              <a:gd name="connsiteX87" fmla="*/ 1594021 w 2168610"/>
              <a:gd name="connsiteY87" fmla="*/ 501411 h 2039827"/>
              <a:gd name="connsiteX88" fmla="*/ 1519881 w 2168610"/>
              <a:gd name="connsiteY88" fmla="*/ 495232 h 2039827"/>
              <a:gd name="connsiteX89" fmla="*/ 1488989 w 2168610"/>
              <a:gd name="connsiteY89" fmla="*/ 470519 h 2039827"/>
              <a:gd name="connsiteX90" fmla="*/ 1439562 w 2168610"/>
              <a:gd name="connsiteY90" fmla="*/ 489054 h 2039827"/>
              <a:gd name="connsiteX91" fmla="*/ 1353065 w 2168610"/>
              <a:gd name="connsiteY91" fmla="*/ 445805 h 2039827"/>
              <a:gd name="connsiteX92" fmla="*/ 1291281 w 2168610"/>
              <a:gd name="connsiteY92" fmla="*/ 451984 h 2039827"/>
              <a:gd name="connsiteX93" fmla="*/ 1260389 w 2168610"/>
              <a:gd name="connsiteY93" fmla="*/ 439627 h 2039827"/>
              <a:gd name="connsiteX94" fmla="*/ 1235675 w 2168610"/>
              <a:gd name="connsiteY94" fmla="*/ 439627 h 2039827"/>
              <a:gd name="connsiteX95" fmla="*/ 1210962 w 2168610"/>
              <a:gd name="connsiteY95" fmla="*/ 396378 h 2039827"/>
              <a:gd name="connsiteX96" fmla="*/ 1136821 w 2168610"/>
              <a:gd name="connsiteY96" fmla="*/ 402557 h 2039827"/>
              <a:gd name="connsiteX97" fmla="*/ 1105929 w 2168610"/>
              <a:gd name="connsiteY97" fmla="*/ 371665 h 2039827"/>
              <a:gd name="connsiteX98" fmla="*/ 1087394 w 2168610"/>
              <a:gd name="connsiteY98" fmla="*/ 371665 h 2039827"/>
              <a:gd name="connsiteX99" fmla="*/ 1075037 w 2168610"/>
              <a:gd name="connsiteY99" fmla="*/ 359308 h 2039827"/>
              <a:gd name="connsiteX100" fmla="*/ 1062681 w 2168610"/>
              <a:gd name="connsiteY100" fmla="*/ 353130 h 2039827"/>
              <a:gd name="connsiteX101" fmla="*/ 1068450 w 2168610"/>
              <a:gd name="connsiteY101" fmla="*/ 10936 h 2039827"/>
              <a:gd name="connsiteX102" fmla="*/ 598898 w 2168610"/>
              <a:gd name="connsiteY102" fmla="*/ 0 h 2039827"/>
              <a:gd name="connsiteX0" fmla="*/ 598898 w 2168610"/>
              <a:gd name="connsiteY0" fmla="*/ 0 h 2039827"/>
              <a:gd name="connsiteX1" fmla="*/ 580767 w 2168610"/>
              <a:gd name="connsiteY1" fmla="*/ 872113 h 2039827"/>
              <a:gd name="connsiteX2" fmla="*/ 6178 w 2168610"/>
              <a:gd name="connsiteY2" fmla="*/ 853578 h 2039827"/>
              <a:gd name="connsiteX3" fmla="*/ 0 w 2168610"/>
              <a:gd name="connsiteY3" fmla="*/ 890649 h 2039827"/>
              <a:gd name="connsiteX4" fmla="*/ 49427 w 2168610"/>
              <a:gd name="connsiteY4" fmla="*/ 921540 h 2039827"/>
              <a:gd name="connsiteX5" fmla="*/ 105032 w 2168610"/>
              <a:gd name="connsiteY5" fmla="*/ 989503 h 2039827"/>
              <a:gd name="connsiteX6" fmla="*/ 154459 w 2168610"/>
              <a:gd name="connsiteY6" fmla="*/ 1063643 h 2039827"/>
              <a:gd name="connsiteX7" fmla="*/ 203886 w 2168610"/>
              <a:gd name="connsiteY7" fmla="*/ 1076000 h 2039827"/>
              <a:gd name="connsiteX8" fmla="*/ 240956 w 2168610"/>
              <a:gd name="connsiteY8" fmla="*/ 1125427 h 2039827"/>
              <a:gd name="connsiteX9" fmla="*/ 271848 w 2168610"/>
              <a:gd name="connsiteY9" fmla="*/ 1174854 h 2039827"/>
              <a:gd name="connsiteX10" fmla="*/ 296562 w 2168610"/>
              <a:gd name="connsiteY10" fmla="*/ 1230459 h 2039827"/>
              <a:gd name="connsiteX11" fmla="*/ 308919 w 2168610"/>
              <a:gd name="connsiteY11" fmla="*/ 1304600 h 2039827"/>
              <a:gd name="connsiteX12" fmla="*/ 327454 w 2168610"/>
              <a:gd name="connsiteY12" fmla="*/ 1329313 h 2039827"/>
              <a:gd name="connsiteX13" fmla="*/ 432486 w 2168610"/>
              <a:gd name="connsiteY13" fmla="*/ 1409632 h 2039827"/>
              <a:gd name="connsiteX14" fmla="*/ 438665 w 2168610"/>
              <a:gd name="connsiteY14" fmla="*/ 1384919 h 2039827"/>
              <a:gd name="connsiteX15" fmla="*/ 574589 w 2168610"/>
              <a:gd name="connsiteY15" fmla="*/ 1452881 h 2039827"/>
              <a:gd name="connsiteX16" fmla="*/ 574589 w 2168610"/>
              <a:gd name="connsiteY16" fmla="*/ 1452881 h 2039827"/>
              <a:gd name="connsiteX17" fmla="*/ 605481 w 2168610"/>
              <a:gd name="connsiteY17" fmla="*/ 1397276 h 2039827"/>
              <a:gd name="connsiteX18" fmla="*/ 661086 w 2168610"/>
              <a:gd name="connsiteY18" fmla="*/ 1329313 h 2039827"/>
              <a:gd name="connsiteX19" fmla="*/ 729048 w 2168610"/>
              <a:gd name="connsiteY19" fmla="*/ 1310778 h 2039827"/>
              <a:gd name="connsiteX20" fmla="*/ 821724 w 2168610"/>
              <a:gd name="connsiteY20" fmla="*/ 1323135 h 2039827"/>
              <a:gd name="connsiteX21" fmla="*/ 902043 w 2168610"/>
              <a:gd name="connsiteY21" fmla="*/ 1384919 h 2039827"/>
              <a:gd name="connsiteX22" fmla="*/ 957648 w 2168610"/>
              <a:gd name="connsiteY22" fmla="*/ 1465238 h 2039827"/>
              <a:gd name="connsiteX23" fmla="*/ 1013254 w 2168610"/>
              <a:gd name="connsiteY23" fmla="*/ 1545557 h 2039827"/>
              <a:gd name="connsiteX24" fmla="*/ 1062681 w 2168610"/>
              <a:gd name="connsiteY24" fmla="*/ 1632054 h 2039827"/>
              <a:gd name="connsiteX25" fmla="*/ 1118286 w 2168610"/>
              <a:gd name="connsiteY25" fmla="*/ 1700016 h 2039827"/>
              <a:gd name="connsiteX26" fmla="*/ 1167713 w 2168610"/>
              <a:gd name="connsiteY26" fmla="*/ 1737086 h 2039827"/>
              <a:gd name="connsiteX27" fmla="*/ 1198605 w 2168610"/>
              <a:gd name="connsiteY27" fmla="*/ 1817405 h 2039827"/>
              <a:gd name="connsiteX28" fmla="*/ 1223319 w 2168610"/>
              <a:gd name="connsiteY28" fmla="*/ 1879189 h 2039827"/>
              <a:gd name="connsiteX29" fmla="*/ 1248032 w 2168610"/>
              <a:gd name="connsiteY29" fmla="*/ 1940973 h 2039827"/>
              <a:gd name="connsiteX30" fmla="*/ 1278924 w 2168610"/>
              <a:gd name="connsiteY30" fmla="*/ 1984222 h 2039827"/>
              <a:gd name="connsiteX31" fmla="*/ 1340708 w 2168610"/>
              <a:gd name="connsiteY31" fmla="*/ 2008935 h 2039827"/>
              <a:gd name="connsiteX32" fmla="*/ 1439562 w 2168610"/>
              <a:gd name="connsiteY32" fmla="*/ 2027470 h 2039827"/>
              <a:gd name="connsiteX33" fmla="*/ 1513702 w 2168610"/>
              <a:gd name="connsiteY33" fmla="*/ 2039827 h 2039827"/>
              <a:gd name="connsiteX34" fmla="*/ 1606378 w 2168610"/>
              <a:gd name="connsiteY34" fmla="*/ 2039827 h 2039827"/>
              <a:gd name="connsiteX35" fmla="*/ 1587843 w 2168610"/>
              <a:gd name="connsiteY35" fmla="*/ 2027470 h 2039827"/>
              <a:gd name="connsiteX36" fmla="*/ 1587843 w 2168610"/>
              <a:gd name="connsiteY36" fmla="*/ 2027470 h 2039827"/>
              <a:gd name="connsiteX37" fmla="*/ 1575486 w 2168610"/>
              <a:gd name="connsiteY37" fmla="*/ 1959508 h 2039827"/>
              <a:gd name="connsiteX38" fmla="*/ 1550773 w 2168610"/>
              <a:gd name="connsiteY38" fmla="*/ 1928616 h 2039827"/>
              <a:gd name="connsiteX39" fmla="*/ 1544594 w 2168610"/>
              <a:gd name="connsiteY39" fmla="*/ 1891546 h 2039827"/>
              <a:gd name="connsiteX40" fmla="*/ 1526059 w 2168610"/>
              <a:gd name="connsiteY40" fmla="*/ 1848297 h 2039827"/>
              <a:gd name="connsiteX41" fmla="*/ 1538416 w 2168610"/>
              <a:gd name="connsiteY41" fmla="*/ 1817405 h 2039827"/>
              <a:gd name="connsiteX42" fmla="*/ 1532237 w 2168610"/>
              <a:gd name="connsiteY42" fmla="*/ 1798870 h 2039827"/>
              <a:gd name="connsiteX43" fmla="*/ 1488989 w 2168610"/>
              <a:gd name="connsiteY43" fmla="*/ 1774157 h 2039827"/>
              <a:gd name="connsiteX44" fmla="*/ 1538416 w 2168610"/>
              <a:gd name="connsiteY44" fmla="*/ 1743265 h 2039827"/>
              <a:gd name="connsiteX45" fmla="*/ 1544594 w 2168610"/>
              <a:gd name="connsiteY45" fmla="*/ 1730908 h 2039827"/>
              <a:gd name="connsiteX46" fmla="*/ 1550773 w 2168610"/>
              <a:gd name="connsiteY46" fmla="*/ 1700016 h 2039827"/>
              <a:gd name="connsiteX47" fmla="*/ 1526059 w 2168610"/>
              <a:gd name="connsiteY47" fmla="*/ 1669124 h 2039827"/>
              <a:gd name="connsiteX48" fmla="*/ 1550773 w 2168610"/>
              <a:gd name="connsiteY48" fmla="*/ 1669124 h 2039827"/>
              <a:gd name="connsiteX49" fmla="*/ 1575486 w 2168610"/>
              <a:gd name="connsiteY49" fmla="*/ 1650589 h 2039827"/>
              <a:gd name="connsiteX50" fmla="*/ 1550773 w 2168610"/>
              <a:gd name="connsiteY50" fmla="*/ 1594984 h 2039827"/>
              <a:gd name="connsiteX51" fmla="*/ 1550773 w 2168610"/>
              <a:gd name="connsiteY51" fmla="*/ 1594984 h 2039827"/>
              <a:gd name="connsiteX52" fmla="*/ 1618735 w 2168610"/>
              <a:gd name="connsiteY52" fmla="*/ 1594984 h 2039827"/>
              <a:gd name="connsiteX53" fmla="*/ 1631092 w 2168610"/>
              <a:gd name="connsiteY53" fmla="*/ 1582627 h 2039827"/>
              <a:gd name="connsiteX54" fmla="*/ 1649627 w 2168610"/>
              <a:gd name="connsiteY54" fmla="*/ 1533200 h 2039827"/>
              <a:gd name="connsiteX55" fmla="*/ 1686697 w 2168610"/>
              <a:gd name="connsiteY55" fmla="*/ 1533200 h 2039827"/>
              <a:gd name="connsiteX56" fmla="*/ 1705232 w 2168610"/>
              <a:gd name="connsiteY56" fmla="*/ 1533200 h 2039827"/>
              <a:gd name="connsiteX57" fmla="*/ 1705232 w 2168610"/>
              <a:gd name="connsiteY57" fmla="*/ 1502308 h 2039827"/>
              <a:gd name="connsiteX58" fmla="*/ 1699054 w 2168610"/>
              <a:gd name="connsiteY58" fmla="*/ 1483773 h 2039827"/>
              <a:gd name="connsiteX59" fmla="*/ 1699054 w 2168610"/>
              <a:gd name="connsiteY59" fmla="*/ 1483773 h 2039827"/>
              <a:gd name="connsiteX60" fmla="*/ 1773194 w 2168610"/>
              <a:gd name="connsiteY60" fmla="*/ 1489951 h 2039827"/>
              <a:gd name="connsiteX61" fmla="*/ 1834978 w 2168610"/>
              <a:gd name="connsiteY61" fmla="*/ 1477595 h 2039827"/>
              <a:gd name="connsiteX62" fmla="*/ 1896762 w 2168610"/>
              <a:gd name="connsiteY62" fmla="*/ 1421989 h 2039827"/>
              <a:gd name="connsiteX63" fmla="*/ 1896762 w 2168610"/>
              <a:gd name="connsiteY63" fmla="*/ 1378740 h 2039827"/>
              <a:gd name="connsiteX64" fmla="*/ 1946189 w 2168610"/>
              <a:gd name="connsiteY64" fmla="*/ 1347849 h 2039827"/>
              <a:gd name="connsiteX65" fmla="*/ 1940010 w 2168610"/>
              <a:gd name="connsiteY65" fmla="*/ 1286065 h 2039827"/>
              <a:gd name="connsiteX66" fmla="*/ 1983259 w 2168610"/>
              <a:gd name="connsiteY66" fmla="*/ 1267530 h 2039827"/>
              <a:gd name="connsiteX67" fmla="*/ 2007973 w 2168610"/>
              <a:gd name="connsiteY67" fmla="*/ 1329313 h 2039827"/>
              <a:gd name="connsiteX68" fmla="*/ 2143897 w 2168610"/>
              <a:gd name="connsiteY68" fmla="*/ 1255173 h 2039827"/>
              <a:gd name="connsiteX69" fmla="*/ 2156254 w 2168610"/>
              <a:gd name="connsiteY69" fmla="*/ 1168676 h 2039827"/>
              <a:gd name="connsiteX70" fmla="*/ 2143897 w 2168610"/>
              <a:gd name="connsiteY70" fmla="*/ 1131605 h 2039827"/>
              <a:gd name="connsiteX71" fmla="*/ 2137719 w 2168610"/>
              <a:gd name="connsiteY71" fmla="*/ 1094535 h 2039827"/>
              <a:gd name="connsiteX72" fmla="*/ 2150075 w 2168610"/>
              <a:gd name="connsiteY72" fmla="*/ 1051286 h 2039827"/>
              <a:gd name="connsiteX73" fmla="*/ 2168610 w 2168610"/>
              <a:gd name="connsiteY73" fmla="*/ 1014216 h 2039827"/>
              <a:gd name="connsiteX74" fmla="*/ 2131540 w 2168610"/>
              <a:gd name="connsiteY74" fmla="*/ 903005 h 2039827"/>
              <a:gd name="connsiteX75" fmla="*/ 2100648 w 2168610"/>
              <a:gd name="connsiteY75" fmla="*/ 872113 h 2039827"/>
              <a:gd name="connsiteX76" fmla="*/ 2075935 w 2168610"/>
              <a:gd name="connsiteY76" fmla="*/ 791795 h 2039827"/>
              <a:gd name="connsiteX77" fmla="*/ 2063578 w 2168610"/>
              <a:gd name="connsiteY77" fmla="*/ 618800 h 2039827"/>
              <a:gd name="connsiteX78" fmla="*/ 2051221 w 2168610"/>
              <a:gd name="connsiteY78" fmla="*/ 519946 h 2039827"/>
              <a:gd name="connsiteX79" fmla="*/ 2032686 w 2168610"/>
              <a:gd name="connsiteY79" fmla="*/ 501411 h 2039827"/>
              <a:gd name="connsiteX80" fmla="*/ 1983259 w 2168610"/>
              <a:gd name="connsiteY80" fmla="*/ 526124 h 2039827"/>
              <a:gd name="connsiteX81" fmla="*/ 1872048 w 2168610"/>
              <a:gd name="connsiteY81" fmla="*/ 470519 h 2039827"/>
              <a:gd name="connsiteX82" fmla="*/ 1834978 w 2168610"/>
              <a:gd name="connsiteY82" fmla="*/ 470519 h 2039827"/>
              <a:gd name="connsiteX83" fmla="*/ 1767016 w 2168610"/>
              <a:gd name="connsiteY83" fmla="*/ 464340 h 2039827"/>
              <a:gd name="connsiteX84" fmla="*/ 1692875 w 2168610"/>
              <a:gd name="connsiteY84" fmla="*/ 519946 h 2039827"/>
              <a:gd name="connsiteX85" fmla="*/ 1631092 w 2168610"/>
              <a:gd name="connsiteY85" fmla="*/ 489054 h 2039827"/>
              <a:gd name="connsiteX86" fmla="*/ 1594021 w 2168610"/>
              <a:gd name="connsiteY86" fmla="*/ 501411 h 2039827"/>
              <a:gd name="connsiteX87" fmla="*/ 1594021 w 2168610"/>
              <a:gd name="connsiteY87" fmla="*/ 501411 h 2039827"/>
              <a:gd name="connsiteX88" fmla="*/ 1519881 w 2168610"/>
              <a:gd name="connsiteY88" fmla="*/ 495232 h 2039827"/>
              <a:gd name="connsiteX89" fmla="*/ 1488989 w 2168610"/>
              <a:gd name="connsiteY89" fmla="*/ 470519 h 2039827"/>
              <a:gd name="connsiteX90" fmla="*/ 1439562 w 2168610"/>
              <a:gd name="connsiteY90" fmla="*/ 489054 h 2039827"/>
              <a:gd name="connsiteX91" fmla="*/ 1353065 w 2168610"/>
              <a:gd name="connsiteY91" fmla="*/ 445805 h 2039827"/>
              <a:gd name="connsiteX92" fmla="*/ 1291281 w 2168610"/>
              <a:gd name="connsiteY92" fmla="*/ 451984 h 2039827"/>
              <a:gd name="connsiteX93" fmla="*/ 1260389 w 2168610"/>
              <a:gd name="connsiteY93" fmla="*/ 439627 h 2039827"/>
              <a:gd name="connsiteX94" fmla="*/ 1235675 w 2168610"/>
              <a:gd name="connsiteY94" fmla="*/ 439627 h 2039827"/>
              <a:gd name="connsiteX95" fmla="*/ 1210962 w 2168610"/>
              <a:gd name="connsiteY95" fmla="*/ 396378 h 2039827"/>
              <a:gd name="connsiteX96" fmla="*/ 1144010 w 2168610"/>
              <a:gd name="connsiteY96" fmla="*/ 390478 h 2039827"/>
              <a:gd name="connsiteX97" fmla="*/ 1105929 w 2168610"/>
              <a:gd name="connsiteY97" fmla="*/ 371665 h 2039827"/>
              <a:gd name="connsiteX98" fmla="*/ 1087394 w 2168610"/>
              <a:gd name="connsiteY98" fmla="*/ 371665 h 2039827"/>
              <a:gd name="connsiteX99" fmla="*/ 1075037 w 2168610"/>
              <a:gd name="connsiteY99" fmla="*/ 359308 h 2039827"/>
              <a:gd name="connsiteX100" fmla="*/ 1062681 w 2168610"/>
              <a:gd name="connsiteY100" fmla="*/ 353130 h 2039827"/>
              <a:gd name="connsiteX101" fmla="*/ 1068450 w 2168610"/>
              <a:gd name="connsiteY101" fmla="*/ 10936 h 2039827"/>
              <a:gd name="connsiteX102" fmla="*/ 598898 w 2168610"/>
              <a:gd name="connsiteY102" fmla="*/ 0 h 2039827"/>
              <a:gd name="connsiteX0" fmla="*/ 598898 w 2168610"/>
              <a:gd name="connsiteY0" fmla="*/ 0 h 2039827"/>
              <a:gd name="connsiteX1" fmla="*/ 580767 w 2168610"/>
              <a:gd name="connsiteY1" fmla="*/ 872113 h 2039827"/>
              <a:gd name="connsiteX2" fmla="*/ 6178 w 2168610"/>
              <a:gd name="connsiteY2" fmla="*/ 853578 h 2039827"/>
              <a:gd name="connsiteX3" fmla="*/ 0 w 2168610"/>
              <a:gd name="connsiteY3" fmla="*/ 890649 h 2039827"/>
              <a:gd name="connsiteX4" fmla="*/ 49427 w 2168610"/>
              <a:gd name="connsiteY4" fmla="*/ 921540 h 2039827"/>
              <a:gd name="connsiteX5" fmla="*/ 105032 w 2168610"/>
              <a:gd name="connsiteY5" fmla="*/ 989503 h 2039827"/>
              <a:gd name="connsiteX6" fmla="*/ 154459 w 2168610"/>
              <a:gd name="connsiteY6" fmla="*/ 1063643 h 2039827"/>
              <a:gd name="connsiteX7" fmla="*/ 203886 w 2168610"/>
              <a:gd name="connsiteY7" fmla="*/ 1076000 h 2039827"/>
              <a:gd name="connsiteX8" fmla="*/ 240956 w 2168610"/>
              <a:gd name="connsiteY8" fmla="*/ 1125427 h 2039827"/>
              <a:gd name="connsiteX9" fmla="*/ 271848 w 2168610"/>
              <a:gd name="connsiteY9" fmla="*/ 1174854 h 2039827"/>
              <a:gd name="connsiteX10" fmla="*/ 296562 w 2168610"/>
              <a:gd name="connsiteY10" fmla="*/ 1230459 h 2039827"/>
              <a:gd name="connsiteX11" fmla="*/ 308919 w 2168610"/>
              <a:gd name="connsiteY11" fmla="*/ 1304600 h 2039827"/>
              <a:gd name="connsiteX12" fmla="*/ 327454 w 2168610"/>
              <a:gd name="connsiteY12" fmla="*/ 1329313 h 2039827"/>
              <a:gd name="connsiteX13" fmla="*/ 432486 w 2168610"/>
              <a:gd name="connsiteY13" fmla="*/ 1409632 h 2039827"/>
              <a:gd name="connsiteX14" fmla="*/ 438665 w 2168610"/>
              <a:gd name="connsiteY14" fmla="*/ 1384919 h 2039827"/>
              <a:gd name="connsiteX15" fmla="*/ 574589 w 2168610"/>
              <a:gd name="connsiteY15" fmla="*/ 1452881 h 2039827"/>
              <a:gd name="connsiteX16" fmla="*/ 574589 w 2168610"/>
              <a:gd name="connsiteY16" fmla="*/ 1452881 h 2039827"/>
              <a:gd name="connsiteX17" fmla="*/ 605481 w 2168610"/>
              <a:gd name="connsiteY17" fmla="*/ 1397276 h 2039827"/>
              <a:gd name="connsiteX18" fmla="*/ 661086 w 2168610"/>
              <a:gd name="connsiteY18" fmla="*/ 1329313 h 2039827"/>
              <a:gd name="connsiteX19" fmla="*/ 729048 w 2168610"/>
              <a:gd name="connsiteY19" fmla="*/ 1310778 h 2039827"/>
              <a:gd name="connsiteX20" fmla="*/ 821724 w 2168610"/>
              <a:gd name="connsiteY20" fmla="*/ 1323135 h 2039827"/>
              <a:gd name="connsiteX21" fmla="*/ 902043 w 2168610"/>
              <a:gd name="connsiteY21" fmla="*/ 1384919 h 2039827"/>
              <a:gd name="connsiteX22" fmla="*/ 957648 w 2168610"/>
              <a:gd name="connsiteY22" fmla="*/ 1465238 h 2039827"/>
              <a:gd name="connsiteX23" fmla="*/ 1013254 w 2168610"/>
              <a:gd name="connsiteY23" fmla="*/ 1545557 h 2039827"/>
              <a:gd name="connsiteX24" fmla="*/ 1062681 w 2168610"/>
              <a:gd name="connsiteY24" fmla="*/ 1632054 h 2039827"/>
              <a:gd name="connsiteX25" fmla="*/ 1118286 w 2168610"/>
              <a:gd name="connsiteY25" fmla="*/ 1700016 h 2039827"/>
              <a:gd name="connsiteX26" fmla="*/ 1167713 w 2168610"/>
              <a:gd name="connsiteY26" fmla="*/ 1737086 h 2039827"/>
              <a:gd name="connsiteX27" fmla="*/ 1198605 w 2168610"/>
              <a:gd name="connsiteY27" fmla="*/ 1817405 h 2039827"/>
              <a:gd name="connsiteX28" fmla="*/ 1223319 w 2168610"/>
              <a:gd name="connsiteY28" fmla="*/ 1879189 h 2039827"/>
              <a:gd name="connsiteX29" fmla="*/ 1248032 w 2168610"/>
              <a:gd name="connsiteY29" fmla="*/ 1940973 h 2039827"/>
              <a:gd name="connsiteX30" fmla="*/ 1278924 w 2168610"/>
              <a:gd name="connsiteY30" fmla="*/ 1984222 h 2039827"/>
              <a:gd name="connsiteX31" fmla="*/ 1340708 w 2168610"/>
              <a:gd name="connsiteY31" fmla="*/ 2008935 h 2039827"/>
              <a:gd name="connsiteX32" fmla="*/ 1439562 w 2168610"/>
              <a:gd name="connsiteY32" fmla="*/ 2027470 h 2039827"/>
              <a:gd name="connsiteX33" fmla="*/ 1513702 w 2168610"/>
              <a:gd name="connsiteY33" fmla="*/ 2039827 h 2039827"/>
              <a:gd name="connsiteX34" fmla="*/ 1606378 w 2168610"/>
              <a:gd name="connsiteY34" fmla="*/ 2039827 h 2039827"/>
              <a:gd name="connsiteX35" fmla="*/ 1587843 w 2168610"/>
              <a:gd name="connsiteY35" fmla="*/ 2027470 h 2039827"/>
              <a:gd name="connsiteX36" fmla="*/ 1587843 w 2168610"/>
              <a:gd name="connsiteY36" fmla="*/ 2027470 h 2039827"/>
              <a:gd name="connsiteX37" fmla="*/ 1575486 w 2168610"/>
              <a:gd name="connsiteY37" fmla="*/ 1959508 h 2039827"/>
              <a:gd name="connsiteX38" fmla="*/ 1550773 w 2168610"/>
              <a:gd name="connsiteY38" fmla="*/ 1928616 h 2039827"/>
              <a:gd name="connsiteX39" fmla="*/ 1544594 w 2168610"/>
              <a:gd name="connsiteY39" fmla="*/ 1891546 h 2039827"/>
              <a:gd name="connsiteX40" fmla="*/ 1526059 w 2168610"/>
              <a:gd name="connsiteY40" fmla="*/ 1848297 h 2039827"/>
              <a:gd name="connsiteX41" fmla="*/ 1538416 w 2168610"/>
              <a:gd name="connsiteY41" fmla="*/ 1817405 h 2039827"/>
              <a:gd name="connsiteX42" fmla="*/ 1532237 w 2168610"/>
              <a:gd name="connsiteY42" fmla="*/ 1798870 h 2039827"/>
              <a:gd name="connsiteX43" fmla="*/ 1488989 w 2168610"/>
              <a:gd name="connsiteY43" fmla="*/ 1774157 h 2039827"/>
              <a:gd name="connsiteX44" fmla="*/ 1538416 w 2168610"/>
              <a:gd name="connsiteY44" fmla="*/ 1743265 h 2039827"/>
              <a:gd name="connsiteX45" fmla="*/ 1544594 w 2168610"/>
              <a:gd name="connsiteY45" fmla="*/ 1730908 h 2039827"/>
              <a:gd name="connsiteX46" fmla="*/ 1550773 w 2168610"/>
              <a:gd name="connsiteY46" fmla="*/ 1700016 h 2039827"/>
              <a:gd name="connsiteX47" fmla="*/ 1526059 w 2168610"/>
              <a:gd name="connsiteY47" fmla="*/ 1669124 h 2039827"/>
              <a:gd name="connsiteX48" fmla="*/ 1550773 w 2168610"/>
              <a:gd name="connsiteY48" fmla="*/ 1669124 h 2039827"/>
              <a:gd name="connsiteX49" fmla="*/ 1575486 w 2168610"/>
              <a:gd name="connsiteY49" fmla="*/ 1650589 h 2039827"/>
              <a:gd name="connsiteX50" fmla="*/ 1550773 w 2168610"/>
              <a:gd name="connsiteY50" fmla="*/ 1594984 h 2039827"/>
              <a:gd name="connsiteX51" fmla="*/ 1550773 w 2168610"/>
              <a:gd name="connsiteY51" fmla="*/ 1594984 h 2039827"/>
              <a:gd name="connsiteX52" fmla="*/ 1618735 w 2168610"/>
              <a:gd name="connsiteY52" fmla="*/ 1594984 h 2039827"/>
              <a:gd name="connsiteX53" fmla="*/ 1631092 w 2168610"/>
              <a:gd name="connsiteY53" fmla="*/ 1582627 h 2039827"/>
              <a:gd name="connsiteX54" fmla="*/ 1649627 w 2168610"/>
              <a:gd name="connsiteY54" fmla="*/ 1533200 h 2039827"/>
              <a:gd name="connsiteX55" fmla="*/ 1686697 w 2168610"/>
              <a:gd name="connsiteY55" fmla="*/ 1533200 h 2039827"/>
              <a:gd name="connsiteX56" fmla="*/ 1705232 w 2168610"/>
              <a:gd name="connsiteY56" fmla="*/ 1533200 h 2039827"/>
              <a:gd name="connsiteX57" fmla="*/ 1705232 w 2168610"/>
              <a:gd name="connsiteY57" fmla="*/ 1502308 h 2039827"/>
              <a:gd name="connsiteX58" fmla="*/ 1699054 w 2168610"/>
              <a:gd name="connsiteY58" fmla="*/ 1483773 h 2039827"/>
              <a:gd name="connsiteX59" fmla="*/ 1699054 w 2168610"/>
              <a:gd name="connsiteY59" fmla="*/ 1483773 h 2039827"/>
              <a:gd name="connsiteX60" fmla="*/ 1773194 w 2168610"/>
              <a:gd name="connsiteY60" fmla="*/ 1489951 h 2039827"/>
              <a:gd name="connsiteX61" fmla="*/ 1834978 w 2168610"/>
              <a:gd name="connsiteY61" fmla="*/ 1477595 h 2039827"/>
              <a:gd name="connsiteX62" fmla="*/ 1896762 w 2168610"/>
              <a:gd name="connsiteY62" fmla="*/ 1421989 h 2039827"/>
              <a:gd name="connsiteX63" fmla="*/ 1896762 w 2168610"/>
              <a:gd name="connsiteY63" fmla="*/ 1378740 h 2039827"/>
              <a:gd name="connsiteX64" fmla="*/ 1946189 w 2168610"/>
              <a:gd name="connsiteY64" fmla="*/ 1347849 h 2039827"/>
              <a:gd name="connsiteX65" fmla="*/ 1940010 w 2168610"/>
              <a:gd name="connsiteY65" fmla="*/ 1286065 h 2039827"/>
              <a:gd name="connsiteX66" fmla="*/ 1983259 w 2168610"/>
              <a:gd name="connsiteY66" fmla="*/ 1267530 h 2039827"/>
              <a:gd name="connsiteX67" fmla="*/ 2007973 w 2168610"/>
              <a:gd name="connsiteY67" fmla="*/ 1329313 h 2039827"/>
              <a:gd name="connsiteX68" fmla="*/ 2143897 w 2168610"/>
              <a:gd name="connsiteY68" fmla="*/ 1255173 h 2039827"/>
              <a:gd name="connsiteX69" fmla="*/ 2156254 w 2168610"/>
              <a:gd name="connsiteY69" fmla="*/ 1168676 h 2039827"/>
              <a:gd name="connsiteX70" fmla="*/ 2143897 w 2168610"/>
              <a:gd name="connsiteY70" fmla="*/ 1131605 h 2039827"/>
              <a:gd name="connsiteX71" fmla="*/ 2137719 w 2168610"/>
              <a:gd name="connsiteY71" fmla="*/ 1094535 h 2039827"/>
              <a:gd name="connsiteX72" fmla="*/ 2150075 w 2168610"/>
              <a:gd name="connsiteY72" fmla="*/ 1051286 h 2039827"/>
              <a:gd name="connsiteX73" fmla="*/ 2168610 w 2168610"/>
              <a:gd name="connsiteY73" fmla="*/ 1014216 h 2039827"/>
              <a:gd name="connsiteX74" fmla="*/ 2131540 w 2168610"/>
              <a:gd name="connsiteY74" fmla="*/ 903005 h 2039827"/>
              <a:gd name="connsiteX75" fmla="*/ 2100648 w 2168610"/>
              <a:gd name="connsiteY75" fmla="*/ 872113 h 2039827"/>
              <a:gd name="connsiteX76" fmla="*/ 2075935 w 2168610"/>
              <a:gd name="connsiteY76" fmla="*/ 791795 h 2039827"/>
              <a:gd name="connsiteX77" fmla="*/ 2063578 w 2168610"/>
              <a:gd name="connsiteY77" fmla="*/ 618800 h 2039827"/>
              <a:gd name="connsiteX78" fmla="*/ 2051221 w 2168610"/>
              <a:gd name="connsiteY78" fmla="*/ 519946 h 2039827"/>
              <a:gd name="connsiteX79" fmla="*/ 2032686 w 2168610"/>
              <a:gd name="connsiteY79" fmla="*/ 501411 h 2039827"/>
              <a:gd name="connsiteX80" fmla="*/ 1983259 w 2168610"/>
              <a:gd name="connsiteY80" fmla="*/ 526124 h 2039827"/>
              <a:gd name="connsiteX81" fmla="*/ 1872048 w 2168610"/>
              <a:gd name="connsiteY81" fmla="*/ 470519 h 2039827"/>
              <a:gd name="connsiteX82" fmla="*/ 1834978 w 2168610"/>
              <a:gd name="connsiteY82" fmla="*/ 470519 h 2039827"/>
              <a:gd name="connsiteX83" fmla="*/ 1767016 w 2168610"/>
              <a:gd name="connsiteY83" fmla="*/ 464340 h 2039827"/>
              <a:gd name="connsiteX84" fmla="*/ 1692875 w 2168610"/>
              <a:gd name="connsiteY84" fmla="*/ 519946 h 2039827"/>
              <a:gd name="connsiteX85" fmla="*/ 1631092 w 2168610"/>
              <a:gd name="connsiteY85" fmla="*/ 489054 h 2039827"/>
              <a:gd name="connsiteX86" fmla="*/ 1594021 w 2168610"/>
              <a:gd name="connsiteY86" fmla="*/ 501411 h 2039827"/>
              <a:gd name="connsiteX87" fmla="*/ 1594083 w 2168610"/>
              <a:gd name="connsiteY87" fmla="*/ 489288 h 2039827"/>
              <a:gd name="connsiteX88" fmla="*/ 1519881 w 2168610"/>
              <a:gd name="connsiteY88" fmla="*/ 495232 h 2039827"/>
              <a:gd name="connsiteX89" fmla="*/ 1488989 w 2168610"/>
              <a:gd name="connsiteY89" fmla="*/ 470519 h 2039827"/>
              <a:gd name="connsiteX90" fmla="*/ 1439562 w 2168610"/>
              <a:gd name="connsiteY90" fmla="*/ 489054 h 2039827"/>
              <a:gd name="connsiteX91" fmla="*/ 1353065 w 2168610"/>
              <a:gd name="connsiteY91" fmla="*/ 445805 h 2039827"/>
              <a:gd name="connsiteX92" fmla="*/ 1291281 w 2168610"/>
              <a:gd name="connsiteY92" fmla="*/ 451984 h 2039827"/>
              <a:gd name="connsiteX93" fmla="*/ 1260389 w 2168610"/>
              <a:gd name="connsiteY93" fmla="*/ 439627 h 2039827"/>
              <a:gd name="connsiteX94" fmla="*/ 1235675 w 2168610"/>
              <a:gd name="connsiteY94" fmla="*/ 439627 h 2039827"/>
              <a:gd name="connsiteX95" fmla="*/ 1210962 w 2168610"/>
              <a:gd name="connsiteY95" fmla="*/ 396378 h 2039827"/>
              <a:gd name="connsiteX96" fmla="*/ 1144010 w 2168610"/>
              <a:gd name="connsiteY96" fmla="*/ 390478 h 2039827"/>
              <a:gd name="connsiteX97" fmla="*/ 1105929 w 2168610"/>
              <a:gd name="connsiteY97" fmla="*/ 371665 h 2039827"/>
              <a:gd name="connsiteX98" fmla="*/ 1087394 w 2168610"/>
              <a:gd name="connsiteY98" fmla="*/ 371665 h 2039827"/>
              <a:gd name="connsiteX99" fmla="*/ 1075037 w 2168610"/>
              <a:gd name="connsiteY99" fmla="*/ 359308 h 2039827"/>
              <a:gd name="connsiteX100" fmla="*/ 1062681 w 2168610"/>
              <a:gd name="connsiteY100" fmla="*/ 353130 h 2039827"/>
              <a:gd name="connsiteX101" fmla="*/ 1068450 w 2168610"/>
              <a:gd name="connsiteY101" fmla="*/ 10936 h 2039827"/>
              <a:gd name="connsiteX102" fmla="*/ 598898 w 2168610"/>
              <a:gd name="connsiteY102" fmla="*/ 0 h 2039827"/>
              <a:gd name="connsiteX0" fmla="*/ 598898 w 2168610"/>
              <a:gd name="connsiteY0" fmla="*/ 0 h 2039827"/>
              <a:gd name="connsiteX1" fmla="*/ 580767 w 2168610"/>
              <a:gd name="connsiteY1" fmla="*/ 872113 h 2039827"/>
              <a:gd name="connsiteX2" fmla="*/ 6178 w 2168610"/>
              <a:gd name="connsiteY2" fmla="*/ 853578 h 2039827"/>
              <a:gd name="connsiteX3" fmla="*/ 0 w 2168610"/>
              <a:gd name="connsiteY3" fmla="*/ 890649 h 2039827"/>
              <a:gd name="connsiteX4" fmla="*/ 49427 w 2168610"/>
              <a:gd name="connsiteY4" fmla="*/ 921540 h 2039827"/>
              <a:gd name="connsiteX5" fmla="*/ 105032 w 2168610"/>
              <a:gd name="connsiteY5" fmla="*/ 989503 h 2039827"/>
              <a:gd name="connsiteX6" fmla="*/ 154459 w 2168610"/>
              <a:gd name="connsiteY6" fmla="*/ 1063643 h 2039827"/>
              <a:gd name="connsiteX7" fmla="*/ 203886 w 2168610"/>
              <a:gd name="connsiteY7" fmla="*/ 1076000 h 2039827"/>
              <a:gd name="connsiteX8" fmla="*/ 240956 w 2168610"/>
              <a:gd name="connsiteY8" fmla="*/ 1125427 h 2039827"/>
              <a:gd name="connsiteX9" fmla="*/ 271848 w 2168610"/>
              <a:gd name="connsiteY9" fmla="*/ 1174854 h 2039827"/>
              <a:gd name="connsiteX10" fmla="*/ 296562 w 2168610"/>
              <a:gd name="connsiteY10" fmla="*/ 1230459 h 2039827"/>
              <a:gd name="connsiteX11" fmla="*/ 308919 w 2168610"/>
              <a:gd name="connsiteY11" fmla="*/ 1304600 h 2039827"/>
              <a:gd name="connsiteX12" fmla="*/ 327454 w 2168610"/>
              <a:gd name="connsiteY12" fmla="*/ 1329313 h 2039827"/>
              <a:gd name="connsiteX13" fmla="*/ 432486 w 2168610"/>
              <a:gd name="connsiteY13" fmla="*/ 1409632 h 2039827"/>
              <a:gd name="connsiteX14" fmla="*/ 438665 w 2168610"/>
              <a:gd name="connsiteY14" fmla="*/ 1384919 h 2039827"/>
              <a:gd name="connsiteX15" fmla="*/ 574589 w 2168610"/>
              <a:gd name="connsiteY15" fmla="*/ 1452881 h 2039827"/>
              <a:gd name="connsiteX16" fmla="*/ 574589 w 2168610"/>
              <a:gd name="connsiteY16" fmla="*/ 1452881 h 2039827"/>
              <a:gd name="connsiteX17" fmla="*/ 605481 w 2168610"/>
              <a:gd name="connsiteY17" fmla="*/ 1397276 h 2039827"/>
              <a:gd name="connsiteX18" fmla="*/ 661086 w 2168610"/>
              <a:gd name="connsiteY18" fmla="*/ 1329313 h 2039827"/>
              <a:gd name="connsiteX19" fmla="*/ 729048 w 2168610"/>
              <a:gd name="connsiteY19" fmla="*/ 1310778 h 2039827"/>
              <a:gd name="connsiteX20" fmla="*/ 821724 w 2168610"/>
              <a:gd name="connsiteY20" fmla="*/ 1323135 h 2039827"/>
              <a:gd name="connsiteX21" fmla="*/ 902043 w 2168610"/>
              <a:gd name="connsiteY21" fmla="*/ 1384919 h 2039827"/>
              <a:gd name="connsiteX22" fmla="*/ 957648 w 2168610"/>
              <a:gd name="connsiteY22" fmla="*/ 1465238 h 2039827"/>
              <a:gd name="connsiteX23" fmla="*/ 1013254 w 2168610"/>
              <a:gd name="connsiteY23" fmla="*/ 1545557 h 2039827"/>
              <a:gd name="connsiteX24" fmla="*/ 1062681 w 2168610"/>
              <a:gd name="connsiteY24" fmla="*/ 1632054 h 2039827"/>
              <a:gd name="connsiteX25" fmla="*/ 1118286 w 2168610"/>
              <a:gd name="connsiteY25" fmla="*/ 1700016 h 2039827"/>
              <a:gd name="connsiteX26" fmla="*/ 1167713 w 2168610"/>
              <a:gd name="connsiteY26" fmla="*/ 1737086 h 2039827"/>
              <a:gd name="connsiteX27" fmla="*/ 1198605 w 2168610"/>
              <a:gd name="connsiteY27" fmla="*/ 1817405 h 2039827"/>
              <a:gd name="connsiteX28" fmla="*/ 1223319 w 2168610"/>
              <a:gd name="connsiteY28" fmla="*/ 1879189 h 2039827"/>
              <a:gd name="connsiteX29" fmla="*/ 1248032 w 2168610"/>
              <a:gd name="connsiteY29" fmla="*/ 1940973 h 2039827"/>
              <a:gd name="connsiteX30" fmla="*/ 1278924 w 2168610"/>
              <a:gd name="connsiteY30" fmla="*/ 1984222 h 2039827"/>
              <a:gd name="connsiteX31" fmla="*/ 1340708 w 2168610"/>
              <a:gd name="connsiteY31" fmla="*/ 2008935 h 2039827"/>
              <a:gd name="connsiteX32" fmla="*/ 1439562 w 2168610"/>
              <a:gd name="connsiteY32" fmla="*/ 2027470 h 2039827"/>
              <a:gd name="connsiteX33" fmla="*/ 1513702 w 2168610"/>
              <a:gd name="connsiteY33" fmla="*/ 2039827 h 2039827"/>
              <a:gd name="connsiteX34" fmla="*/ 1606378 w 2168610"/>
              <a:gd name="connsiteY34" fmla="*/ 2039827 h 2039827"/>
              <a:gd name="connsiteX35" fmla="*/ 1587843 w 2168610"/>
              <a:gd name="connsiteY35" fmla="*/ 2027470 h 2039827"/>
              <a:gd name="connsiteX36" fmla="*/ 1587843 w 2168610"/>
              <a:gd name="connsiteY36" fmla="*/ 2027470 h 2039827"/>
              <a:gd name="connsiteX37" fmla="*/ 1575486 w 2168610"/>
              <a:gd name="connsiteY37" fmla="*/ 1959508 h 2039827"/>
              <a:gd name="connsiteX38" fmla="*/ 1550773 w 2168610"/>
              <a:gd name="connsiteY38" fmla="*/ 1928616 h 2039827"/>
              <a:gd name="connsiteX39" fmla="*/ 1544594 w 2168610"/>
              <a:gd name="connsiteY39" fmla="*/ 1891546 h 2039827"/>
              <a:gd name="connsiteX40" fmla="*/ 1526059 w 2168610"/>
              <a:gd name="connsiteY40" fmla="*/ 1848297 h 2039827"/>
              <a:gd name="connsiteX41" fmla="*/ 1538416 w 2168610"/>
              <a:gd name="connsiteY41" fmla="*/ 1817405 h 2039827"/>
              <a:gd name="connsiteX42" fmla="*/ 1532237 w 2168610"/>
              <a:gd name="connsiteY42" fmla="*/ 1798870 h 2039827"/>
              <a:gd name="connsiteX43" fmla="*/ 1488989 w 2168610"/>
              <a:gd name="connsiteY43" fmla="*/ 1774157 h 2039827"/>
              <a:gd name="connsiteX44" fmla="*/ 1538416 w 2168610"/>
              <a:gd name="connsiteY44" fmla="*/ 1743265 h 2039827"/>
              <a:gd name="connsiteX45" fmla="*/ 1544594 w 2168610"/>
              <a:gd name="connsiteY45" fmla="*/ 1730908 h 2039827"/>
              <a:gd name="connsiteX46" fmla="*/ 1550773 w 2168610"/>
              <a:gd name="connsiteY46" fmla="*/ 1700016 h 2039827"/>
              <a:gd name="connsiteX47" fmla="*/ 1526059 w 2168610"/>
              <a:gd name="connsiteY47" fmla="*/ 1669124 h 2039827"/>
              <a:gd name="connsiteX48" fmla="*/ 1550773 w 2168610"/>
              <a:gd name="connsiteY48" fmla="*/ 1669124 h 2039827"/>
              <a:gd name="connsiteX49" fmla="*/ 1575486 w 2168610"/>
              <a:gd name="connsiteY49" fmla="*/ 1650589 h 2039827"/>
              <a:gd name="connsiteX50" fmla="*/ 1550773 w 2168610"/>
              <a:gd name="connsiteY50" fmla="*/ 1594984 h 2039827"/>
              <a:gd name="connsiteX51" fmla="*/ 1550773 w 2168610"/>
              <a:gd name="connsiteY51" fmla="*/ 1594984 h 2039827"/>
              <a:gd name="connsiteX52" fmla="*/ 1618735 w 2168610"/>
              <a:gd name="connsiteY52" fmla="*/ 1594984 h 2039827"/>
              <a:gd name="connsiteX53" fmla="*/ 1631092 w 2168610"/>
              <a:gd name="connsiteY53" fmla="*/ 1582627 h 2039827"/>
              <a:gd name="connsiteX54" fmla="*/ 1649627 w 2168610"/>
              <a:gd name="connsiteY54" fmla="*/ 1533200 h 2039827"/>
              <a:gd name="connsiteX55" fmla="*/ 1686697 w 2168610"/>
              <a:gd name="connsiteY55" fmla="*/ 1533200 h 2039827"/>
              <a:gd name="connsiteX56" fmla="*/ 1705232 w 2168610"/>
              <a:gd name="connsiteY56" fmla="*/ 1533200 h 2039827"/>
              <a:gd name="connsiteX57" fmla="*/ 1705232 w 2168610"/>
              <a:gd name="connsiteY57" fmla="*/ 1502308 h 2039827"/>
              <a:gd name="connsiteX58" fmla="*/ 1699054 w 2168610"/>
              <a:gd name="connsiteY58" fmla="*/ 1483773 h 2039827"/>
              <a:gd name="connsiteX59" fmla="*/ 1699054 w 2168610"/>
              <a:gd name="connsiteY59" fmla="*/ 1483773 h 2039827"/>
              <a:gd name="connsiteX60" fmla="*/ 1773194 w 2168610"/>
              <a:gd name="connsiteY60" fmla="*/ 1489951 h 2039827"/>
              <a:gd name="connsiteX61" fmla="*/ 1834978 w 2168610"/>
              <a:gd name="connsiteY61" fmla="*/ 1477595 h 2039827"/>
              <a:gd name="connsiteX62" fmla="*/ 1896762 w 2168610"/>
              <a:gd name="connsiteY62" fmla="*/ 1421989 h 2039827"/>
              <a:gd name="connsiteX63" fmla="*/ 1896762 w 2168610"/>
              <a:gd name="connsiteY63" fmla="*/ 1378740 h 2039827"/>
              <a:gd name="connsiteX64" fmla="*/ 1946189 w 2168610"/>
              <a:gd name="connsiteY64" fmla="*/ 1347849 h 2039827"/>
              <a:gd name="connsiteX65" fmla="*/ 1940010 w 2168610"/>
              <a:gd name="connsiteY65" fmla="*/ 1286065 h 2039827"/>
              <a:gd name="connsiteX66" fmla="*/ 1983259 w 2168610"/>
              <a:gd name="connsiteY66" fmla="*/ 1267530 h 2039827"/>
              <a:gd name="connsiteX67" fmla="*/ 2007973 w 2168610"/>
              <a:gd name="connsiteY67" fmla="*/ 1329313 h 2039827"/>
              <a:gd name="connsiteX68" fmla="*/ 2143897 w 2168610"/>
              <a:gd name="connsiteY68" fmla="*/ 1255173 h 2039827"/>
              <a:gd name="connsiteX69" fmla="*/ 2156254 w 2168610"/>
              <a:gd name="connsiteY69" fmla="*/ 1168676 h 2039827"/>
              <a:gd name="connsiteX70" fmla="*/ 2143897 w 2168610"/>
              <a:gd name="connsiteY70" fmla="*/ 1131605 h 2039827"/>
              <a:gd name="connsiteX71" fmla="*/ 2137719 w 2168610"/>
              <a:gd name="connsiteY71" fmla="*/ 1094535 h 2039827"/>
              <a:gd name="connsiteX72" fmla="*/ 2150075 w 2168610"/>
              <a:gd name="connsiteY72" fmla="*/ 1051286 h 2039827"/>
              <a:gd name="connsiteX73" fmla="*/ 2168610 w 2168610"/>
              <a:gd name="connsiteY73" fmla="*/ 1014216 h 2039827"/>
              <a:gd name="connsiteX74" fmla="*/ 2131540 w 2168610"/>
              <a:gd name="connsiteY74" fmla="*/ 903005 h 2039827"/>
              <a:gd name="connsiteX75" fmla="*/ 2100648 w 2168610"/>
              <a:gd name="connsiteY75" fmla="*/ 872113 h 2039827"/>
              <a:gd name="connsiteX76" fmla="*/ 2075935 w 2168610"/>
              <a:gd name="connsiteY76" fmla="*/ 791795 h 2039827"/>
              <a:gd name="connsiteX77" fmla="*/ 2063578 w 2168610"/>
              <a:gd name="connsiteY77" fmla="*/ 618800 h 2039827"/>
              <a:gd name="connsiteX78" fmla="*/ 2051221 w 2168610"/>
              <a:gd name="connsiteY78" fmla="*/ 519946 h 2039827"/>
              <a:gd name="connsiteX79" fmla="*/ 2032686 w 2168610"/>
              <a:gd name="connsiteY79" fmla="*/ 501411 h 2039827"/>
              <a:gd name="connsiteX80" fmla="*/ 1983259 w 2168610"/>
              <a:gd name="connsiteY80" fmla="*/ 526124 h 2039827"/>
              <a:gd name="connsiteX81" fmla="*/ 1872048 w 2168610"/>
              <a:gd name="connsiteY81" fmla="*/ 470519 h 2039827"/>
              <a:gd name="connsiteX82" fmla="*/ 1834978 w 2168610"/>
              <a:gd name="connsiteY82" fmla="*/ 470519 h 2039827"/>
              <a:gd name="connsiteX83" fmla="*/ 1767016 w 2168610"/>
              <a:gd name="connsiteY83" fmla="*/ 464340 h 2039827"/>
              <a:gd name="connsiteX84" fmla="*/ 1692875 w 2168610"/>
              <a:gd name="connsiteY84" fmla="*/ 519946 h 2039827"/>
              <a:gd name="connsiteX85" fmla="*/ 1631092 w 2168610"/>
              <a:gd name="connsiteY85" fmla="*/ 489054 h 2039827"/>
              <a:gd name="connsiteX86" fmla="*/ 1594021 w 2168610"/>
              <a:gd name="connsiteY86" fmla="*/ 501411 h 2039827"/>
              <a:gd name="connsiteX87" fmla="*/ 1594083 w 2168610"/>
              <a:gd name="connsiteY87" fmla="*/ 489288 h 2039827"/>
              <a:gd name="connsiteX88" fmla="*/ 1519881 w 2168610"/>
              <a:gd name="connsiteY88" fmla="*/ 495232 h 2039827"/>
              <a:gd name="connsiteX89" fmla="*/ 1488989 w 2168610"/>
              <a:gd name="connsiteY89" fmla="*/ 470519 h 2039827"/>
              <a:gd name="connsiteX90" fmla="*/ 1439562 w 2168610"/>
              <a:gd name="connsiteY90" fmla="*/ 489054 h 2039827"/>
              <a:gd name="connsiteX91" fmla="*/ 1362643 w 2168610"/>
              <a:gd name="connsiteY91" fmla="*/ 433707 h 2039827"/>
              <a:gd name="connsiteX92" fmla="*/ 1291281 w 2168610"/>
              <a:gd name="connsiteY92" fmla="*/ 451984 h 2039827"/>
              <a:gd name="connsiteX93" fmla="*/ 1260389 w 2168610"/>
              <a:gd name="connsiteY93" fmla="*/ 439627 h 2039827"/>
              <a:gd name="connsiteX94" fmla="*/ 1235675 w 2168610"/>
              <a:gd name="connsiteY94" fmla="*/ 439627 h 2039827"/>
              <a:gd name="connsiteX95" fmla="*/ 1210962 w 2168610"/>
              <a:gd name="connsiteY95" fmla="*/ 396378 h 2039827"/>
              <a:gd name="connsiteX96" fmla="*/ 1144010 w 2168610"/>
              <a:gd name="connsiteY96" fmla="*/ 390478 h 2039827"/>
              <a:gd name="connsiteX97" fmla="*/ 1105929 w 2168610"/>
              <a:gd name="connsiteY97" fmla="*/ 371665 h 2039827"/>
              <a:gd name="connsiteX98" fmla="*/ 1087394 w 2168610"/>
              <a:gd name="connsiteY98" fmla="*/ 371665 h 2039827"/>
              <a:gd name="connsiteX99" fmla="*/ 1075037 w 2168610"/>
              <a:gd name="connsiteY99" fmla="*/ 359308 h 2039827"/>
              <a:gd name="connsiteX100" fmla="*/ 1062681 w 2168610"/>
              <a:gd name="connsiteY100" fmla="*/ 353130 h 2039827"/>
              <a:gd name="connsiteX101" fmla="*/ 1068450 w 2168610"/>
              <a:gd name="connsiteY101" fmla="*/ 10936 h 2039827"/>
              <a:gd name="connsiteX102" fmla="*/ 598898 w 2168610"/>
              <a:gd name="connsiteY102" fmla="*/ 0 h 2039827"/>
              <a:gd name="connsiteX0" fmla="*/ 598898 w 2168610"/>
              <a:gd name="connsiteY0" fmla="*/ 0 h 2039827"/>
              <a:gd name="connsiteX1" fmla="*/ 580767 w 2168610"/>
              <a:gd name="connsiteY1" fmla="*/ 872113 h 2039827"/>
              <a:gd name="connsiteX2" fmla="*/ 6178 w 2168610"/>
              <a:gd name="connsiteY2" fmla="*/ 853578 h 2039827"/>
              <a:gd name="connsiteX3" fmla="*/ 0 w 2168610"/>
              <a:gd name="connsiteY3" fmla="*/ 890649 h 2039827"/>
              <a:gd name="connsiteX4" fmla="*/ 49427 w 2168610"/>
              <a:gd name="connsiteY4" fmla="*/ 921540 h 2039827"/>
              <a:gd name="connsiteX5" fmla="*/ 105032 w 2168610"/>
              <a:gd name="connsiteY5" fmla="*/ 989503 h 2039827"/>
              <a:gd name="connsiteX6" fmla="*/ 154459 w 2168610"/>
              <a:gd name="connsiteY6" fmla="*/ 1063643 h 2039827"/>
              <a:gd name="connsiteX7" fmla="*/ 203886 w 2168610"/>
              <a:gd name="connsiteY7" fmla="*/ 1076000 h 2039827"/>
              <a:gd name="connsiteX8" fmla="*/ 240956 w 2168610"/>
              <a:gd name="connsiteY8" fmla="*/ 1125427 h 2039827"/>
              <a:gd name="connsiteX9" fmla="*/ 271848 w 2168610"/>
              <a:gd name="connsiteY9" fmla="*/ 1174854 h 2039827"/>
              <a:gd name="connsiteX10" fmla="*/ 296562 w 2168610"/>
              <a:gd name="connsiteY10" fmla="*/ 1230459 h 2039827"/>
              <a:gd name="connsiteX11" fmla="*/ 308919 w 2168610"/>
              <a:gd name="connsiteY11" fmla="*/ 1304600 h 2039827"/>
              <a:gd name="connsiteX12" fmla="*/ 327454 w 2168610"/>
              <a:gd name="connsiteY12" fmla="*/ 1329313 h 2039827"/>
              <a:gd name="connsiteX13" fmla="*/ 432486 w 2168610"/>
              <a:gd name="connsiteY13" fmla="*/ 1409632 h 2039827"/>
              <a:gd name="connsiteX14" fmla="*/ 438665 w 2168610"/>
              <a:gd name="connsiteY14" fmla="*/ 1384919 h 2039827"/>
              <a:gd name="connsiteX15" fmla="*/ 574589 w 2168610"/>
              <a:gd name="connsiteY15" fmla="*/ 1452881 h 2039827"/>
              <a:gd name="connsiteX16" fmla="*/ 574589 w 2168610"/>
              <a:gd name="connsiteY16" fmla="*/ 1452881 h 2039827"/>
              <a:gd name="connsiteX17" fmla="*/ 605481 w 2168610"/>
              <a:gd name="connsiteY17" fmla="*/ 1397276 h 2039827"/>
              <a:gd name="connsiteX18" fmla="*/ 661086 w 2168610"/>
              <a:gd name="connsiteY18" fmla="*/ 1329313 h 2039827"/>
              <a:gd name="connsiteX19" fmla="*/ 729048 w 2168610"/>
              <a:gd name="connsiteY19" fmla="*/ 1310778 h 2039827"/>
              <a:gd name="connsiteX20" fmla="*/ 821724 w 2168610"/>
              <a:gd name="connsiteY20" fmla="*/ 1323135 h 2039827"/>
              <a:gd name="connsiteX21" fmla="*/ 902043 w 2168610"/>
              <a:gd name="connsiteY21" fmla="*/ 1384919 h 2039827"/>
              <a:gd name="connsiteX22" fmla="*/ 957648 w 2168610"/>
              <a:gd name="connsiteY22" fmla="*/ 1465238 h 2039827"/>
              <a:gd name="connsiteX23" fmla="*/ 1013254 w 2168610"/>
              <a:gd name="connsiteY23" fmla="*/ 1545557 h 2039827"/>
              <a:gd name="connsiteX24" fmla="*/ 1062681 w 2168610"/>
              <a:gd name="connsiteY24" fmla="*/ 1632054 h 2039827"/>
              <a:gd name="connsiteX25" fmla="*/ 1118286 w 2168610"/>
              <a:gd name="connsiteY25" fmla="*/ 1700016 h 2039827"/>
              <a:gd name="connsiteX26" fmla="*/ 1167713 w 2168610"/>
              <a:gd name="connsiteY26" fmla="*/ 1737086 h 2039827"/>
              <a:gd name="connsiteX27" fmla="*/ 1198605 w 2168610"/>
              <a:gd name="connsiteY27" fmla="*/ 1817405 h 2039827"/>
              <a:gd name="connsiteX28" fmla="*/ 1223319 w 2168610"/>
              <a:gd name="connsiteY28" fmla="*/ 1879189 h 2039827"/>
              <a:gd name="connsiteX29" fmla="*/ 1248032 w 2168610"/>
              <a:gd name="connsiteY29" fmla="*/ 1940973 h 2039827"/>
              <a:gd name="connsiteX30" fmla="*/ 1278924 w 2168610"/>
              <a:gd name="connsiteY30" fmla="*/ 1984222 h 2039827"/>
              <a:gd name="connsiteX31" fmla="*/ 1340708 w 2168610"/>
              <a:gd name="connsiteY31" fmla="*/ 2008935 h 2039827"/>
              <a:gd name="connsiteX32" fmla="*/ 1439562 w 2168610"/>
              <a:gd name="connsiteY32" fmla="*/ 2027470 h 2039827"/>
              <a:gd name="connsiteX33" fmla="*/ 1513702 w 2168610"/>
              <a:gd name="connsiteY33" fmla="*/ 2039827 h 2039827"/>
              <a:gd name="connsiteX34" fmla="*/ 1606378 w 2168610"/>
              <a:gd name="connsiteY34" fmla="*/ 2039827 h 2039827"/>
              <a:gd name="connsiteX35" fmla="*/ 1587843 w 2168610"/>
              <a:gd name="connsiteY35" fmla="*/ 2027470 h 2039827"/>
              <a:gd name="connsiteX36" fmla="*/ 1587843 w 2168610"/>
              <a:gd name="connsiteY36" fmla="*/ 2027470 h 2039827"/>
              <a:gd name="connsiteX37" fmla="*/ 1575486 w 2168610"/>
              <a:gd name="connsiteY37" fmla="*/ 1959508 h 2039827"/>
              <a:gd name="connsiteX38" fmla="*/ 1550773 w 2168610"/>
              <a:gd name="connsiteY38" fmla="*/ 1928616 h 2039827"/>
              <a:gd name="connsiteX39" fmla="*/ 1544594 w 2168610"/>
              <a:gd name="connsiteY39" fmla="*/ 1891546 h 2039827"/>
              <a:gd name="connsiteX40" fmla="*/ 1526059 w 2168610"/>
              <a:gd name="connsiteY40" fmla="*/ 1848297 h 2039827"/>
              <a:gd name="connsiteX41" fmla="*/ 1538416 w 2168610"/>
              <a:gd name="connsiteY41" fmla="*/ 1817405 h 2039827"/>
              <a:gd name="connsiteX42" fmla="*/ 1532237 w 2168610"/>
              <a:gd name="connsiteY42" fmla="*/ 1798870 h 2039827"/>
              <a:gd name="connsiteX43" fmla="*/ 1488989 w 2168610"/>
              <a:gd name="connsiteY43" fmla="*/ 1774157 h 2039827"/>
              <a:gd name="connsiteX44" fmla="*/ 1538416 w 2168610"/>
              <a:gd name="connsiteY44" fmla="*/ 1743265 h 2039827"/>
              <a:gd name="connsiteX45" fmla="*/ 1544594 w 2168610"/>
              <a:gd name="connsiteY45" fmla="*/ 1730908 h 2039827"/>
              <a:gd name="connsiteX46" fmla="*/ 1550773 w 2168610"/>
              <a:gd name="connsiteY46" fmla="*/ 1700016 h 2039827"/>
              <a:gd name="connsiteX47" fmla="*/ 1526059 w 2168610"/>
              <a:gd name="connsiteY47" fmla="*/ 1669124 h 2039827"/>
              <a:gd name="connsiteX48" fmla="*/ 1550773 w 2168610"/>
              <a:gd name="connsiteY48" fmla="*/ 1669124 h 2039827"/>
              <a:gd name="connsiteX49" fmla="*/ 1575486 w 2168610"/>
              <a:gd name="connsiteY49" fmla="*/ 1650589 h 2039827"/>
              <a:gd name="connsiteX50" fmla="*/ 1550773 w 2168610"/>
              <a:gd name="connsiteY50" fmla="*/ 1594984 h 2039827"/>
              <a:gd name="connsiteX51" fmla="*/ 1550773 w 2168610"/>
              <a:gd name="connsiteY51" fmla="*/ 1594984 h 2039827"/>
              <a:gd name="connsiteX52" fmla="*/ 1618735 w 2168610"/>
              <a:gd name="connsiteY52" fmla="*/ 1594984 h 2039827"/>
              <a:gd name="connsiteX53" fmla="*/ 1631092 w 2168610"/>
              <a:gd name="connsiteY53" fmla="*/ 1582627 h 2039827"/>
              <a:gd name="connsiteX54" fmla="*/ 1649627 w 2168610"/>
              <a:gd name="connsiteY54" fmla="*/ 1533200 h 2039827"/>
              <a:gd name="connsiteX55" fmla="*/ 1686697 w 2168610"/>
              <a:gd name="connsiteY55" fmla="*/ 1533200 h 2039827"/>
              <a:gd name="connsiteX56" fmla="*/ 1705232 w 2168610"/>
              <a:gd name="connsiteY56" fmla="*/ 1533200 h 2039827"/>
              <a:gd name="connsiteX57" fmla="*/ 1705232 w 2168610"/>
              <a:gd name="connsiteY57" fmla="*/ 1502308 h 2039827"/>
              <a:gd name="connsiteX58" fmla="*/ 1699054 w 2168610"/>
              <a:gd name="connsiteY58" fmla="*/ 1483773 h 2039827"/>
              <a:gd name="connsiteX59" fmla="*/ 1699054 w 2168610"/>
              <a:gd name="connsiteY59" fmla="*/ 1483773 h 2039827"/>
              <a:gd name="connsiteX60" fmla="*/ 1773194 w 2168610"/>
              <a:gd name="connsiteY60" fmla="*/ 1489951 h 2039827"/>
              <a:gd name="connsiteX61" fmla="*/ 1834978 w 2168610"/>
              <a:gd name="connsiteY61" fmla="*/ 1477595 h 2039827"/>
              <a:gd name="connsiteX62" fmla="*/ 1896762 w 2168610"/>
              <a:gd name="connsiteY62" fmla="*/ 1421989 h 2039827"/>
              <a:gd name="connsiteX63" fmla="*/ 1896762 w 2168610"/>
              <a:gd name="connsiteY63" fmla="*/ 1378740 h 2039827"/>
              <a:gd name="connsiteX64" fmla="*/ 1946189 w 2168610"/>
              <a:gd name="connsiteY64" fmla="*/ 1347849 h 2039827"/>
              <a:gd name="connsiteX65" fmla="*/ 1940010 w 2168610"/>
              <a:gd name="connsiteY65" fmla="*/ 1286065 h 2039827"/>
              <a:gd name="connsiteX66" fmla="*/ 1983259 w 2168610"/>
              <a:gd name="connsiteY66" fmla="*/ 1267530 h 2039827"/>
              <a:gd name="connsiteX67" fmla="*/ 2007973 w 2168610"/>
              <a:gd name="connsiteY67" fmla="*/ 1329313 h 2039827"/>
              <a:gd name="connsiteX68" fmla="*/ 2143897 w 2168610"/>
              <a:gd name="connsiteY68" fmla="*/ 1255173 h 2039827"/>
              <a:gd name="connsiteX69" fmla="*/ 2156254 w 2168610"/>
              <a:gd name="connsiteY69" fmla="*/ 1168676 h 2039827"/>
              <a:gd name="connsiteX70" fmla="*/ 2143897 w 2168610"/>
              <a:gd name="connsiteY70" fmla="*/ 1131605 h 2039827"/>
              <a:gd name="connsiteX71" fmla="*/ 2137719 w 2168610"/>
              <a:gd name="connsiteY71" fmla="*/ 1094535 h 2039827"/>
              <a:gd name="connsiteX72" fmla="*/ 2150075 w 2168610"/>
              <a:gd name="connsiteY72" fmla="*/ 1051286 h 2039827"/>
              <a:gd name="connsiteX73" fmla="*/ 2168610 w 2168610"/>
              <a:gd name="connsiteY73" fmla="*/ 1014216 h 2039827"/>
              <a:gd name="connsiteX74" fmla="*/ 2131540 w 2168610"/>
              <a:gd name="connsiteY74" fmla="*/ 903005 h 2039827"/>
              <a:gd name="connsiteX75" fmla="*/ 2100648 w 2168610"/>
              <a:gd name="connsiteY75" fmla="*/ 872113 h 2039827"/>
              <a:gd name="connsiteX76" fmla="*/ 2075935 w 2168610"/>
              <a:gd name="connsiteY76" fmla="*/ 791795 h 2039827"/>
              <a:gd name="connsiteX77" fmla="*/ 2063578 w 2168610"/>
              <a:gd name="connsiteY77" fmla="*/ 618800 h 2039827"/>
              <a:gd name="connsiteX78" fmla="*/ 2051221 w 2168610"/>
              <a:gd name="connsiteY78" fmla="*/ 519946 h 2039827"/>
              <a:gd name="connsiteX79" fmla="*/ 2032686 w 2168610"/>
              <a:gd name="connsiteY79" fmla="*/ 501411 h 2039827"/>
              <a:gd name="connsiteX80" fmla="*/ 1983259 w 2168610"/>
              <a:gd name="connsiteY80" fmla="*/ 526124 h 2039827"/>
              <a:gd name="connsiteX81" fmla="*/ 1872048 w 2168610"/>
              <a:gd name="connsiteY81" fmla="*/ 470519 h 2039827"/>
              <a:gd name="connsiteX82" fmla="*/ 1834978 w 2168610"/>
              <a:gd name="connsiteY82" fmla="*/ 470519 h 2039827"/>
              <a:gd name="connsiteX83" fmla="*/ 1767016 w 2168610"/>
              <a:gd name="connsiteY83" fmla="*/ 464340 h 2039827"/>
              <a:gd name="connsiteX84" fmla="*/ 1692875 w 2168610"/>
              <a:gd name="connsiteY84" fmla="*/ 519946 h 2039827"/>
              <a:gd name="connsiteX85" fmla="*/ 1631092 w 2168610"/>
              <a:gd name="connsiteY85" fmla="*/ 489054 h 2039827"/>
              <a:gd name="connsiteX86" fmla="*/ 1594021 w 2168610"/>
              <a:gd name="connsiteY86" fmla="*/ 501411 h 2039827"/>
              <a:gd name="connsiteX87" fmla="*/ 1594083 w 2168610"/>
              <a:gd name="connsiteY87" fmla="*/ 489288 h 2039827"/>
              <a:gd name="connsiteX88" fmla="*/ 1519881 w 2168610"/>
              <a:gd name="connsiteY88" fmla="*/ 495232 h 2039827"/>
              <a:gd name="connsiteX89" fmla="*/ 1488989 w 2168610"/>
              <a:gd name="connsiteY89" fmla="*/ 470519 h 2039827"/>
              <a:gd name="connsiteX90" fmla="*/ 1439562 w 2168610"/>
              <a:gd name="connsiteY90" fmla="*/ 489054 h 2039827"/>
              <a:gd name="connsiteX91" fmla="*/ 1362643 w 2168610"/>
              <a:gd name="connsiteY91" fmla="*/ 433707 h 2039827"/>
              <a:gd name="connsiteX92" fmla="*/ 1291281 w 2168610"/>
              <a:gd name="connsiteY92" fmla="*/ 451984 h 2039827"/>
              <a:gd name="connsiteX93" fmla="*/ 1260389 w 2168610"/>
              <a:gd name="connsiteY93" fmla="*/ 439627 h 2039827"/>
              <a:gd name="connsiteX94" fmla="*/ 1240486 w 2168610"/>
              <a:gd name="connsiteY94" fmla="*/ 432292 h 2039827"/>
              <a:gd name="connsiteX95" fmla="*/ 1210962 w 2168610"/>
              <a:gd name="connsiteY95" fmla="*/ 396378 h 2039827"/>
              <a:gd name="connsiteX96" fmla="*/ 1144010 w 2168610"/>
              <a:gd name="connsiteY96" fmla="*/ 390478 h 2039827"/>
              <a:gd name="connsiteX97" fmla="*/ 1105929 w 2168610"/>
              <a:gd name="connsiteY97" fmla="*/ 371665 h 2039827"/>
              <a:gd name="connsiteX98" fmla="*/ 1087394 w 2168610"/>
              <a:gd name="connsiteY98" fmla="*/ 371665 h 2039827"/>
              <a:gd name="connsiteX99" fmla="*/ 1075037 w 2168610"/>
              <a:gd name="connsiteY99" fmla="*/ 359308 h 2039827"/>
              <a:gd name="connsiteX100" fmla="*/ 1062681 w 2168610"/>
              <a:gd name="connsiteY100" fmla="*/ 353130 h 2039827"/>
              <a:gd name="connsiteX101" fmla="*/ 1068450 w 2168610"/>
              <a:gd name="connsiteY101" fmla="*/ 10936 h 2039827"/>
              <a:gd name="connsiteX102" fmla="*/ 598898 w 2168610"/>
              <a:gd name="connsiteY102" fmla="*/ 0 h 2039827"/>
              <a:gd name="connsiteX0" fmla="*/ 602245 w 2171957"/>
              <a:gd name="connsiteY0" fmla="*/ 0 h 2039827"/>
              <a:gd name="connsiteX1" fmla="*/ 584114 w 2171957"/>
              <a:gd name="connsiteY1" fmla="*/ 872113 h 2039827"/>
              <a:gd name="connsiteX2" fmla="*/ 0 w 2171957"/>
              <a:gd name="connsiteY2" fmla="*/ 841299 h 2039827"/>
              <a:gd name="connsiteX3" fmla="*/ 3347 w 2171957"/>
              <a:gd name="connsiteY3" fmla="*/ 890649 h 2039827"/>
              <a:gd name="connsiteX4" fmla="*/ 52774 w 2171957"/>
              <a:gd name="connsiteY4" fmla="*/ 921540 h 2039827"/>
              <a:gd name="connsiteX5" fmla="*/ 108379 w 2171957"/>
              <a:gd name="connsiteY5" fmla="*/ 989503 h 2039827"/>
              <a:gd name="connsiteX6" fmla="*/ 157806 w 2171957"/>
              <a:gd name="connsiteY6" fmla="*/ 1063643 h 2039827"/>
              <a:gd name="connsiteX7" fmla="*/ 207233 w 2171957"/>
              <a:gd name="connsiteY7" fmla="*/ 1076000 h 2039827"/>
              <a:gd name="connsiteX8" fmla="*/ 244303 w 2171957"/>
              <a:gd name="connsiteY8" fmla="*/ 1125427 h 2039827"/>
              <a:gd name="connsiteX9" fmla="*/ 275195 w 2171957"/>
              <a:gd name="connsiteY9" fmla="*/ 1174854 h 2039827"/>
              <a:gd name="connsiteX10" fmla="*/ 299909 w 2171957"/>
              <a:gd name="connsiteY10" fmla="*/ 1230459 h 2039827"/>
              <a:gd name="connsiteX11" fmla="*/ 312266 w 2171957"/>
              <a:gd name="connsiteY11" fmla="*/ 1304600 h 2039827"/>
              <a:gd name="connsiteX12" fmla="*/ 330801 w 2171957"/>
              <a:gd name="connsiteY12" fmla="*/ 1329313 h 2039827"/>
              <a:gd name="connsiteX13" fmla="*/ 435833 w 2171957"/>
              <a:gd name="connsiteY13" fmla="*/ 1409632 h 2039827"/>
              <a:gd name="connsiteX14" fmla="*/ 442012 w 2171957"/>
              <a:gd name="connsiteY14" fmla="*/ 1384919 h 2039827"/>
              <a:gd name="connsiteX15" fmla="*/ 577936 w 2171957"/>
              <a:gd name="connsiteY15" fmla="*/ 1452881 h 2039827"/>
              <a:gd name="connsiteX16" fmla="*/ 577936 w 2171957"/>
              <a:gd name="connsiteY16" fmla="*/ 1452881 h 2039827"/>
              <a:gd name="connsiteX17" fmla="*/ 608828 w 2171957"/>
              <a:gd name="connsiteY17" fmla="*/ 1397276 h 2039827"/>
              <a:gd name="connsiteX18" fmla="*/ 664433 w 2171957"/>
              <a:gd name="connsiteY18" fmla="*/ 1329313 h 2039827"/>
              <a:gd name="connsiteX19" fmla="*/ 732395 w 2171957"/>
              <a:gd name="connsiteY19" fmla="*/ 1310778 h 2039827"/>
              <a:gd name="connsiteX20" fmla="*/ 825071 w 2171957"/>
              <a:gd name="connsiteY20" fmla="*/ 1323135 h 2039827"/>
              <a:gd name="connsiteX21" fmla="*/ 905390 w 2171957"/>
              <a:gd name="connsiteY21" fmla="*/ 1384919 h 2039827"/>
              <a:gd name="connsiteX22" fmla="*/ 960995 w 2171957"/>
              <a:gd name="connsiteY22" fmla="*/ 1465238 h 2039827"/>
              <a:gd name="connsiteX23" fmla="*/ 1016601 w 2171957"/>
              <a:gd name="connsiteY23" fmla="*/ 1545557 h 2039827"/>
              <a:gd name="connsiteX24" fmla="*/ 1066028 w 2171957"/>
              <a:gd name="connsiteY24" fmla="*/ 1632054 h 2039827"/>
              <a:gd name="connsiteX25" fmla="*/ 1121633 w 2171957"/>
              <a:gd name="connsiteY25" fmla="*/ 1700016 h 2039827"/>
              <a:gd name="connsiteX26" fmla="*/ 1171060 w 2171957"/>
              <a:gd name="connsiteY26" fmla="*/ 1737086 h 2039827"/>
              <a:gd name="connsiteX27" fmla="*/ 1201952 w 2171957"/>
              <a:gd name="connsiteY27" fmla="*/ 1817405 h 2039827"/>
              <a:gd name="connsiteX28" fmla="*/ 1226666 w 2171957"/>
              <a:gd name="connsiteY28" fmla="*/ 1879189 h 2039827"/>
              <a:gd name="connsiteX29" fmla="*/ 1251379 w 2171957"/>
              <a:gd name="connsiteY29" fmla="*/ 1940973 h 2039827"/>
              <a:gd name="connsiteX30" fmla="*/ 1282271 w 2171957"/>
              <a:gd name="connsiteY30" fmla="*/ 1984222 h 2039827"/>
              <a:gd name="connsiteX31" fmla="*/ 1344055 w 2171957"/>
              <a:gd name="connsiteY31" fmla="*/ 2008935 h 2039827"/>
              <a:gd name="connsiteX32" fmla="*/ 1442909 w 2171957"/>
              <a:gd name="connsiteY32" fmla="*/ 2027470 h 2039827"/>
              <a:gd name="connsiteX33" fmla="*/ 1517049 w 2171957"/>
              <a:gd name="connsiteY33" fmla="*/ 2039827 h 2039827"/>
              <a:gd name="connsiteX34" fmla="*/ 1609725 w 2171957"/>
              <a:gd name="connsiteY34" fmla="*/ 2039827 h 2039827"/>
              <a:gd name="connsiteX35" fmla="*/ 1591190 w 2171957"/>
              <a:gd name="connsiteY35" fmla="*/ 2027470 h 2039827"/>
              <a:gd name="connsiteX36" fmla="*/ 1591190 w 2171957"/>
              <a:gd name="connsiteY36" fmla="*/ 2027470 h 2039827"/>
              <a:gd name="connsiteX37" fmla="*/ 1578833 w 2171957"/>
              <a:gd name="connsiteY37" fmla="*/ 1959508 h 2039827"/>
              <a:gd name="connsiteX38" fmla="*/ 1554120 w 2171957"/>
              <a:gd name="connsiteY38" fmla="*/ 1928616 h 2039827"/>
              <a:gd name="connsiteX39" fmla="*/ 1547941 w 2171957"/>
              <a:gd name="connsiteY39" fmla="*/ 1891546 h 2039827"/>
              <a:gd name="connsiteX40" fmla="*/ 1529406 w 2171957"/>
              <a:gd name="connsiteY40" fmla="*/ 1848297 h 2039827"/>
              <a:gd name="connsiteX41" fmla="*/ 1541763 w 2171957"/>
              <a:gd name="connsiteY41" fmla="*/ 1817405 h 2039827"/>
              <a:gd name="connsiteX42" fmla="*/ 1535584 w 2171957"/>
              <a:gd name="connsiteY42" fmla="*/ 1798870 h 2039827"/>
              <a:gd name="connsiteX43" fmla="*/ 1492336 w 2171957"/>
              <a:gd name="connsiteY43" fmla="*/ 1774157 h 2039827"/>
              <a:gd name="connsiteX44" fmla="*/ 1541763 w 2171957"/>
              <a:gd name="connsiteY44" fmla="*/ 1743265 h 2039827"/>
              <a:gd name="connsiteX45" fmla="*/ 1547941 w 2171957"/>
              <a:gd name="connsiteY45" fmla="*/ 1730908 h 2039827"/>
              <a:gd name="connsiteX46" fmla="*/ 1554120 w 2171957"/>
              <a:gd name="connsiteY46" fmla="*/ 1700016 h 2039827"/>
              <a:gd name="connsiteX47" fmla="*/ 1529406 w 2171957"/>
              <a:gd name="connsiteY47" fmla="*/ 1669124 h 2039827"/>
              <a:gd name="connsiteX48" fmla="*/ 1554120 w 2171957"/>
              <a:gd name="connsiteY48" fmla="*/ 1669124 h 2039827"/>
              <a:gd name="connsiteX49" fmla="*/ 1578833 w 2171957"/>
              <a:gd name="connsiteY49" fmla="*/ 1650589 h 2039827"/>
              <a:gd name="connsiteX50" fmla="*/ 1554120 w 2171957"/>
              <a:gd name="connsiteY50" fmla="*/ 1594984 h 2039827"/>
              <a:gd name="connsiteX51" fmla="*/ 1554120 w 2171957"/>
              <a:gd name="connsiteY51" fmla="*/ 1594984 h 2039827"/>
              <a:gd name="connsiteX52" fmla="*/ 1622082 w 2171957"/>
              <a:gd name="connsiteY52" fmla="*/ 1594984 h 2039827"/>
              <a:gd name="connsiteX53" fmla="*/ 1634439 w 2171957"/>
              <a:gd name="connsiteY53" fmla="*/ 1582627 h 2039827"/>
              <a:gd name="connsiteX54" fmla="*/ 1652974 w 2171957"/>
              <a:gd name="connsiteY54" fmla="*/ 1533200 h 2039827"/>
              <a:gd name="connsiteX55" fmla="*/ 1690044 w 2171957"/>
              <a:gd name="connsiteY55" fmla="*/ 1533200 h 2039827"/>
              <a:gd name="connsiteX56" fmla="*/ 1708579 w 2171957"/>
              <a:gd name="connsiteY56" fmla="*/ 1533200 h 2039827"/>
              <a:gd name="connsiteX57" fmla="*/ 1708579 w 2171957"/>
              <a:gd name="connsiteY57" fmla="*/ 1502308 h 2039827"/>
              <a:gd name="connsiteX58" fmla="*/ 1702401 w 2171957"/>
              <a:gd name="connsiteY58" fmla="*/ 1483773 h 2039827"/>
              <a:gd name="connsiteX59" fmla="*/ 1702401 w 2171957"/>
              <a:gd name="connsiteY59" fmla="*/ 1483773 h 2039827"/>
              <a:gd name="connsiteX60" fmla="*/ 1776541 w 2171957"/>
              <a:gd name="connsiteY60" fmla="*/ 1489951 h 2039827"/>
              <a:gd name="connsiteX61" fmla="*/ 1838325 w 2171957"/>
              <a:gd name="connsiteY61" fmla="*/ 1477595 h 2039827"/>
              <a:gd name="connsiteX62" fmla="*/ 1900109 w 2171957"/>
              <a:gd name="connsiteY62" fmla="*/ 1421989 h 2039827"/>
              <a:gd name="connsiteX63" fmla="*/ 1900109 w 2171957"/>
              <a:gd name="connsiteY63" fmla="*/ 1378740 h 2039827"/>
              <a:gd name="connsiteX64" fmla="*/ 1949536 w 2171957"/>
              <a:gd name="connsiteY64" fmla="*/ 1347849 h 2039827"/>
              <a:gd name="connsiteX65" fmla="*/ 1943357 w 2171957"/>
              <a:gd name="connsiteY65" fmla="*/ 1286065 h 2039827"/>
              <a:gd name="connsiteX66" fmla="*/ 1986606 w 2171957"/>
              <a:gd name="connsiteY66" fmla="*/ 1267530 h 2039827"/>
              <a:gd name="connsiteX67" fmla="*/ 2011320 w 2171957"/>
              <a:gd name="connsiteY67" fmla="*/ 1329313 h 2039827"/>
              <a:gd name="connsiteX68" fmla="*/ 2147244 w 2171957"/>
              <a:gd name="connsiteY68" fmla="*/ 1255173 h 2039827"/>
              <a:gd name="connsiteX69" fmla="*/ 2159601 w 2171957"/>
              <a:gd name="connsiteY69" fmla="*/ 1168676 h 2039827"/>
              <a:gd name="connsiteX70" fmla="*/ 2147244 w 2171957"/>
              <a:gd name="connsiteY70" fmla="*/ 1131605 h 2039827"/>
              <a:gd name="connsiteX71" fmla="*/ 2141066 w 2171957"/>
              <a:gd name="connsiteY71" fmla="*/ 1094535 h 2039827"/>
              <a:gd name="connsiteX72" fmla="*/ 2153422 w 2171957"/>
              <a:gd name="connsiteY72" fmla="*/ 1051286 h 2039827"/>
              <a:gd name="connsiteX73" fmla="*/ 2171957 w 2171957"/>
              <a:gd name="connsiteY73" fmla="*/ 1014216 h 2039827"/>
              <a:gd name="connsiteX74" fmla="*/ 2134887 w 2171957"/>
              <a:gd name="connsiteY74" fmla="*/ 903005 h 2039827"/>
              <a:gd name="connsiteX75" fmla="*/ 2103995 w 2171957"/>
              <a:gd name="connsiteY75" fmla="*/ 872113 h 2039827"/>
              <a:gd name="connsiteX76" fmla="*/ 2079282 w 2171957"/>
              <a:gd name="connsiteY76" fmla="*/ 791795 h 2039827"/>
              <a:gd name="connsiteX77" fmla="*/ 2066925 w 2171957"/>
              <a:gd name="connsiteY77" fmla="*/ 618800 h 2039827"/>
              <a:gd name="connsiteX78" fmla="*/ 2054568 w 2171957"/>
              <a:gd name="connsiteY78" fmla="*/ 519946 h 2039827"/>
              <a:gd name="connsiteX79" fmla="*/ 2036033 w 2171957"/>
              <a:gd name="connsiteY79" fmla="*/ 501411 h 2039827"/>
              <a:gd name="connsiteX80" fmla="*/ 1986606 w 2171957"/>
              <a:gd name="connsiteY80" fmla="*/ 526124 h 2039827"/>
              <a:gd name="connsiteX81" fmla="*/ 1875395 w 2171957"/>
              <a:gd name="connsiteY81" fmla="*/ 470519 h 2039827"/>
              <a:gd name="connsiteX82" fmla="*/ 1838325 w 2171957"/>
              <a:gd name="connsiteY82" fmla="*/ 470519 h 2039827"/>
              <a:gd name="connsiteX83" fmla="*/ 1770363 w 2171957"/>
              <a:gd name="connsiteY83" fmla="*/ 464340 h 2039827"/>
              <a:gd name="connsiteX84" fmla="*/ 1696222 w 2171957"/>
              <a:gd name="connsiteY84" fmla="*/ 519946 h 2039827"/>
              <a:gd name="connsiteX85" fmla="*/ 1634439 w 2171957"/>
              <a:gd name="connsiteY85" fmla="*/ 489054 h 2039827"/>
              <a:gd name="connsiteX86" fmla="*/ 1597368 w 2171957"/>
              <a:gd name="connsiteY86" fmla="*/ 501411 h 2039827"/>
              <a:gd name="connsiteX87" fmla="*/ 1597430 w 2171957"/>
              <a:gd name="connsiteY87" fmla="*/ 489288 h 2039827"/>
              <a:gd name="connsiteX88" fmla="*/ 1523228 w 2171957"/>
              <a:gd name="connsiteY88" fmla="*/ 495232 h 2039827"/>
              <a:gd name="connsiteX89" fmla="*/ 1492336 w 2171957"/>
              <a:gd name="connsiteY89" fmla="*/ 470519 h 2039827"/>
              <a:gd name="connsiteX90" fmla="*/ 1442909 w 2171957"/>
              <a:gd name="connsiteY90" fmla="*/ 489054 h 2039827"/>
              <a:gd name="connsiteX91" fmla="*/ 1365990 w 2171957"/>
              <a:gd name="connsiteY91" fmla="*/ 433707 h 2039827"/>
              <a:gd name="connsiteX92" fmla="*/ 1294628 w 2171957"/>
              <a:gd name="connsiteY92" fmla="*/ 451984 h 2039827"/>
              <a:gd name="connsiteX93" fmla="*/ 1263736 w 2171957"/>
              <a:gd name="connsiteY93" fmla="*/ 439627 h 2039827"/>
              <a:gd name="connsiteX94" fmla="*/ 1243833 w 2171957"/>
              <a:gd name="connsiteY94" fmla="*/ 432292 h 2039827"/>
              <a:gd name="connsiteX95" fmla="*/ 1214309 w 2171957"/>
              <a:gd name="connsiteY95" fmla="*/ 396378 h 2039827"/>
              <a:gd name="connsiteX96" fmla="*/ 1147357 w 2171957"/>
              <a:gd name="connsiteY96" fmla="*/ 390478 h 2039827"/>
              <a:gd name="connsiteX97" fmla="*/ 1109276 w 2171957"/>
              <a:gd name="connsiteY97" fmla="*/ 371665 h 2039827"/>
              <a:gd name="connsiteX98" fmla="*/ 1090741 w 2171957"/>
              <a:gd name="connsiteY98" fmla="*/ 371665 h 2039827"/>
              <a:gd name="connsiteX99" fmla="*/ 1078384 w 2171957"/>
              <a:gd name="connsiteY99" fmla="*/ 359308 h 2039827"/>
              <a:gd name="connsiteX100" fmla="*/ 1066028 w 2171957"/>
              <a:gd name="connsiteY100" fmla="*/ 353130 h 2039827"/>
              <a:gd name="connsiteX101" fmla="*/ 1071797 w 2171957"/>
              <a:gd name="connsiteY101" fmla="*/ 10936 h 2039827"/>
              <a:gd name="connsiteX102" fmla="*/ 602245 w 2171957"/>
              <a:gd name="connsiteY102" fmla="*/ 0 h 2039827"/>
              <a:gd name="connsiteX0" fmla="*/ 608423 w 2178135"/>
              <a:gd name="connsiteY0" fmla="*/ 0 h 2039827"/>
              <a:gd name="connsiteX1" fmla="*/ 590292 w 2178135"/>
              <a:gd name="connsiteY1" fmla="*/ 872113 h 2039827"/>
              <a:gd name="connsiteX2" fmla="*/ 6178 w 2178135"/>
              <a:gd name="connsiteY2" fmla="*/ 841299 h 2039827"/>
              <a:gd name="connsiteX3" fmla="*/ 0 w 2178135"/>
              <a:gd name="connsiteY3" fmla="*/ 880734 h 2039827"/>
              <a:gd name="connsiteX4" fmla="*/ 58952 w 2178135"/>
              <a:gd name="connsiteY4" fmla="*/ 921540 h 2039827"/>
              <a:gd name="connsiteX5" fmla="*/ 114557 w 2178135"/>
              <a:gd name="connsiteY5" fmla="*/ 989503 h 2039827"/>
              <a:gd name="connsiteX6" fmla="*/ 163984 w 2178135"/>
              <a:gd name="connsiteY6" fmla="*/ 1063643 h 2039827"/>
              <a:gd name="connsiteX7" fmla="*/ 213411 w 2178135"/>
              <a:gd name="connsiteY7" fmla="*/ 1076000 h 2039827"/>
              <a:gd name="connsiteX8" fmla="*/ 250481 w 2178135"/>
              <a:gd name="connsiteY8" fmla="*/ 1125427 h 2039827"/>
              <a:gd name="connsiteX9" fmla="*/ 281373 w 2178135"/>
              <a:gd name="connsiteY9" fmla="*/ 1174854 h 2039827"/>
              <a:gd name="connsiteX10" fmla="*/ 306087 w 2178135"/>
              <a:gd name="connsiteY10" fmla="*/ 1230459 h 2039827"/>
              <a:gd name="connsiteX11" fmla="*/ 318444 w 2178135"/>
              <a:gd name="connsiteY11" fmla="*/ 1304600 h 2039827"/>
              <a:gd name="connsiteX12" fmla="*/ 336979 w 2178135"/>
              <a:gd name="connsiteY12" fmla="*/ 1329313 h 2039827"/>
              <a:gd name="connsiteX13" fmla="*/ 442011 w 2178135"/>
              <a:gd name="connsiteY13" fmla="*/ 1409632 h 2039827"/>
              <a:gd name="connsiteX14" fmla="*/ 448190 w 2178135"/>
              <a:gd name="connsiteY14" fmla="*/ 1384919 h 2039827"/>
              <a:gd name="connsiteX15" fmla="*/ 584114 w 2178135"/>
              <a:gd name="connsiteY15" fmla="*/ 1452881 h 2039827"/>
              <a:gd name="connsiteX16" fmla="*/ 584114 w 2178135"/>
              <a:gd name="connsiteY16" fmla="*/ 1452881 h 2039827"/>
              <a:gd name="connsiteX17" fmla="*/ 615006 w 2178135"/>
              <a:gd name="connsiteY17" fmla="*/ 1397276 h 2039827"/>
              <a:gd name="connsiteX18" fmla="*/ 670611 w 2178135"/>
              <a:gd name="connsiteY18" fmla="*/ 1329313 h 2039827"/>
              <a:gd name="connsiteX19" fmla="*/ 738573 w 2178135"/>
              <a:gd name="connsiteY19" fmla="*/ 1310778 h 2039827"/>
              <a:gd name="connsiteX20" fmla="*/ 831249 w 2178135"/>
              <a:gd name="connsiteY20" fmla="*/ 1323135 h 2039827"/>
              <a:gd name="connsiteX21" fmla="*/ 911568 w 2178135"/>
              <a:gd name="connsiteY21" fmla="*/ 1384919 h 2039827"/>
              <a:gd name="connsiteX22" fmla="*/ 967173 w 2178135"/>
              <a:gd name="connsiteY22" fmla="*/ 1465238 h 2039827"/>
              <a:gd name="connsiteX23" fmla="*/ 1022779 w 2178135"/>
              <a:gd name="connsiteY23" fmla="*/ 1545557 h 2039827"/>
              <a:gd name="connsiteX24" fmla="*/ 1072206 w 2178135"/>
              <a:gd name="connsiteY24" fmla="*/ 1632054 h 2039827"/>
              <a:gd name="connsiteX25" fmla="*/ 1127811 w 2178135"/>
              <a:gd name="connsiteY25" fmla="*/ 1700016 h 2039827"/>
              <a:gd name="connsiteX26" fmla="*/ 1177238 w 2178135"/>
              <a:gd name="connsiteY26" fmla="*/ 1737086 h 2039827"/>
              <a:gd name="connsiteX27" fmla="*/ 1208130 w 2178135"/>
              <a:gd name="connsiteY27" fmla="*/ 1817405 h 2039827"/>
              <a:gd name="connsiteX28" fmla="*/ 1232844 w 2178135"/>
              <a:gd name="connsiteY28" fmla="*/ 1879189 h 2039827"/>
              <a:gd name="connsiteX29" fmla="*/ 1257557 w 2178135"/>
              <a:gd name="connsiteY29" fmla="*/ 1940973 h 2039827"/>
              <a:gd name="connsiteX30" fmla="*/ 1288449 w 2178135"/>
              <a:gd name="connsiteY30" fmla="*/ 1984222 h 2039827"/>
              <a:gd name="connsiteX31" fmla="*/ 1350233 w 2178135"/>
              <a:gd name="connsiteY31" fmla="*/ 2008935 h 2039827"/>
              <a:gd name="connsiteX32" fmla="*/ 1449087 w 2178135"/>
              <a:gd name="connsiteY32" fmla="*/ 2027470 h 2039827"/>
              <a:gd name="connsiteX33" fmla="*/ 1523227 w 2178135"/>
              <a:gd name="connsiteY33" fmla="*/ 2039827 h 2039827"/>
              <a:gd name="connsiteX34" fmla="*/ 1615903 w 2178135"/>
              <a:gd name="connsiteY34" fmla="*/ 2039827 h 2039827"/>
              <a:gd name="connsiteX35" fmla="*/ 1597368 w 2178135"/>
              <a:gd name="connsiteY35" fmla="*/ 2027470 h 2039827"/>
              <a:gd name="connsiteX36" fmla="*/ 1597368 w 2178135"/>
              <a:gd name="connsiteY36" fmla="*/ 2027470 h 2039827"/>
              <a:gd name="connsiteX37" fmla="*/ 1585011 w 2178135"/>
              <a:gd name="connsiteY37" fmla="*/ 1959508 h 2039827"/>
              <a:gd name="connsiteX38" fmla="*/ 1560298 w 2178135"/>
              <a:gd name="connsiteY38" fmla="*/ 1928616 h 2039827"/>
              <a:gd name="connsiteX39" fmla="*/ 1554119 w 2178135"/>
              <a:gd name="connsiteY39" fmla="*/ 1891546 h 2039827"/>
              <a:gd name="connsiteX40" fmla="*/ 1535584 w 2178135"/>
              <a:gd name="connsiteY40" fmla="*/ 1848297 h 2039827"/>
              <a:gd name="connsiteX41" fmla="*/ 1547941 w 2178135"/>
              <a:gd name="connsiteY41" fmla="*/ 1817405 h 2039827"/>
              <a:gd name="connsiteX42" fmla="*/ 1541762 w 2178135"/>
              <a:gd name="connsiteY42" fmla="*/ 1798870 h 2039827"/>
              <a:gd name="connsiteX43" fmla="*/ 1498514 w 2178135"/>
              <a:gd name="connsiteY43" fmla="*/ 1774157 h 2039827"/>
              <a:gd name="connsiteX44" fmla="*/ 1547941 w 2178135"/>
              <a:gd name="connsiteY44" fmla="*/ 1743265 h 2039827"/>
              <a:gd name="connsiteX45" fmla="*/ 1554119 w 2178135"/>
              <a:gd name="connsiteY45" fmla="*/ 1730908 h 2039827"/>
              <a:gd name="connsiteX46" fmla="*/ 1560298 w 2178135"/>
              <a:gd name="connsiteY46" fmla="*/ 1700016 h 2039827"/>
              <a:gd name="connsiteX47" fmla="*/ 1535584 w 2178135"/>
              <a:gd name="connsiteY47" fmla="*/ 1669124 h 2039827"/>
              <a:gd name="connsiteX48" fmla="*/ 1560298 w 2178135"/>
              <a:gd name="connsiteY48" fmla="*/ 1669124 h 2039827"/>
              <a:gd name="connsiteX49" fmla="*/ 1585011 w 2178135"/>
              <a:gd name="connsiteY49" fmla="*/ 1650589 h 2039827"/>
              <a:gd name="connsiteX50" fmla="*/ 1560298 w 2178135"/>
              <a:gd name="connsiteY50" fmla="*/ 1594984 h 2039827"/>
              <a:gd name="connsiteX51" fmla="*/ 1560298 w 2178135"/>
              <a:gd name="connsiteY51" fmla="*/ 1594984 h 2039827"/>
              <a:gd name="connsiteX52" fmla="*/ 1628260 w 2178135"/>
              <a:gd name="connsiteY52" fmla="*/ 1594984 h 2039827"/>
              <a:gd name="connsiteX53" fmla="*/ 1640617 w 2178135"/>
              <a:gd name="connsiteY53" fmla="*/ 1582627 h 2039827"/>
              <a:gd name="connsiteX54" fmla="*/ 1659152 w 2178135"/>
              <a:gd name="connsiteY54" fmla="*/ 1533200 h 2039827"/>
              <a:gd name="connsiteX55" fmla="*/ 1696222 w 2178135"/>
              <a:gd name="connsiteY55" fmla="*/ 1533200 h 2039827"/>
              <a:gd name="connsiteX56" fmla="*/ 1714757 w 2178135"/>
              <a:gd name="connsiteY56" fmla="*/ 1533200 h 2039827"/>
              <a:gd name="connsiteX57" fmla="*/ 1714757 w 2178135"/>
              <a:gd name="connsiteY57" fmla="*/ 1502308 h 2039827"/>
              <a:gd name="connsiteX58" fmla="*/ 1708579 w 2178135"/>
              <a:gd name="connsiteY58" fmla="*/ 1483773 h 2039827"/>
              <a:gd name="connsiteX59" fmla="*/ 1708579 w 2178135"/>
              <a:gd name="connsiteY59" fmla="*/ 1483773 h 2039827"/>
              <a:gd name="connsiteX60" fmla="*/ 1782719 w 2178135"/>
              <a:gd name="connsiteY60" fmla="*/ 1489951 h 2039827"/>
              <a:gd name="connsiteX61" fmla="*/ 1844503 w 2178135"/>
              <a:gd name="connsiteY61" fmla="*/ 1477595 h 2039827"/>
              <a:gd name="connsiteX62" fmla="*/ 1906287 w 2178135"/>
              <a:gd name="connsiteY62" fmla="*/ 1421989 h 2039827"/>
              <a:gd name="connsiteX63" fmla="*/ 1906287 w 2178135"/>
              <a:gd name="connsiteY63" fmla="*/ 1378740 h 2039827"/>
              <a:gd name="connsiteX64" fmla="*/ 1955714 w 2178135"/>
              <a:gd name="connsiteY64" fmla="*/ 1347849 h 2039827"/>
              <a:gd name="connsiteX65" fmla="*/ 1949535 w 2178135"/>
              <a:gd name="connsiteY65" fmla="*/ 1286065 h 2039827"/>
              <a:gd name="connsiteX66" fmla="*/ 1992784 w 2178135"/>
              <a:gd name="connsiteY66" fmla="*/ 1267530 h 2039827"/>
              <a:gd name="connsiteX67" fmla="*/ 2017498 w 2178135"/>
              <a:gd name="connsiteY67" fmla="*/ 1329313 h 2039827"/>
              <a:gd name="connsiteX68" fmla="*/ 2153422 w 2178135"/>
              <a:gd name="connsiteY68" fmla="*/ 1255173 h 2039827"/>
              <a:gd name="connsiteX69" fmla="*/ 2165779 w 2178135"/>
              <a:gd name="connsiteY69" fmla="*/ 1168676 h 2039827"/>
              <a:gd name="connsiteX70" fmla="*/ 2153422 w 2178135"/>
              <a:gd name="connsiteY70" fmla="*/ 1131605 h 2039827"/>
              <a:gd name="connsiteX71" fmla="*/ 2147244 w 2178135"/>
              <a:gd name="connsiteY71" fmla="*/ 1094535 h 2039827"/>
              <a:gd name="connsiteX72" fmla="*/ 2159600 w 2178135"/>
              <a:gd name="connsiteY72" fmla="*/ 1051286 h 2039827"/>
              <a:gd name="connsiteX73" fmla="*/ 2178135 w 2178135"/>
              <a:gd name="connsiteY73" fmla="*/ 1014216 h 2039827"/>
              <a:gd name="connsiteX74" fmla="*/ 2141065 w 2178135"/>
              <a:gd name="connsiteY74" fmla="*/ 903005 h 2039827"/>
              <a:gd name="connsiteX75" fmla="*/ 2110173 w 2178135"/>
              <a:gd name="connsiteY75" fmla="*/ 872113 h 2039827"/>
              <a:gd name="connsiteX76" fmla="*/ 2085460 w 2178135"/>
              <a:gd name="connsiteY76" fmla="*/ 791795 h 2039827"/>
              <a:gd name="connsiteX77" fmla="*/ 2073103 w 2178135"/>
              <a:gd name="connsiteY77" fmla="*/ 618800 h 2039827"/>
              <a:gd name="connsiteX78" fmla="*/ 2060746 w 2178135"/>
              <a:gd name="connsiteY78" fmla="*/ 519946 h 2039827"/>
              <a:gd name="connsiteX79" fmla="*/ 2042211 w 2178135"/>
              <a:gd name="connsiteY79" fmla="*/ 501411 h 2039827"/>
              <a:gd name="connsiteX80" fmla="*/ 1992784 w 2178135"/>
              <a:gd name="connsiteY80" fmla="*/ 526124 h 2039827"/>
              <a:gd name="connsiteX81" fmla="*/ 1881573 w 2178135"/>
              <a:gd name="connsiteY81" fmla="*/ 470519 h 2039827"/>
              <a:gd name="connsiteX82" fmla="*/ 1844503 w 2178135"/>
              <a:gd name="connsiteY82" fmla="*/ 470519 h 2039827"/>
              <a:gd name="connsiteX83" fmla="*/ 1776541 w 2178135"/>
              <a:gd name="connsiteY83" fmla="*/ 464340 h 2039827"/>
              <a:gd name="connsiteX84" fmla="*/ 1702400 w 2178135"/>
              <a:gd name="connsiteY84" fmla="*/ 519946 h 2039827"/>
              <a:gd name="connsiteX85" fmla="*/ 1640617 w 2178135"/>
              <a:gd name="connsiteY85" fmla="*/ 489054 h 2039827"/>
              <a:gd name="connsiteX86" fmla="*/ 1603546 w 2178135"/>
              <a:gd name="connsiteY86" fmla="*/ 501411 h 2039827"/>
              <a:gd name="connsiteX87" fmla="*/ 1603608 w 2178135"/>
              <a:gd name="connsiteY87" fmla="*/ 489288 h 2039827"/>
              <a:gd name="connsiteX88" fmla="*/ 1529406 w 2178135"/>
              <a:gd name="connsiteY88" fmla="*/ 495232 h 2039827"/>
              <a:gd name="connsiteX89" fmla="*/ 1498514 w 2178135"/>
              <a:gd name="connsiteY89" fmla="*/ 470519 h 2039827"/>
              <a:gd name="connsiteX90" fmla="*/ 1449087 w 2178135"/>
              <a:gd name="connsiteY90" fmla="*/ 489054 h 2039827"/>
              <a:gd name="connsiteX91" fmla="*/ 1372168 w 2178135"/>
              <a:gd name="connsiteY91" fmla="*/ 433707 h 2039827"/>
              <a:gd name="connsiteX92" fmla="*/ 1300806 w 2178135"/>
              <a:gd name="connsiteY92" fmla="*/ 451984 h 2039827"/>
              <a:gd name="connsiteX93" fmla="*/ 1269914 w 2178135"/>
              <a:gd name="connsiteY93" fmla="*/ 439627 h 2039827"/>
              <a:gd name="connsiteX94" fmla="*/ 1250011 w 2178135"/>
              <a:gd name="connsiteY94" fmla="*/ 432292 h 2039827"/>
              <a:gd name="connsiteX95" fmla="*/ 1220487 w 2178135"/>
              <a:gd name="connsiteY95" fmla="*/ 396378 h 2039827"/>
              <a:gd name="connsiteX96" fmla="*/ 1153535 w 2178135"/>
              <a:gd name="connsiteY96" fmla="*/ 390478 h 2039827"/>
              <a:gd name="connsiteX97" fmla="*/ 1115454 w 2178135"/>
              <a:gd name="connsiteY97" fmla="*/ 371665 h 2039827"/>
              <a:gd name="connsiteX98" fmla="*/ 1096919 w 2178135"/>
              <a:gd name="connsiteY98" fmla="*/ 371665 h 2039827"/>
              <a:gd name="connsiteX99" fmla="*/ 1084562 w 2178135"/>
              <a:gd name="connsiteY99" fmla="*/ 359308 h 2039827"/>
              <a:gd name="connsiteX100" fmla="*/ 1072206 w 2178135"/>
              <a:gd name="connsiteY100" fmla="*/ 353130 h 2039827"/>
              <a:gd name="connsiteX101" fmla="*/ 1077975 w 2178135"/>
              <a:gd name="connsiteY101" fmla="*/ 10936 h 2039827"/>
              <a:gd name="connsiteX102" fmla="*/ 608423 w 2178135"/>
              <a:gd name="connsiteY102" fmla="*/ 0 h 2039827"/>
              <a:gd name="connsiteX0" fmla="*/ 608423 w 2178135"/>
              <a:gd name="connsiteY0" fmla="*/ 0 h 2039827"/>
              <a:gd name="connsiteX1" fmla="*/ 590292 w 2178135"/>
              <a:gd name="connsiteY1" fmla="*/ 872113 h 2039827"/>
              <a:gd name="connsiteX2" fmla="*/ 6178 w 2178135"/>
              <a:gd name="connsiteY2" fmla="*/ 841299 h 2039827"/>
              <a:gd name="connsiteX3" fmla="*/ 0 w 2178135"/>
              <a:gd name="connsiteY3" fmla="*/ 880734 h 2039827"/>
              <a:gd name="connsiteX4" fmla="*/ 58952 w 2178135"/>
              <a:gd name="connsiteY4" fmla="*/ 921540 h 2039827"/>
              <a:gd name="connsiteX5" fmla="*/ 114557 w 2178135"/>
              <a:gd name="connsiteY5" fmla="*/ 989503 h 2039827"/>
              <a:gd name="connsiteX6" fmla="*/ 163984 w 2178135"/>
              <a:gd name="connsiteY6" fmla="*/ 1063643 h 2039827"/>
              <a:gd name="connsiteX7" fmla="*/ 213411 w 2178135"/>
              <a:gd name="connsiteY7" fmla="*/ 1076000 h 2039827"/>
              <a:gd name="connsiteX8" fmla="*/ 250481 w 2178135"/>
              <a:gd name="connsiteY8" fmla="*/ 1125427 h 2039827"/>
              <a:gd name="connsiteX9" fmla="*/ 281373 w 2178135"/>
              <a:gd name="connsiteY9" fmla="*/ 1174854 h 2039827"/>
              <a:gd name="connsiteX10" fmla="*/ 306087 w 2178135"/>
              <a:gd name="connsiteY10" fmla="*/ 1230459 h 2039827"/>
              <a:gd name="connsiteX11" fmla="*/ 318444 w 2178135"/>
              <a:gd name="connsiteY11" fmla="*/ 1304600 h 2039827"/>
              <a:gd name="connsiteX12" fmla="*/ 336979 w 2178135"/>
              <a:gd name="connsiteY12" fmla="*/ 1329313 h 2039827"/>
              <a:gd name="connsiteX13" fmla="*/ 442011 w 2178135"/>
              <a:gd name="connsiteY13" fmla="*/ 1409632 h 2039827"/>
              <a:gd name="connsiteX14" fmla="*/ 448190 w 2178135"/>
              <a:gd name="connsiteY14" fmla="*/ 1384919 h 2039827"/>
              <a:gd name="connsiteX15" fmla="*/ 584114 w 2178135"/>
              <a:gd name="connsiteY15" fmla="*/ 1452881 h 2039827"/>
              <a:gd name="connsiteX16" fmla="*/ 584114 w 2178135"/>
              <a:gd name="connsiteY16" fmla="*/ 1452881 h 2039827"/>
              <a:gd name="connsiteX17" fmla="*/ 615006 w 2178135"/>
              <a:gd name="connsiteY17" fmla="*/ 1397276 h 2039827"/>
              <a:gd name="connsiteX18" fmla="*/ 670611 w 2178135"/>
              <a:gd name="connsiteY18" fmla="*/ 1329313 h 2039827"/>
              <a:gd name="connsiteX19" fmla="*/ 738573 w 2178135"/>
              <a:gd name="connsiteY19" fmla="*/ 1310778 h 2039827"/>
              <a:gd name="connsiteX20" fmla="*/ 831249 w 2178135"/>
              <a:gd name="connsiteY20" fmla="*/ 1323135 h 2039827"/>
              <a:gd name="connsiteX21" fmla="*/ 911568 w 2178135"/>
              <a:gd name="connsiteY21" fmla="*/ 1384919 h 2039827"/>
              <a:gd name="connsiteX22" fmla="*/ 967173 w 2178135"/>
              <a:gd name="connsiteY22" fmla="*/ 1465238 h 2039827"/>
              <a:gd name="connsiteX23" fmla="*/ 1022779 w 2178135"/>
              <a:gd name="connsiteY23" fmla="*/ 1545557 h 2039827"/>
              <a:gd name="connsiteX24" fmla="*/ 1072206 w 2178135"/>
              <a:gd name="connsiteY24" fmla="*/ 1632054 h 2039827"/>
              <a:gd name="connsiteX25" fmla="*/ 1127811 w 2178135"/>
              <a:gd name="connsiteY25" fmla="*/ 1700016 h 2039827"/>
              <a:gd name="connsiteX26" fmla="*/ 1177238 w 2178135"/>
              <a:gd name="connsiteY26" fmla="*/ 1737086 h 2039827"/>
              <a:gd name="connsiteX27" fmla="*/ 1208130 w 2178135"/>
              <a:gd name="connsiteY27" fmla="*/ 1817405 h 2039827"/>
              <a:gd name="connsiteX28" fmla="*/ 1232844 w 2178135"/>
              <a:gd name="connsiteY28" fmla="*/ 1879189 h 2039827"/>
              <a:gd name="connsiteX29" fmla="*/ 1257557 w 2178135"/>
              <a:gd name="connsiteY29" fmla="*/ 1940973 h 2039827"/>
              <a:gd name="connsiteX30" fmla="*/ 1288449 w 2178135"/>
              <a:gd name="connsiteY30" fmla="*/ 1984222 h 2039827"/>
              <a:gd name="connsiteX31" fmla="*/ 1350233 w 2178135"/>
              <a:gd name="connsiteY31" fmla="*/ 2008935 h 2039827"/>
              <a:gd name="connsiteX32" fmla="*/ 1449087 w 2178135"/>
              <a:gd name="connsiteY32" fmla="*/ 2027470 h 2039827"/>
              <a:gd name="connsiteX33" fmla="*/ 1523227 w 2178135"/>
              <a:gd name="connsiteY33" fmla="*/ 2039827 h 2039827"/>
              <a:gd name="connsiteX34" fmla="*/ 1615903 w 2178135"/>
              <a:gd name="connsiteY34" fmla="*/ 2039827 h 2039827"/>
              <a:gd name="connsiteX35" fmla="*/ 1597368 w 2178135"/>
              <a:gd name="connsiteY35" fmla="*/ 2027470 h 2039827"/>
              <a:gd name="connsiteX36" fmla="*/ 1597368 w 2178135"/>
              <a:gd name="connsiteY36" fmla="*/ 2027470 h 2039827"/>
              <a:gd name="connsiteX37" fmla="*/ 1585011 w 2178135"/>
              <a:gd name="connsiteY37" fmla="*/ 1959508 h 2039827"/>
              <a:gd name="connsiteX38" fmla="*/ 1560298 w 2178135"/>
              <a:gd name="connsiteY38" fmla="*/ 1928616 h 2039827"/>
              <a:gd name="connsiteX39" fmla="*/ 1554119 w 2178135"/>
              <a:gd name="connsiteY39" fmla="*/ 1891546 h 2039827"/>
              <a:gd name="connsiteX40" fmla="*/ 1535584 w 2178135"/>
              <a:gd name="connsiteY40" fmla="*/ 1848297 h 2039827"/>
              <a:gd name="connsiteX41" fmla="*/ 1547941 w 2178135"/>
              <a:gd name="connsiteY41" fmla="*/ 1817405 h 2039827"/>
              <a:gd name="connsiteX42" fmla="*/ 1541762 w 2178135"/>
              <a:gd name="connsiteY42" fmla="*/ 1798870 h 2039827"/>
              <a:gd name="connsiteX43" fmla="*/ 1498514 w 2178135"/>
              <a:gd name="connsiteY43" fmla="*/ 1774157 h 2039827"/>
              <a:gd name="connsiteX44" fmla="*/ 1547941 w 2178135"/>
              <a:gd name="connsiteY44" fmla="*/ 1743265 h 2039827"/>
              <a:gd name="connsiteX45" fmla="*/ 1554119 w 2178135"/>
              <a:gd name="connsiteY45" fmla="*/ 1730908 h 2039827"/>
              <a:gd name="connsiteX46" fmla="*/ 1560298 w 2178135"/>
              <a:gd name="connsiteY46" fmla="*/ 1700016 h 2039827"/>
              <a:gd name="connsiteX47" fmla="*/ 1535584 w 2178135"/>
              <a:gd name="connsiteY47" fmla="*/ 1669124 h 2039827"/>
              <a:gd name="connsiteX48" fmla="*/ 1560298 w 2178135"/>
              <a:gd name="connsiteY48" fmla="*/ 1669124 h 2039827"/>
              <a:gd name="connsiteX49" fmla="*/ 1585011 w 2178135"/>
              <a:gd name="connsiteY49" fmla="*/ 1650589 h 2039827"/>
              <a:gd name="connsiteX50" fmla="*/ 1560298 w 2178135"/>
              <a:gd name="connsiteY50" fmla="*/ 1594984 h 2039827"/>
              <a:gd name="connsiteX51" fmla="*/ 1560298 w 2178135"/>
              <a:gd name="connsiteY51" fmla="*/ 1594984 h 2039827"/>
              <a:gd name="connsiteX52" fmla="*/ 1628260 w 2178135"/>
              <a:gd name="connsiteY52" fmla="*/ 1594984 h 2039827"/>
              <a:gd name="connsiteX53" fmla="*/ 1640617 w 2178135"/>
              <a:gd name="connsiteY53" fmla="*/ 1582627 h 2039827"/>
              <a:gd name="connsiteX54" fmla="*/ 1659152 w 2178135"/>
              <a:gd name="connsiteY54" fmla="*/ 1533200 h 2039827"/>
              <a:gd name="connsiteX55" fmla="*/ 1696222 w 2178135"/>
              <a:gd name="connsiteY55" fmla="*/ 1533200 h 2039827"/>
              <a:gd name="connsiteX56" fmla="*/ 1714757 w 2178135"/>
              <a:gd name="connsiteY56" fmla="*/ 1533200 h 2039827"/>
              <a:gd name="connsiteX57" fmla="*/ 1714757 w 2178135"/>
              <a:gd name="connsiteY57" fmla="*/ 1502308 h 2039827"/>
              <a:gd name="connsiteX58" fmla="*/ 1708579 w 2178135"/>
              <a:gd name="connsiteY58" fmla="*/ 1483773 h 2039827"/>
              <a:gd name="connsiteX59" fmla="*/ 1708579 w 2178135"/>
              <a:gd name="connsiteY59" fmla="*/ 1483773 h 2039827"/>
              <a:gd name="connsiteX60" fmla="*/ 1782719 w 2178135"/>
              <a:gd name="connsiteY60" fmla="*/ 1489951 h 2039827"/>
              <a:gd name="connsiteX61" fmla="*/ 1844503 w 2178135"/>
              <a:gd name="connsiteY61" fmla="*/ 1477595 h 2039827"/>
              <a:gd name="connsiteX62" fmla="*/ 1906287 w 2178135"/>
              <a:gd name="connsiteY62" fmla="*/ 1421989 h 2039827"/>
              <a:gd name="connsiteX63" fmla="*/ 1906287 w 2178135"/>
              <a:gd name="connsiteY63" fmla="*/ 1378740 h 2039827"/>
              <a:gd name="connsiteX64" fmla="*/ 1955714 w 2178135"/>
              <a:gd name="connsiteY64" fmla="*/ 1347849 h 2039827"/>
              <a:gd name="connsiteX65" fmla="*/ 1949535 w 2178135"/>
              <a:gd name="connsiteY65" fmla="*/ 1286065 h 2039827"/>
              <a:gd name="connsiteX66" fmla="*/ 1992784 w 2178135"/>
              <a:gd name="connsiteY66" fmla="*/ 1267530 h 2039827"/>
              <a:gd name="connsiteX67" fmla="*/ 2017498 w 2178135"/>
              <a:gd name="connsiteY67" fmla="*/ 1329313 h 2039827"/>
              <a:gd name="connsiteX68" fmla="*/ 2153422 w 2178135"/>
              <a:gd name="connsiteY68" fmla="*/ 1255173 h 2039827"/>
              <a:gd name="connsiteX69" fmla="*/ 2165779 w 2178135"/>
              <a:gd name="connsiteY69" fmla="*/ 1168676 h 2039827"/>
              <a:gd name="connsiteX70" fmla="*/ 2153422 w 2178135"/>
              <a:gd name="connsiteY70" fmla="*/ 1131605 h 2039827"/>
              <a:gd name="connsiteX71" fmla="*/ 2147244 w 2178135"/>
              <a:gd name="connsiteY71" fmla="*/ 1094535 h 2039827"/>
              <a:gd name="connsiteX72" fmla="*/ 2159600 w 2178135"/>
              <a:gd name="connsiteY72" fmla="*/ 1051286 h 2039827"/>
              <a:gd name="connsiteX73" fmla="*/ 2178135 w 2178135"/>
              <a:gd name="connsiteY73" fmla="*/ 1014216 h 2039827"/>
              <a:gd name="connsiteX74" fmla="*/ 2141065 w 2178135"/>
              <a:gd name="connsiteY74" fmla="*/ 903005 h 2039827"/>
              <a:gd name="connsiteX75" fmla="*/ 2110173 w 2178135"/>
              <a:gd name="connsiteY75" fmla="*/ 872113 h 2039827"/>
              <a:gd name="connsiteX76" fmla="*/ 2085460 w 2178135"/>
              <a:gd name="connsiteY76" fmla="*/ 791795 h 2039827"/>
              <a:gd name="connsiteX77" fmla="*/ 2073103 w 2178135"/>
              <a:gd name="connsiteY77" fmla="*/ 618800 h 2039827"/>
              <a:gd name="connsiteX78" fmla="*/ 2060746 w 2178135"/>
              <a:gd name="connsiteY78" fmla="*/ 519946 h 2039827"/>
              <a:gd name="connsiteX79" fmla="*/ 2042211 w 2178135"/>
              <a:gd name="connsiteY79" fmla="*/ 501411 h 2039827"/>
              <a:gd name="connsiteX80" fmla="*/ 1992784 w 2178135"/>
              <a:gd name="connsiteY80" fmla="*/ 526124 h 2039827"/>
              <a:gd name="connsiteX81" fmla="*/ 1881573 w 2178135"/>
              <a:gd name="connsiteY81" fmla="*/ 470519 h 2039827"/>
              <a:gd name="connsiteX82" fmla="*/ 1844503 w 2178135"/>
              <a:gd name="connsiteY82" fmla="*/ 470519 h 2039827"/>
              <a:gd name="connsiteX83" fmla="*/ 1776541 w 2178135"/>
              <a:gd name="connsiteY83" fmla="*/ 464340 h 2039827"/>
              <a:gd name="connsiteX84" fmla="*/ 1702400 w 2178135"/>
              <a:gd name="connsiteY84" fmla="*/ 519946 h 2039827"/>
              <a:gd name="connsiteX85" fmla="*/ 1640617 w 2178135"/>
              <a:gd name="connsiteY85" fmla="*/ 489054 h 2039827"/>
              <a:gd name="connsiteX86" fmla="*/ 1603546 w 2178135"/>
              <a:gd name="connsiteY86" fmla="*/ 501411 h 2039827"/>
              <a:gd name="connsiteX87" fmla="*/ 1603608 w 2178135"/>
              <a:gd name="connsiteY87" fmla="*/ 489288 h 2039827"/>
              <a:gd name="connsiteX88" fmla="*/ 1529406 w 2178135"/>
              <a:gd name="connsiteY88" fmla="*/ 495232 h 2039827"/>
              <a:gd name="connsiteX89" fmla="*/ 1498514 w 2178135"/>
              <a:gd name="connsiteY89" fmla="*/ 470519 h 2039827"/>
              <a:gd name="connsiteX90" fmla="*/ 1451525 w 2178135"/>
              <a:gd name="connsiteY90" fmla="*/ 481697 h 2039827"/>
              <a:gd name="connsiteX91" fmla="*/ 1372168 w 2178135"/>
              <a:gd name="connsiteY91" fmla="*/ 433707 h 2039827"/>
              <a:gd name="connsiteX92" fmla="*/ 1300806 w 2178135"/>
              <a:gd name="connsiteY92" fmla="*/ 451984 h 2039827"/>
              <a:gd name="connsiteX93" fmla="*/ 1269914 w 2178135"/>
              <a:gd name="connsiteY93" fmla="*/ 439627 h 2039827"/>
              <a:gd name="connsiteX94" fmla="*/ 1250011 w 2178135"/>
              <a:gd name="connsiteY94" fmla="*/ 432292 h 2039827"/>
              <a:gd name="connsiteX95" fmla="*/ 1220487 w 2178135"/>
              <a:gd name="connsiteY95" fmla="*/ 396378 h 2039827"/>
              <a:gd name="connsiteX96" fmla="*/ 1153535 w 2178135"/>
              <a:gd name="connsiteY96" fmla="*/ 390478 h 2039827"/>
              <a:gd name="connsiteX97" fmla="*/ 1115454 w 2178135"/>
              <a:gd name="connsiteY97" fmla="*/ 371665 h 2039827"/>
              <a:gd name="connsiteX98" fmla="*/ 1096919 w 2178135"/>
              <a:gd name="connsiteY98" fmla="*/ 371665 h 2039827"/>
              <a:gd name="connsiteX99" fmla="*/ 1084562 w 2178135"/>
              <a:gd name="connsiteY99" fmla="*/ 359308 h 2039827"/>
              <a:gd name="connsiteX100" fmla="*/ 1072206 w 2178135"/>
              <a:gd name="connsiteY100" fmla="*/ 353130 h 2039827"/>
              <a:gd name="connsiteX101" fmla="*/ 1077975 w 2178135"/>
              <a:gd name="connsiteY101" fmla="*/ 10936 h 2039827"/>
              <a:gd name="connsiteX102" fmla="*/ 608423 w 2178135"/>
              <a:gd name="connsiteY102" fmla="*/ 0 h 2039827"/>
              <a:gd name="connsiteX0" fmla="*/ 608423 w 2178135"/>
              <a:gd name="connsiteY0" fmla="*/ 0 h 2039827"/>
              <a:gd name="connsiteX1" fmla="*/ 590292 w 2178135"/>
              <a:gd name="connsiteY1" fmla="*/ 872113 h 2039827"/>
              <a:gd name="connsiteX2" fmla="*/ 6178 w 2178135"/>
              <a:gd name="connsiteY2" fmla="*/ 841299 h 2039827"/>
              <a:gd name="connsiteX3" fmla="*/ 0 w 2178135"/>
              <a:gd name="connsiteY3" fmla="*/ 880734 h 2039827"/>
              <a:gd name="connsiteX4" fmla="*/ 58952 w 2178135"/>
              <a:gd name="connsiteY4" fmla="*/ 921540 h 2039827"/>
              <a:gd name="connsiteX5" fmla="*/ 114557 w 2178135"/>
              <a:gd name="connsiteY5" fmla="*/ 989503 h 2039827"/>
              <a:gd name="connsiteX6" fmla="*/ 163984 w 2178135"/>
              <a:gd name="connsiteY6" fmla="*/ 1063643 h 2039827"/>
              <a:gd name="connsiteX7" fmla="*/ 213411 w 2178135"/>
              <a:gd name="connsiteY7" fmla="*/ 1076000 h 2039827"/>
              <a:gd name="connsiteX8" fmla="*/ 250481 w 2178135"/>
              <a:gd name="connsiteY8" fmla="*/ 1125427 h 2039827"/>
              <a:gd name="connsiteX9" fmla="*/ 281373 w 2178135"/>
              <a:gd name="connsiteY9" fmla="*/ 1174854 h 2039827"/>
              <a:gd name="connsiteX10" fmla="*/ 306087 w 2178135"/>
              <a:gd name="connsiteY10" fmla="*/ 1230459 h 2039827"/>
              <a:gd name="connsiteX11" fmla="*/ 318444 w 2178135"/>
              <a:gd name="connsiteY11" fmla="*/ 1304600 h 2039827"/>
              <a:gd name="connsiteX12" fmla="*/ 336979 w 2178135"/>
              <a:gd name="connsiteY12" fmla="*/ 1329313 h 2039827"/>
              <a:gd name="connsiteX13" fmla="*/ 442011 w 2178135"/>
              <a:gd name="connsiteY13" fmla="*/ 1409632 h 2039827"/>
              <a:gd name="connsiteX14" fmla="*/ 448190 w 2178135"/>
              <a:gd name="connsiteY14" fmla="*/ 1384919 h 2039827"/>
              <a:gd name="connsiteX15" fmla="*/ 584114 w 2178135"/>
              <a:gd name="connsiteY15" fmla="*/ 1452881 h 2039827"/>
              <a:gd name="connsiteX16" fmla="*/ 584114 w 2178135"/>
              <a:gd name="connsiteY16" fmla="*/ 1452881 h 2039827"/>
              <a:gd name="connsiteX17" fmla="*/ 615006 w 2178135"/>
              <a:gd name="connsiteY17" fmla="*/ 1397276 h 2039827"/>
              <a:gd name="connsiteX18" fmla="*/ 670611 w 2178135"/>
              <a:gd name="connsiteY18" fmla="*/ 1329313 h 2039827"/>
              <a:gd name="connsiteX19" fmla="*/ 738573 w 2178135"/>
              <a:gd name="connsiteY19" fmla="*/ 1310778 h 2039827"/>
              <a:gd name="connsiteX20" fmla="*/ 831249 w 2178135"/>
              <a:gd name="connsiteY20" fmla="*/ 1323135 h 2039827"/>
              <a:gd name="connsiteX21" fmla="*/ 911568 w 2178135"/>
              <a:gd name="connsiteY21" fmla="*/ 1384919 h 2039827"/>
              <a:gd name="connsiteX22" fmla="*/ 967173 w 2178135"/>
              <a:gd name="connsiteY22" fmla="*/ 1465238 h 2039827"/>
              <a:gd name="connsiteX23" fmla="*/ 1022779 w 2178135"/>
              <a:gd name="connsiteY23" fmla="*/ 1545557 h 2039827"/>
              <a:gd name="connsiteX24" fmla="*/ 1072206 w 2178135"/>
              <a:gd name="connsiteY24" fmla="*/ 1632054 h 2039827"/>
              <a:gd name="connsiteX25" fmla="*/ 1127811 w 2178135"/>
              <a:gd name="connsiteY25" fmla="*/ 1700016 h 2039827"/>
              <a:gd name="connsiteX26" fmla="*/ 1177238 w 2178135"/>
              <a:gd name="connsiteY26" fmla="*/ 1737086 h 2039827"/>
              <a:gd name="connsiteX27" fmla="*/ 1208130 w 2178135"/>
              <a:gd name="connsiteY27" fmla="*/ 1817405 h 2039827"/>
              <a:gd name="connsiteX28" fmla="*/ 1232844 w 2178135"/>
              <a:gd name="connsiteY28" fmla="*/ 1879189 h 2039827"/>
              <a:gd name="connsiteX29" fmla="*/ 1257557 w 2178135"/>
              <a:gd name="connsiteY29" fmla="*/ 1940973 h 2039827"/>
              <a:gd name="connsiteX30" fmla="*/ 1288449 w 2178135"/>
              <a:gd name="connsiteY30" fmla="*/ 1984222 h 2039827"/>
              <a:gd name="connsiteX31" fmla="*/ 1350233 w 2178135"/>
              <a:gd name="connsiteY31" fmla="*/ 2008935 h 2039827"/>
              <a:gd name="connsiteX32" fmla="*/ 1449087 w 2178135"/>
              <a:gd name="connsiteY32" fmla="*/ 2027470 h 2039827"/>
              <a:gd name="connsiteX33" fmla="*/ 1523227 w 2178135"/>
              <a:gd name="connsiteY33" fmla="*/ 2039827 h 2039827"/>
              <a:gd name="connsiteX34" fmla="*/ 1615903 w 2178135"/>
              <a:gd name="connsiteY34" fmla="*/ 2039827 h 2039827"/>
              <a:gd name="connsiteX35" fmla="*/ 1597368 w 2178135"/>
              <a:gd name="connsiteY35" fmla="*/ 2027470 h 2039827"/>
              <a:gd name="connsiteX36" fmla="*/ 1597368 w 2178135"/>
              <a:gd name="connsiteY36" fmla="*/ 2027470 h 2039827"/>
              <a:gd name="connsiteX37" fmla="*/ 1585011 w 2178135"/>
              <a:gd name="connsiteY37" fmla="*/ 1959508 h 2039827"/>
              <a:gd name="connsiteX38" fmla="*/ 1560298 w 2178135"/>
              <a:gd name="connsiteY38" fmla="*/ 1928616 h 2039827"/>
              <a:gd name="connsiteX39" fmla="*/ 1554119 w 2178135"/>
              <a:gd name="connsiteY39" fmla="*/ 1891546 h 2039827"/>
              <a:gd name="connsiteX40" fmla="*/ 1535584 w 2178135"/>
              <a:gd name="connsiteY40" fmla="*/ 1848297 h 2039827"/>
              <a:gd name="connsiteX41" fmla="*/ 1547941 w 2178135"/>
              <a:gd name="connsiteY41" fmla="*/ 1817405 h 2039827"/>
              <a:gd name="connsiteX42" fmla="*/ 1541762 w 2178135"/>
              <a:gd name="connsiteY42" fmla="*/ 1798870 h 2039827"/>
              <a:gd name="connsiteX43" fmla="*/ 1498514 w 2178135"/>
              <a:gd name="connsiteY43" fmla="*/ 1774157 h 2039827"/>
              <a:gd name="connsiteX44" fmla="*/ 1547941 w 2178135"/>
              <a:gd name="connsiteY44" fmla="*/ 1743265 h 2039827"/>
              <a:gd name="connsiteX45" fmla="*/ 1554119 w 2178135"/>
              <a:gd name="connsiteY45" fmla="*/ 1730908 h 2039827"/>
              <a:gd name="connsiteX46" fmla="*/ 1560298 w 2178135"/>
              <a:gd name="connsiteY46" fmla="*/ 1700016 h 2039827"/>
              <a:gd name="connsiteX47" fmla="*/ 1535584 w 2178135"/>
              <a:gd name="connsiteY47" fmla="*/ 1669124 h 2039827"/>
              <a:gd name="connsiteX48" fmla="*/ 1560298 w 2178135"/>
              <a:gd name="connsiteY48" fmla="*/ 1669124 h 2039827"/>
              <a:gd name="connsiteX49" fmla="*/ 1585011 w 2178135"/>
              <a:gd name="connsiteY49" fmla="*/ 1650589 h 2039827"/>
              <a:gd name="connsiteX50" fmla="*/ 1560298 w 2178135"/>
              <a:gd name="connsiteY50" fmla="*/ 1594984 h 2039827"/>
              <a:gd name="connsiteX51" fmla="*/ 1560298 w 2178135"/>
              <a:gd name="connsiteY51" fmla="*/ 1594984 h 2039827"/>
              <a:gd name="connsiteX52" fmla="*/ 1628260 w 2178135"/>
              <a:gd name="connsiteY52" fmla="*/ 1594984 h 2039827"/>
              <a:gd name="connsiteX53" fmla="*/ 1640617 w 2178135"/>
              <a:gd name="connsiteY53" fmla="*/ 1582627 h 2039827"/>
              <a:gd name="connsiteX54" fmla="*/ 1659152 w 2178135"/>
              <a:gd name="connsiteY54" fmla="*/ 1533200 h 2039827"/>
              <a:gd name="connsiteX55" fmla="*/ 1696222 w 2178135"/>
              <a:gd name="connsiteY55" fmla="*/ 1533200 h 2039827"/>
              <a:gd name="connsiteX56" fmla="*/ 1714757 w 2178135"/>
              <a:gd name="connsiteY56" fmla="*/ 1533200 h 2039827"/>
              <a:gd name="connsiteX57" fmla="*/ 1714757 w 2178135"/>
              <a:gd name="connsiteY57" fmla="*/ 1502308 h 2039827"/>
              <a:gd name="connsiteX58" fmla="*/ 1708579 w 2178135"/>
              <a:gd name="connsiteY58" fmla="*/ 1483773 h 2039827"/>
              <a:gd name="connsiteX59" fmla="*/ 1708579 w 2178135"/>
              <a:gd name="connsiteY59" fmla="*/ 1483773 h 2039827"/>
              <a:gd name="connsiteX60" fmla="*/ 1782719 w 2178135"/>
              <a:gd name="connsiteY60" fmla="*/ 1489951 h 2039827"/>
              <a:gd name="connsiteX61" fmla="*/ 1844503 w 2178135"/>
              <a:gd name="connsiteY61" fmla="*/ 1477595 h 2039827"/>
              <a:gd name="connsiteX62" fmla="*/ 1906287 w 2178135"/>
              <a:gd name="connsiteY62" fmla="*/ 1421989 h 2039827"/>
              <a:gd name="connsiteX63" fmla="*/ 1906287 w 2178135"/>
              <a:gd name="connsiteY63" fmla="*/ 1378740 h 2039827"/>
              <a:gd name="connsiteX64" fmla="*/ 1955714 w 2178135"/>
              <a:gd name="connsiteY64" fmla="*/ 1347849 h 2039827"/>
              <a:gd name="connsiteX65" fmla="*/ 1949535 w 2178135"/>
              <a:gd name="connsiteY65" fmla="*/ 1286065 h 2039827"/>
              <a:gd name="connsiteX66" fmla="*/ 1992784 w 2178135"/>
              <a:gd name="connsiteY66" fmla="*/ 1267530 h 2039827"/>
              <a:gd name="connsiteX67" fmla="*/ 2017498 w 2178135"/>
              <a:gd name="connsiteY67" fmla="*/ 1329313 h 2039827"/>
              <a:gd name="connsiteX68" fmla="*/ 2153422 w 2178135"/>
              <a:gd name="connsiteY68" fmla="*/ 1255173 h 2039827"/>
              <a:gd name="connsiteX69" fmla="*/ 2165779 w 2178135"/>
              <a:gd name="connsiteY69" fmla="*/ 1168676 h 2039827"/>
              <a:gd name="connsiteX70" fmla="*/ 2153422 w 2178135"/>
              <a:gd name="connsiteY70" fmla="*/ 1131605 h 2039827"/>
              <a:gd name="connsiteX71" fmla="*/ 2147244 w 2178135"/>
              <a:gd name="connsiteY71" fmla="*/ 1094535 h 2039827"/>
              <a:gd name="connsiteX72" fmla="*/ 2159600 w 2178135"/>
              <a:gd name="connsiteY72" fmla="*/ 1051286 h 2039827"/>
              <a:gd name="connsiteX73" fmla="*/ 2178135 w 2178135"/>
              <a:gd name="connsiteY73" fmla="*/ 1014216 h 2039827"/>
              <a:gd name="connsiteX74" fmla="*/ 2141065 w 2178135"/>
              <a:gd name="connsiteY74" fmla="*/ 903005 h 2039827"/>
              <a:gd name="connsiteX75" fmla="*/ 2110173 w 2178135"/>
              <a:gd name="connsiteY75" fmla="*/ 872113 h 2039827"/>
              <a:gd name="connsiteX76" fmla="*/ 2085460 w 2178135"/>
              <a:gd name="connsiteY76" fmla="*/ 791795 h 2039827"/>
              <a:gd name="connsiteX77" fmla="*/ 2073103 w 2178135"/>
              <a:gd name="connsiteY77" fmla="*/ 618800 h 2039827"/>
              <a:gd name="connsiteX78" fmla="*/ 2060746 w 2178135"/>
              <a:gd name="connsiteY78" fmla="*/ 519946 h 2039827"/>
              <a:gd name="connsiteX79" fmla="*/ 2042211 w 2178135"/>
              <a:gd name="connsiteY79" fmla="*/ 501411 h 2039827"/>
              <a:gd name="connsiteX80" fmla="*/ 1992784 w 2178135"/>
              <a:gd name="connsiteY80" fmla="*/ 526124 h 2039827"/>
              <a:gd name="connsiteX81" fmla="*/ 1884028 w 2178135"/>
              <a:gd name="connsiteY81" fmla="*/ 453649 h 2039827"/>
              <a:gd name="connsiteX82" fmla="*/ 1844503 w 2178135"/>
              <a:gd name="connsiteY82" fmla="*/ 470519 h 2039827"/>
              <a:gd name="connsiteX83" fmla="*/ 1776541 w 2178135"/>
              <a:gd name="connsiteY83" fmla="*/ 464340 h 2039827"/>
              <a:gd name="connsiteX84" fmla="*/ 1702400 w 2178135"/>
              <a:gd name="connsiteY84" fmla="*/ 519946 h 2039827"/>
              <a:gd name="connsiteX85" fmla="*/ 1640617 w 2178135"/>
              <a:gd name="connsiteY85" fmla="*/ 489054 h 2039827"/>
              <a:gd name="connsiteX86" fmla="*/ 1603546 w 2178135"/>
              <a:gd name="connsiteY86" fmla="*/ 501411 h 2039827"/>
              <a:gd name="connsiteX87" fmla="*/ 1603608 w 2178135"/>
              <a:gd name="connsiteY87" fmla="*/ 489288 h 2039827"/>
              <a:gd name="connsiteX88" fmla="*/ 1529406 w 2178135"/>
              <a:gd name="connsiteY88" fmla="*/ 495232 h 2039827"/>
              <a:gd name="connsiteX89" fmla="*/ 1498514 w 2178135"/>
              <a:gd name="connsiteY89" fmla="*/ 470519 h 2039827"/>
              <a:gd name="connsiteX90" fmla="*/ 1451525 w 2178135"/>
              <a:gd name="connsiteY90" fmla="*/ 481697 h 2039827"/>
              <a:gd name="connsiteX91" fmla="*/ 1372168 w 2178135"/>
              <a:gd name="connsiteY91" fmla="*/ 433707 h 2039827"/>
              <a:gd name="connsiteX92" fmla="*/ 1300806 w 2178135"/>
              <a:gd name="connsiteY92" fmla="*/ 451984 h 2039827"/>
              <a:gd name="connsiteX93" fmla="*/ 1269914 w 2178135"/>
              <a:gd name="connsiteY93" fmla="*/ 439627 h 2039827"/>
              <a:gd name="connsiteX94" fmla="*/ 1250011 w 2178135"/>
              <a:gd name="connsiteY94" fmla="*/ 432292 h 2039827"/>
              <a:gd name="connsiteX95" fmla="*/ 1220487 w 2178135"/>
              <a:gd name="connsiteY95" fmla="*/ 396378 h 2039827"/>
              <a:gd name="connsiteX96" fmla="*/ 1153535 w 2178135"/>
              <a:gd name="connsiteY96" fmla="*/ 390478 h 2039827"/>
              <a:gd name="connsiteX97" fmla="*/ 1115454 w 2178135"/>
              <a:gd name="connsiteY97" fmla="*/ 371665 h 2039827"/>
              <a:gd name="connsiteX98" fmla="*/ 1096919 w 2178135"/>
              <a:gd name="connsiteY98" fmla="*/ 371665 h 2039827"/>
              <a:gd name="connsiteX99" fmla="*/ 1084562 w 2178135"/>
              <a:gd name="connsiteY99" fmla="*/ 359308 h 2039827"/>
              <a:gd name="connsiteX100" fmla="*/ 1072206 w 2178135"/>
              <a:gd name="connsiteY100" fmla="*/ 353130 h 2039827"/>
              <a:gd name="connsiteX101" fmla="*/ 1077975 w 2178135"/>
              <a:gd name="connsiteY101" fmla="*/ 10936 h 2039827"/>
              <a:gd name="connsiteX102" fmla="*/ 608423 w 2178135"/>
              <a:gd name="connsiteY102" fmla="*/ 0 h 2039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2178135" h="2039827">
                <a:moveTo>
                  <a:pt x="608423" y="0"/>
                </a:moveTo>
                <a:cubicBezTo>
                  <a:pt x="606363" y="288324"/>
                  <a:pt x="592352" y="583789"/>
                  <a:pt x="590292" y="872113"/>
                </a:cubicBezTo>
                <a:lnTo>
                  <a:pt x="6178" y="841299"/>
                </a:lnTo>
                <a:lnTo>
                  <a:pt x="0" y="880734"/>
                </a:lnTo>
                <a:lnTo>
                  <a:pt x="58952" y="921540"/>
                </a:lnTo>
                <a:lnTo>
                  <a:pt x="114557" y="989503"/>
                </a:lnTo>
                <a:lnTo>
                  <a:pt x="163984" y="1063643"/>
                </a:lnTo>
                <a:lnTo>
                  <a:pt x="213411" y="1076000"/>
                </a:lnTo>
                <a:lnTo>
                  <a:pt x="250481" y="1125427"/>
                </a:lnTo>
                <a:lnTo>
                  <a:pt x="281373" y="1174854"/>
                </a:lnTo>
                <a:lnTo>
                  <a:pt x="306087" y="1230459"/>
                </a:lnTo>
                <a:lnTo>
                  <a:pt x="318444" y="1304600"/>
                </a:lnTo>
                <a:lnTo>
                  <a:pt x="336979" y="1329313"/>
                </a:lnTo>
                <a:lnTo>
                  <a:pt x="442011" y="1409632"/>
                </a:lnTo>
                <a:lnTo>
                  <a:pt x="448190" y="1384919"/>
                </a:lnTo>
                <a:lnTo>
                  <a:pt x="584114" y="1452881"/>
                </a:lnTo>
                <a:lnTo>
                  <a:pt x="584114" y="1452881"/>
                </a:lnTo>
                <a:lnTo>
                  <a:pt x="615006" y="1397276"/>
                </a:lnTo>
                <a:lnTo>
                  <a:pt x="670611" y="1329313"/>
                </a:lnTo>
                <a:lnTo>
                  <a:pt x="738573" y="1310778"/>
                </a:lnTo>
                <a:lnTo>
                  <a:pt x="831249" y="1323135"/>
                </a:lnTo>
                <a:lnTo>
                  <a:pt x="911568" y="1384919"/>
                </a:lnTo>
                <a:lnTo>
                  <a:pt x="967173" y="1465238"/>
                </a:lnTo>
                <a:lnTo>
                  <a:pt x="1022779" y="1545557"/>
                </a:lnTo>
                <a:lnTo>
                  <a:pt x="1072206" y="1632054"/>
                </a:lnTo>
                <a:lnTo>
                  <a:pt x="1127811" y="1700016"/>
                </a:lnTo>
                <a:lnTo>
                  <a:pt x="1177238" y="1737086"/>
                </a:lnTo>
                <a:lnTo>
                  <a:pt x="1208130" y="1817405"/>
                </a:lnTo>
                <a:lnTo>
                  <a:pt x="1232844" y="1879189"/>
                </a:lnTo>
                <a:lnTo>
                  <a:pt x="1257557" y="1940973"/>
                </a:lnTo>
                <a:lnTo>
                  <a:pt x="1288449" y="1984222"/>
                </a:lnTo>
                <a:lnTo>
                  <a:pt x="1350233" y="2008935"/>
                </a:lnTo>
                <a:lnTo>
                  <a:pt x="1449087" y="2027470"/>
                </a:lnTo>
                <a:lnTo>
                  <a:pt x="1523227" y="2039827"/>
                </a:lnTo>
                <a:lnTo>
                  <a:pt x="1615903" y="2039827"/>
                </a:lnTo>
                <a:lnTo>
                  <a:pt x="1597368" y="2027470"/>
                </a:lnTo>
                <a:lnTo>
                  <a:pt x="1597368" y="2027470"/>
                </a:lnTo>
                <a:lnTo>
                  <a:pt x="1585011" y="1959508"/>
                </a:lnTo>
                <a:lnTo>
                  <a:pt x="1560298" y="1928616"/>
                </a:lnTo>
                <a:lnTo>
                  <a:pt x="1554119" y="1891546"/>
                </a:lnTo>
                <a:lnTo>
                  <a:pt x="1535584" y="1848297"/>
                </a:lnTo>
                <a:lnTo>
                  <a:pt x="1547941" y="1817405"/>
                </a:lnTo>
                <a:lnTo>
                  <a:pt x="1541762" y="1798870"/>
                </a:lnTo>
                <a:lnTo>
                  <a:pt x="1498514" y="1774157"/>
                </a:lnTo>
                <a:lnTo>
                  <a:pt x="1547941" y="1743265"/>
                </a:lnTo>
                <a:lnTo>
                  <a:pt x="1554119" y="1730908"/>
                </a:lnTo>
                <a:lnTo>
                  <a:pt x="1560298" y="1700016"/>
                </a:lnTo>
                <a:lnTo>
                  <a:pt x="1535584" y="1669124"/>
                </a:lnTo>
                <a:lnTo>
                  <a:pt x="1560298" y="1669124"/>
                </a:lnTo>
                <a:lnTo>
                  <a:pt x="1585011" y="1650589"/>
                </a:lnTo>
                <a:lnTo>
                  <a:pt x="1560298" y="1594984"/>
                </a:lnTo>
                <a:lnTo>
                  <a:pt x="1560298" y="1594984"/>
                </a:lnTo>
                <a:lnTo>
                  <a:pt x="1628260" y="1594984"/>
                </a:lnTo>
                <a:lnTo>
                  <a:pt x="1640617" y="1582627"/>
                </a:lnTo>
                <a:lnTo>
                  <a:pt x="1659152" y="1533200"/>
                </a:lnTo>
                <a:lnTo>
                  <a:pt x="1696222" y="1533200"/>
                </a:lnTo>
                <a:lnTo>
                  <a:pt x="1714757" y="1533200"/>
                </a:lnTo>
                <a:lnTo>
                  <a:pt x="1714757" y="1502308"/>
                </a:lnTo>
                <a:lnTo>
                  <a:pt x="1708579" y="1483773"/>
                </a:lnTo>
                <a:lnTo>
                  <a:pt x="1708579" y="1483773"/>
                </a:lnTo>
                <a:lnTo>
                  <a:pt x="1782719" y="1489951"/>
                </a:lnTo>
                <a:lnTo>
                  <a:pt x="1844503" y="1477595"/>
                </a:lnTo>
                <a:lnTo>
                  <a:pt x="1906287" y="1421989"/>
                </a:lnTo>
                <a:lnTo>
                  <a:pt x="1906287" y="1378740"/>
                </a:lnTo>
                <a:lnTo>
                  <a:pt x="1955714" y="1347849"/>
                </a:lnTo>
                <a:lnTo>
                  <a:pt x="1949535" y="1286065"/>
                </a:lnTo>
                <a:lnTo>
                  <a:pt x="1992784" y="1267530"/>
                </a:lnTo>
                <a:lnTo>
                  <a:pt x="2017498" y="1329313"/>
                </a:lnTo>
                <a:lnTo>
                  <a:pt x="2153422" y="1255173"/>
                </a:lnTo>
                <a:lnTo>
                  <a:pt x="2165779" y="1168676"/>
                </a:lnTo>
                <a:lnTo>
                  <a:pt x="2153422" y="1131605"/>
                </a:lnTo>
                <a:lnTo>
                  <a:pt x="2147244" y="1094535"/>
                </a:lnTo>
                <a:lnTo>
                  <a:pt x="2159600" y="1051286"/>
                </a:lnTo>
                <a:lnTo>
                  <a:pt x="2178135" y="1014216"/>
                </a:lnTo>
                <a:lnTo>
                  <a:pt x="2141065" y="903005"/>
                </a:lnTo>
                <a:lnTo>
                  <a:pt x="2110173" y="872113"/>
                </a:lnTo>
                <a:lnTo>
                  <a:pt x="2085460" y="791795"/>
                </a:lnTo>
                <a:lnTo>
                  <a:pt x="2073103" y="618800"/>
                </a:lnTo>
                <a:lnTo>
                  <a:pt x="2060746" y="519946"/>
                </a:lnTo>
                <a:lnTo>
                  <a:pt x="2042211" y="501411"/>
                </a:lnTo>
                <a:lnTo>
                  <a:pt x="1992784" y="526124"/>
                </a:lnTo>
                <a:lnTo>
                  <a:pt x="1884028" y="453649"/>
                </a:lnTo>
                <a:lnTo>
                  <a:pt x="1844503" y="470519"/>
                </a:lnTo>
                <a:lnTo>
                  <a:pt x="1776541" y="464340"/>
                </a:lnTo>
                <a:lnTo>
                  <a:pt x="1702400" y="519946"/>
                </a:lnTo>
                <a:lnTo>
                  <a:pt x="1640617" y="489054"/>
                </a:lnTo>
                <a:lnTo>
                  <a:pt x="1603546" y="501411"/>
                </a:lnTo>
                <a:cubicBezTo>
                  <a:pt x="1603567" y="497370"/>
                  <a:pt x="1603587" y="493329"/>
                  <a:pt x="1603608" y="489288"/>
                </a:cubicBezTo>
                <a:lnTo>
                  <a:pt x="1529406" y="495232"/>
                </a:lnTo>
                <a:lnTo>
                  <a:pt x="1498514" y="470519"/>
                </a:lnTo>
                <a:lnTo>
                  <a:pt x="1451525" y="481697"/>
                </a:lnTo>
                <a:lnTo>
                  <a:pt x="1372168" y="433707"/>
                </a:lnTo>
                <a:lnTo>
                  <a:pt x="1300806" y="451984"/>
                </a:lnTo>
                <a:lnTo>
                  <a:pt x="1269914" y="439627"/>
                </a:lnTo>
                <a:lnTo>
                  <a:pt x="1250011" y="432292"/>
                </a:lnTo>
                <a:lnTo>
                  <a:pt x="1220487" y="396378"/>
                </a:lnTo>
                <a:lnTo>
                  <a:pt x="1153535" y="390478"/>
                </a:lnTo>
                <a:lnTo>
                  <a:pt x="1115454" y="371665"/>
                </a:lnTo>
                <a:lnTo>
                  <a:pt x="1096919" y="371665"/>
                </a:lnTo>
                <a:lnTo>
                  <a:pt x="1084562" y="359308"/>
                </a:lnTo>
                <a:lnTo>
                  <a:pt x="1072206" y="353130"/>
                </a:lnTo>
                <a:lnTo>
                  <a:pt x="1077975" y="10936"/>
                </a:lnTo>
                <a:lnTo>
                  <a:pt x="608423"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3" name="Freeform 32"/>
          <p:cNvSpPr/>
          <p:nvPr/>
        </p:nvSpPr>
        <p:spPr>
          <a:xfrm>
            <a:off x="841233" y="2843761"/>
            <a:ext cx="1288646" cy="2059746"/>
          </a:xfrm>
          <a:custGeom>
            <a:avLst/>
            <a:gdLst>
              <a:gd name="connsiteX0" fmla="*/ 99753 w 1313411"/>
              <a:gd name="connsiteY0" fmla="*/ 0 h 2116975"/>
              <a:gd name="connsiteX1" fmla="*/ 99753 w 1313411"/>
              <a:gd name="connsiteY1" fmla="*/ 60960 h 2116975"/>
              <a:gd name="connsiteX2" fmla="*/ 94211 w 1313411"/>
              <a:gd name="connsiteY2" fmla="*/ 99753 h 2116975"/>
              <a:gd name="connsiteX3" fmla="*/ 72043 w 1313411"/>
              <a:gd name="connsiteY3" fmla="*/ 138545 h 2116975"/>
              <a:gd name="connsiteX4" fmla="*/ 83127 w 1313411"/>
              <a:gd name="connsiteY4" fmla="*/ 193964 h 2116975"/>
              <a:gd name="connsiteX5" fmla="*/ 0 w 1313411"/>
              <a:gd name="connsiteY5" fmla="*/ 254924 h 2116975"/>
              <a:gd name="connsiteX6" fmla="*/ 0 w 1313411"/>
              <a:gd name="connsiteY6" fmla="*/ 299258 h 2116975"/>
              <a:gd name="connsiteX7" fmla="*/ 38793 w 1313411"/>
              <a:gd name="connsiteY7" fmla="*/ 387927 h 2116975"/>
              <a:gd name="connsiteX8" fmla="*/ 38793 w 1313411"/>
              <a:gd name="connsiteY8" fmla="*/ 426720 h 2116975"/>
              <a:gd name="connsiteX9" fmla="*/ 22167 w 1313411"/>
              <a:gd name="connsiteY9" fmla="*/ 576349 h 2116975"/>
              <a:gd name="connsiteX10" fmla="*/ 49876 w 1313411"/>
              <a:gd name="connsiteY10" fmla="*/ 670560 h 2116975"/>
              <a:gd name="connsiteX11" fmla="*/ 77585 w 1313411"/>
              <a:gd name="connsiteY11" fmla="*/ 703811 h 2116975"/>
              <a:gd name="connsiteX12" fmla="*/ 83127 w 1313411"/>
              <a:gd name="connsiteY12" fmla="*/ 742604 h 2116975"/>
              <a:gd name="connsiteX13" fmla="*/ 72043 w 1313411"/>
              <a:gd name="connsiteY13" fmla="*/ 814647 h 2116975"/>
              <a:gd name="connsiteX14" fmla="*/ 121920 w 1313411"/>
              <a:gd name="connsiteY14" fmla="*/ 825731 h 2116975"/>
              <a:gd name="connsiteX15" fmla="*/ 144087 w 1313411"/>
              <a:gd name="connsiteY15" fmla="*/ 825731 h 2116975"/>
              <a:gd name="connsiteX16" fmla="*/ 166254 w 1313411"/>
              <a:gd name="connsiteY16" fmla="*/ 792480 h 2116975"/>
              <a:gd name="connsiteX17" fmla="*/ 182880 w 1313411"/>
              <a:gd name="connsiteY17" fmla="*/ 781396 h 2116975"/>
              <a:gd name="connsiteX18" fmla="*/ 193963 w 1313411"/>
              <a:gd name="connsiteY18" fmla="*/ 825731 h 2116975"/>
              <a:gd name="connsiteX19" fmla="*/ 188422 w 1313411"/>
              <a:gd name="connsiteY19" fmla="*/ 875607 h 2116975"/>
              <a:gd name="connsiteX20" fmla="*/ 182880 w 1313411"/>
              <a:gd name="connsiteY20" fmla="*/ 892233 h 2116975"/>
              <a:gd name="connsiteX21" fmla="*/ 149629 w 1313411"/>
              <a:gd name="connsiteY21" fmla="*/ 886691 h 2116975"/>
              <a:gd name="connsiteX22" fmla="*/ 133003 w 1313411"/>
              <a:gd name="connsiteY22" fmla="*/ 942109 h 2116975"/>
              <a:gd name="connsiteX23" fmla="*/ 144087 w 1313411"/>
              <a:gd name="connsiteY23" fmla="*/ 997527 h 2116975"/>
              <a:gd name="connsiteX24" fmla="*/ 171796 w 1313411"/>
              <a:gd name="connsiteY24" fmla="*/ 1025236 h 2116975"/>
              <a:gd name="connsiteX25" fmla="*/ 205047 w 1313411"/>
              <a:gd name="connsiteY25" fmla="*/ 1064029 h 2116975"/>
              <a:gd name="connsiteX26" fmla="*/ 205047 w 1313411"/>
              <a:gd name="connsiteY26" fmla="*/ 1102822 h 2116975"/>
              <a:gd name="connsiteX27" fmla="*/ 182880 w 1313411"/>
              <a:gd name="connsiteY27" fmla="*/ 1119447 h 2116975"/>
              <a:gd name="connsiteX28" fmla="*/ 182880 w 1313411"/>
              <a:gd name="connsiteY28" fmla="*/ 1119447 h 2116975"/>
              <a:gd name="connsiteX29" fmla="*/ 238298 w 1313411"/>
              <a:gd name="connsiteY29" fmla="*/ 1230284 h 2116975"/>
              <a:gd name="connsiteX30" fmla="*/ 249382 w 1313411"/>
              <a:gd name="connsiteY30" fmla="*/ 1318953 h 2116975"/>
              <a:gd name="connsiteX31" fmla="*/ 282633 w 1313411"/>
              <a:gd name="connsiteY31" fmla="*/ 1341120 h 2116975"/>
              <a:gd name="connsiteX32" fmla="*/ 282633 w 1313411"/>
              <a:gd name="connsiteY32" fmla="*/ 1341120 h 2116975"/>
              <a:gd name="connsiteX33" fmla="*/ 304800 w 1313411"/>
              <a:gd name="connsiteY33" fmla="*/ 1390996 h 2116975"/>
              <a:gd name="connsiteX34" fmla="*/ 321425 w 1313411"/>
              <a:gd name="connsiteY34" fmla="*/ 1418705 h 2116975"/>
              <a:gd name="connsiteX35" fmla="*/ 326967 w 1313411"/>
              <a:gd name="connsiteY35" fmla="*/ 1463040 h 2116975"/>
              <a:gd name="connsiteX36" fmla="*/ 299258 w 1313411"/>
              <a:gd name="connsiteY36" fmla="*/ 1507375 h 2116975"/>
              <a:gd name="connsiteX37" fmla="*/ 315883 w 1313411"/>
              <a:gd name="connsiteY37" fmla="*/ 1546167 h 2116975"/>
              <a:gd name="connsiteX38" fmla="*/ 410094 w 1313411"/>
              <a:gd name="connsiteY38" fmla="*/ 1612669 h 2116975"/>
              <a:gd name="connsiteX39" fmla="*/ 459971 w 1313411"/>
              <a:gd name="connsiteY39" fmla="*/ 1623753 h 2116975"/>
              <a:gd name="connsiteX40" fmla="*/ 465513 w 1313411"/>
              <a:gd name="connsiteY40" fmla="*/ 1607127 h 2116975"/>
              <a:gd name="connsiteX41" fmla="*/ 465513 w 1313411"/>
              <a:gd name="connsiteY41" fmla="*/ 1607127 h 2116975"/>
              <a:gd name="connsiteX42" fmla="*/ 543098 w 1313411"/>
              <a:gd name="connsiteY42" fmla="*/ 1712422 h 2116975"/>
              <a:gd name="connsiteX43" fmla="*/ 604058 w 1313411"/>
              <a:gd name="connsiteY43" fmla="*/ 1734589 h 2116975"/>
              <a:gd name="connsiteX44" fmla="*/ 604058 w 1313411"/>
              <a:gd name="connsiteY44" fmla="*/ 1734589 h 2116975"/>
              <a:gd name="connsiteX45" fmla="*/ 642851 w 1313411"/>
              <a:gd name="connsiteY45" fmla="*/ 1795549 h 2116975"/>
              <a:gd name="connsiteX46" fmla="*/ 703811 w 1313411"/>
              <a:gd name="connsiteY46" fmla="*/ 1834342 h 2116975"/>
              <a:gd name="connsiteX47" fmla="*/ 775854 w 1313411"/>
              <a:gd name="connsiteY47" fmla="*/ 1923011 h 2116975"/>
              <a:gd name="connsiteX48" fmla="*/ 786938 w 1313411"/>
              <a:gd name="connsiteY48" fmla="*/ 2017222 h 2116975"/>
              <a:gd name="connsiteX49" fmla="*/ 803563 w 1313411"/>
              <a:gd name="connsiteY49" fmla="*/ 2050473 h 2116975"/>
              <a:gd name="connsiteX50" fmla="*/ 809105 w 1313411"/>
              <a:gd name="connsiteY50" fmla="*/ 2083724 h 2116975"/>
              <a:gd name="connsiteX51" fmla="*/ 1197033 w 1313411"/>
              <a:gd name="connsiteY51" fmla="*/ 2116975 h 2116975"/>
              <a:gd name="connsiteX52" fmla="*/ 1230283 w 1313411"/>
              <a:gd name="connsiteY52" fmla="*/ 2089265 h 2116975"/>
              <a:gd name="connsiteX53" fmla="*/ 1213658 w 1313411"/>
              <a:gd name="connsiteY53" fmla="*/ 2011680 h 2116975"/>
              <a:gd name="connsiteX54" fmla="*/ 1263534 w 1313411"/>
              <a:gd name="connsiteY54" fmla="*/ 1906385 h 2116975"/>
              <a:gd name="connsiteX55" fmla="*/ 1285702 w 1313411"/>
              <a:gd name="connsiteY55" fmla="*/ 1867593 h 2116975"/>
              <a:gd name="connsiteX56" fmla="*/ 1313411 w 1313411"/>
              <a:gd name="connsiteY56" fmla="*/ 1806633 h 2116975"/>
              <a:gd name="connsiteX57" fmla="*/ 1252451 w 1313411"/>
              <a:gd name="connsiteY57" fmla="*/ 1657004 h 2116975"/>
              <a:gd name="connsiteX58" fmla="*/ 576349 w 1313411"/>
              <a:gd name="connsiteY58" fmla="*/ 714895 h 2116975"/>
              <a:gd name="connsiteX59" fmla="*/ 687185 w 1313411"/>
              <a:gd name="connsiteY59" fmla="*/ 177338 h 2116975"/>
              <a:gd name="connsiteX60" fmla="*/ 99753 w 1313411"/>
              <a:gd name="connsiteY60" fmla="*/ 0 h 2116975"/>
              <a:gd name="connsiteX0" fmla="*/ 99753 w 1313411"/>
              <a:gd name="connsiteY0" fmla="*/ 0 h 2116975"/>
              <a:gd name="connsiteX1" fmla="*/ 99753 w 1313411"/>
              <a:gd name="connsiteY1" fmla="*/ 60960 h 2116975"/>
              <a:gd name="connsiteX2" fmla="*/ 94211 w 1313411"/>
              <a:gd name="connsiteY2" fmla="*/ 99753 h 2116975"/>
              <a:gd name="connsiteX3" fmla="*/ 72043 w 1313411"/>
              <a:gd name="connsiteY3" fmla="*/ 138545 h 2116975"/>
              <a:gd name="connsiteX4" fmla="*/ 83127 w 1313411"/>
              <a:gd name="connsiteY4" fmla="*/ 193964 h 2116975"/>
              <a:gd name="connsiteX5" fmla="*/ 0 w 1313411"/>
              <a:gd name="connsiteY5" fmla="*/ 254924 h 2116975"/>
              <a:gd name="connsiteX6" fmla="*/ 0 w 1313411"/>
              <a:gd name="connsiteY6" fmla="*/ 299258 h 2116975"/>
              <a:gd name="connsiteX7" fmla="*/ 38793 w 1313411"/>
              <a:gd name="connsiteY7" fmla="*/ 387927 h 2116975"/>
              <a:gd name="connsiteX8" fmla="*/ 38793 w 1313411"/>
              <a:gd name="connsiteY8" fmla="*/ 426720 h 2116975"/>
              <a:gd name="connsiteX9" fmla="*/ 22167 w 1313411"/>
              <a:gd name="connsiteY9" fmla="*/ 576349 h 2116975"/>
              <a:gd name="connsiteX10" fmla="*/ 49876 w 1313411"/>
              <a:gd name="connsiteY10" fmla="*/ 670560 h 2116975"/>
              <a:gd name="connsiteX11" fmla="*/ 77585 w 1313411"/>
              <a:gd name="connsiteY11" fmla="*/ 703811 h 2116975"/>
              <a:gd name="connsiteX12" fmla="*/ 83127 w 1313411"/>
              <a:gd name="connsiteY12" fmla="*/ 742604 h 2116975"/>
              <a:gd name="connsiteX13" fmla="*/ 72043 w 1313411"/>
              <a:gd name="connsiteY13" fmla="*/ 814647 h 2116975"/>
              <a:gd name="connsiteX14" fmla="*/ 121920 w 1313411"/>
              <a:gd name="connsiteY14" fmla="*/ 825731 h 2116975"/>
              <a:gd name="connsiteX15" fmla="*/ 144087 w 1313411"/>
              <a:gd name="connsiteY15" fmla="*/ 825731 h 2116975"/>
              <a:gd name="connsiteX16" fmla="*/ 166254 w 1313411"/>
              <a:gd name="connsiteY16" fmla="*/ 792480 h 2116975"/>
              <a:gd name="connsiteX17" fmla="*/ 182880 w 1313411"/>
              <a:gd name="connsiteY17" fmla="*/ 781396 h 2116975"/>
              <a:gd name="connsiteX18" fmla="*/ 193963 w 1313411"/>
              <a:gd name="connsiteY18" fmla="*/ 825731 h 2116975"/>
              <a:gd name="connsiteX19" fmla="*/ 188422 w 1313411"/>
              <a:gd name="connsiteY19" fmla="*/ 875607 h 2116975"/>
              <a:gd name="connsiteX20" fmla="*/ 182880 w 1313411"/>
              <a:gd name="connsiteY20" fmla="*/ 892233 h 2116975"/>
              <a:gd name="connsiteX21" fmla="*/ 149629 w 1313411"/>
              <a:gd name="connsiteY21" fmla="*/ 886691 h 2116975"/>
              <a:gd name="connsiteX22" fmla="*/ 133003 w 1313411"/>
              <a:gd name="connsiteY22" fmla="*/ 942109 h 2116975"/>
              <a:gd name="connsiteX23" fmla="*/ 144087 w 1313411"/>
              <a:gd name="connsiteY23" fmla="*/ 997527 h 2116975"/>
              <a:gd name="connsiteX24" fmla="*/ 171796 w 1313411"/>
              <a:gd name="connsiteY24" fmla="*/ 1025236 h 2116975"/>
              <a:gd name="connsiteX25" fmla="*/ 205047 w 1313411"/>
              <a:gd name="connsiteY25" fmla="*/ 1064029 h 2116975"/>
              <a:gd name="connsiteX26" fmla="*/ 205047 w 1313411"/>
              <a:gd name="connsiteY26" fmla="*/ 1102822 h 2116975"/>
              <a:gd name="connsiteX27" fmla="*/ 182880 w 1313411"/>
              <a:gd name="connsiteY27" fmla="*/ 1119447 h 2116975"/>
              <a:gd name="connsiteX28" fmla="*/ 182880 w 1313411"/>
              <a:gd name="connsiteY28" fmla="*/ 1119447 h 2116975"/>
              <a:gd name="connsiteX29" fmla="*/ 238298 w 1313411"/>
              <a:gd name="connsiteY29" fmla="*/ 1230284 h 2116975"/>
              <a:gd name="connsiteX30" fmla="*/ 249382 w 1313411"/>
              <a:gd name="connsiteY30" fmla="*/ 1318953 h 2116975"/>
              <a:gd name="connsiteX31" fmla="*/ 282633 w 1313411"/>
              <a:gd name="connsiteY31" fmla="*/ 1341120 h 2116975"/>
              <a:gd name="connsiteX32" fmla="*/ 282633 w 1313411"/>
              <a:gd name="connsiteY32" fmla="*/ 1341120 h 2116975"/>
              <a:gd name="connsiteX33" fmla="*/ 304800 w 1313411"/>
              <a:gd name="connsiteY33" fmla="*/ 1390996 h 2116975"/>
              <a:gd name="connsiteX34" fmla="*/ 321425 w 1313411"/>
              <a:gd name="connsiteY34" fmla="*/ 1418705 h 2116975"/>
              <a:gd name="connsiteX35" fmla="*/ 326967 w 1313411"/>
              <a:gd name="connsiteY35" fmla="*/ 1463040 h 2116975"/>
              <a:gd name="connsiteX36" fmla="*/ 299258 w 1313411"/>
              <a:gd name="connsiteY36" fmla="*/ 1507375 h 2116975"/>
              <a:gd name="connsiteX37" fmla="*/ 315883 w 1313411"/>
              <a:gd name="connsiteY37" fmla="*/ 1546167 h 2116975"/>
              <a:gd name="connsiteX38" fmla="*/ 410094 w 1313411"/>
              <a:gd name="connsiteY38" fmla="*/ 1612669 h 2116975"/>
              <a:gd name="connsiteX39" fmla="*/ 459971 w 1313411"/>
              <a:gd name="connsiteY39" fmla="*/ 1623753 h 2116975"/>
              <a:gd name="connsiteX40" fmla="*/ 465513 w 1313411"/>
              <a:gd name="connsiteY40" fmla="*/ 1607127 h 2116975"/>
              <a:gd name="connsiteX41" fmla="*/ 465513 w 1313411"/>
              <a:gd name="connsiteY41" fmla="*/ 1607127 h 2116975"/>
              <a:gd name="connsiteX42" fmla="*/ 543098 w 1313411"/>
              <a:gd name="connsiteY42" fmla="*/ 1712422 h 2116975"/>
              <a:gd name="connsiteX43" fmla="*/ 604058 w 1313411"/>
              <a:gd name="connsiteY43" fmla="*/ 1734589 h 2116975"/>
              <a:gd name="connsiteX44" fmla="*/ 604058 w 1313411"/>
              <a:gd name="connsiteY44" fmla="*/ 1734589 h 2116975"/>
              <a:gd name="connsiteX45" fmla="*/ 642851 w 1313411"/>
              <a:gd name="connsiteY45" fmla="*/ 1795549 h 2116975"/>
              <a:gd name="connsiteX46" fmla="*/ 703811 w 1313411"/>
              <a:gd name="connsiteY46" fmla="*/ 1834342 h 2116975"/>
              <a:gd name="connsiteX47" fmla="*/ 775854 w 1313411"/>
              <a:gd name="connsiteY47" fmla="*/ 1923011 h 2116975"/>
              <a:gd name="connsiteX48" fmla="*/ 786938 w 1313411"/>
              <a:gd name="connsiteY48" fmla="*/ 2017222 h 2116975"/>
              <a:gd name="connsiteX49" fmla="*/ 803563 w 1313411"/>
              <a:gd name="connsiteY49" fmla="*/ 2050473 h 2116975"/>
              <a:gd name="connsiteX50" fmla="*/ 809105 w 1313411"/>
              <a:gd name="connsiteY50" fmla="*/ 2083724 h 2116975"/>
              <a:gd name="connsiteX51" fmla="*/ 1197033 w 1313411"/>
              <a:gd name="connsiteY51" fmla="*/ 2116975 h 2116975"/>
              <a:gd name="connsiteX52" fmla="*/ 1230283 w 1313411"/>
              <a:gd name="connsiteY52" fmla="*/ 2089265 h 2116975"/>
              <a:gd name="connsiteX53" fmla="*/ 1213658 w 1313411"/>
              <a:gd name="connsiteY53" fmla="*/ 2011680 h 2116975"/>
              <a:gd name="connsiteX54" fmla="*/ 1263534 w 1313411"/>
              <a:gd name="connsiteY54" fmla="*/ 1906385 h 2116975"/>
              <a:gd name="connsiteX55" fmla="*/ 1285702 w 1313411"/>
              <a:gd name="connsiteY55" fmla="*/ 1867593 h 2116975"/>
              <a:gd name="connsiteX56" fmla="*/ 1313411 w 1313411"/>
              <a:gd name="connsiteY56" fmla="*/ 1806633 h 2116975"/>
              <a:gd name="connsiteX57" fmla="*/ 1252451 w 1313411"/>
              <a:gd name="connsiteY57" fmla="*/ 1657004 h 2116975"/>
              <a:gd name="connsiteX58" fmla="*/ 576349 w 1313411"/>
              <a:gd name="connsiteY58" fmla="*/ 714895 h 2116975"/>
              <a:gd name="connsiteX59" fmla="*/ 696710 w 1313411"/>
              <a:gd name="connsiteY59" fmla="*/ 160669 h 2116975"/>
              <a:gd name="connsiteX60" fmla="*/ 99753 w 1313411"/>
              <a:gd name="connsiteY60" fmla="*/ 0 h 2116975"/>
              <a:gd name="connsiteX0" fmla="*/ 99753 w 1313411"/>
              <a:gd name="connsiteY0" fmla="*/ 0 h 2116975"/>
              <a:gd name="connsiteX1" fmla="*/ 99753 w 1313411"/>
              <a:gd name="connsiteY1" fmla="*/ 60960 h 2116975"/>
              <a:gd name="connsiteX2" fmla="*/ 94211 w 1313411"/>
              <a:gd name="connsiteY2" fmla="*/ 99753 h 2116975"/>
              <a:gd name="connsiteX3" fmla="*/ 72043 w 1313411"/>
              <a:gd name="connsiteY3" fmla="*/ 138545 h 2116975"/>
              <a:gd name="connsiteX4" fmla="*/ 83127 w 1313411"/>
              <a:gd name="connsiteY4" fmla="*/ 193964 h 2116975"/>
              <a:gd name="connsiteX5" fmla="*/ 0 w 1313411"/>
              <a:gd name="connsiteY5" fmla="*/ 254924 h 2116975"/>
              <a:gd name="connsiteX6" fmla="*/ 0 w 1313411"/>
              <a:gd name="connsiteY6" fmla="*/ 299258 h 2116975"/>
              <a:gd name="connsiteX7" fmla="*/ 38793 w 1313411"/>
              <a:gd name="connsiteY7" fmla="*/ 387927 h 2116975"/>
              <a:gd name="connsiteX8" fmla="*/ 38793 w 1313411"/>
              <a:gd name="connsiteY8" fmla="*/ 426720 h 2116975"/>
              <a:gd name="connsiteX9" fmla="*/ 22167 w 1313411"/>
              <a:gd name="connsiteY9" fmla="*/ 576349 h 2116975"/>
              <a:gd name="connsiteX10" fmla="*/ 49876 w 1313411"/>
              <a:gd name="connsiteY10" fmla="*/ 670560 h 2116975"/>
              <a:gd name="connsiteX11" fmla="*/ 77585 w 1313411"/>
              <a:gd name="connsiteY11" fmla="*/ 703811 h 2116975"/>
              <a:gd name="connsiteX12" fmla="*/ 83127 w 1313411"/>
              <a:gd name="connsiteY12" fmla="*/ 742604 h 2116975"/>
              <a:gd name="connsiteX13" fmla="*/ 72043 w 1313411"/>
              <a:gd name="connsiteY13" fmla="*/ 814647 h 2116975"/>
              <a:gd name="connsiteX14" fmla="*/ 121920 w 1313411"/>
              <a:gd name="connsiteY14" fmla="*/ 825731 h 2116975"/>
              <a:gd name="connsiteX15" fmla="*/ 144087 w 1313411"/>
              <a:gd name="connsiteY15" fmla="*/ 825731 h 2116975"/>
              <a:gd name="connsiteX16" fmla="*/ 166254 w 1313411"/>
              <a:gd name="connsiteY16" fmla="*/ 792480 h 2116975"/>
              <a:gd name="connsiteX17" fmla="*/ 182880 w 1313411"/>
              <a:gd name="connsiteY17" fmla="*/ 781396 h 2116975"/>
              <a:gd name="connsiteX18" fmla="*/ 193963 w 1313411"/>
              <a:gd name="connsiteY18" fmla="*/ 825731 h 2116975"/>
              <a:gd name="connsiteX19" fmla="*/ 188422 w 1313411"/>
              <a:gd name="connsiteY19" fmla="*/ 875607 h 2116975"/>
              <a:gd name="connsiteX20" fmla="*/ 182880 w 1313411"/>
              <a:gd name="connsiteY20" fmla="*/ 892233 h 2116975"/>
              <a:gd name="connsiteX21" fmla="*/ 149629 w 1313411"/>
              <a:gd name="connsiteY21" fmla="*/ 886691 h 2116975"/>
              <a:gd name="connsiteX22" fmla="*/ 133003 w 1313411"/>
              <a:gd name="connsiteY22" fmla="*/ 942109 h 2116975"/>
              <a:gd name="connsiteX23" fmla="*/ 144087 w 1313411"/>
              <a:gd name="connsiteY23" fmla="*/ 997527 h 2116975"/>
              <a:gd name="connsiteX24" fmla="*/ 171796 w 1313411"/>
              <a:gd name="connsiteY24" fmla="*/ 1025236 h 2116975"/>
              <a:gd name="connsiteX25" fmla="*/ 205047 w 1313411"/>
              <a:gd name="connsiteY25" fmla="*/ 1064029 h 2116975"/>
              <a:gd name="connsiteX26" fmla="*/ 205047 w 1313411"/>
              <a:gd name="connsiteY26" fmla="*/ 1102822 h 2116975"/>
              <a:gd name="connsiteX27" fmla="*/ 182880 w 1313411"/>
              <a:gd name="connsiteY27" fmla="*/ 1119447 h 2116975"/>
              <a:gd name="connsiteX28" fmla="*/ 182880 w 1313411"/>
              <a:gd name="connsiteY28" fmla="*/ 1119447 h 2116975"/>
              <a:gd name="connsiteX29" fmla="*/ 238298 w 1313411"/>
              <a:gd name="connsiteY29" fmla="*/ 1230284 h 2116975"/>
              <a:gd name="connsiteX30" fmla="*/ 249382 w 1313411"/>
              <a:gd name="connsiteY30" fmla="*/ 1318953 h 2116975"/>
              <a:gd name="connsiteX31" fmla="*/ 282633 w 1313411"/>
              <a:gd name="connsiteY31" fmla="*/ 1341120 h 2116975"/>
              <a:gd name="connsiteX32" fmla="*/ 282633 w 1313411"/>
              <a:gd name="connsiteY32" fmla="*/ 1341120 h 2116975"/>
              <a:gd name="connsiteX33" fmla="*/ 304800 w 1313411"/>
              <a:gd name="connsiteY33" fmla="*/ 1390996 h 2116975"/>
              <a:gd name="connsiteX34" fmla="*/ 321425 w 1313411"/>
              <a:gd name="connsiteY34" fmla="*/ 1418705 h 2116975"/>
              <a:gd name="connsiteX35" fmla="*/ 326967 w 1313411"/>
              <a:gd name="connsiteY35" fmla="*/ 1463040 h 2116975"/>
              <a:gd name="connsiteX36" fmla="*/ 299258 w 1313411"/>
              <a:gd name="connsiteY36" fmla="*/ 1507375 h 2116975"/>
              <a:gd name="connsiteX37" fmla="*/ 315883 w 1313411"/>
              <a:gd name="connsiteY37" fmla="*/ 1546167 h 2116975"/>
              <a:gd name="connsiteX38" fmla="*/ 410094 w 1313411"/>
              <a:gd name="connsiteY38" fmla="*/ 1612669 h 2116975"/>
              <a:gd name="connsiteX39" fmla="*/ 459971 w 1313411"/>
              <a:gd name="connsiteY39" fmla="*/ 1623753 h 2116975"/>
              <a:gd name="connsiteX40" fmla="*/ 465513 w 1313411"/>
              <a:gd name="connsiteY40" fmla="*/ 1607127 h 2116975"/>
              <a:gd name="connsiteX41" fmla="*/ 465513 w 1313411"/>
              <a:gd name="connsiteY41" fmla="*/ 1607127 h 2116975"/>
              <a:gd name="connsiteX42" fmla="*/ 543098 w 1313411"/>
              <a:gd name="connsiteY42" fmla="*/ 1712422 h 2116975"/>
              <a:gd name="connsiteX43" fmla="*/ 604058 w 1313411"/>
              <a:gd name="connsiteY43" fmla="*/ 1734589 h 2116975"/>
              <a:gd name="connsiteX44" fmla="*/ 604058 w 1313411"/>
              <a:gd name="connsiteY44" fmla="*/ 1734589 h 2116975"/>
              <a:gd name="connsiteX45" fmla="*/ 642851 w 1313411"/>
              <a:gd name="connsiteY45" fmla="*/ 1795549 h 2116975"/>
              <a:gd name="connsiteX46" fmla="*/ 703811 w 1313411"/>
              <a:gd name="connsiteY46" fmla="*/ 1834342 h 2116975"/>
              <a:gd name="connsiteX47" fmla="*/ 775854 w 1313411"/>
              <a:gd name="connsiteY47" fmla="*/ 1923011 h 2116975"/>
              <a:gd name="connsiteX48" fmla="*/ 786938 w 1313411"/>
              <a:gd name="connsiteY48" fmla="*/ 2017222 h 2116975"/>
              <a:gd name="connsiteX49" fmla="*/ 803563 w 1313411"/>
              <a:gd name="connsiteY49" fmla="*/ 2050473 h 2116975"/>
              <a:gd name="connsiteX50" fmla="*/ 809105 w 1313411"/>
              <a:gd name="connsiteY50" fmla="*/ 2083724 h 2116975"/>
              <a:gd name="connsiteX51" fmla="*/ 1197033 w 1313411"/>
              <a:gd name="connsiteY51" fmla="*/ 2116975 h 2116975"/>
              <a:gd name="connsiteX52" fmla="*/ 1230283 w 1313411"/>
              <a:gd name="connsiteY52" fmla="*/ 2089265 h 2116975"/>
              <a:gd name="connsiteX53" fmla="*/ 1213658 w 1313411"/>
              <a:gd name="connsiteY53" fmla="*/ 2011680 h 2116975"/>
              <a:gd name="connsiteX54" fmla="*/ 1263534 w 1313411"/>
              <a:gd name="connsiteY54" fmla="*/ 1906385 h 2116975"/>
              <a:gd name="connsiteX55" fmla="*/ 1285702 w 1313411"/>
              <a:gd name="connsiteY55" fmla="*/ 1867593 h 2116975"/>
              <a:gd name="connsiteX56" fmla="*/ 1313411 w 1313411"/>
              <a:gd name="connsiteY56" fmla="*/ 1806633 h 2116975"/>
              <a:gd name="connsiteX57" fmla="*/ 1252451 w 1313411"/>
              <a:gd name="connsiteY57" fmla="*/ 1657004 h 2116975"/>
              <a:gd name="connsiteX58" fmla="*/ 576349 w 1313411"/>
              <a:gd name="connsiteY58" fmla="*/ 714895 h 2116975"/>
              <a:gd name="connsiteX59" fmla="*/ 696710 w 1313411"/>
              <a:gd name="connsiteY59" fmla="*/ 160669 h 2116975"/>
              <a:gd name="connsiteX60" fmla="*/ 264016 w 1313411"/>
              <a:gd name="connsiteY60" fmla="*/ 45720 h 2116975"/>
              <a:gd name="connsiteX61" fmla="*/ 99753 w 1313411"/>
              <a:gd name="connsiteY61" fmla="*/ 0 h 2116975"/>
              <a:gd name="connsiteX0" fmla="*/ 99753 w 1313411"/>
              <a:gd name="connsiteY0" fmla="*/ 0 h 2116975"/>
              <a:gd name="connsiteX1" fmla="*/ 99753 w 1313411"/>
              <a:gd name="connsiteY1" fmla="*/ 60960 h 2116975"/>
              <a:gd name="connsiteX2" fmla="*/ 94211 w 1313411"/>
              <a:gd name="connsiteY2" fmla="*/ 99753 h 2116975"/>
              <a:gd name="connsiteX3" fmla="*/ 72043 w 1313411"/>
              <a:gd name="connsiteY3" fmla="*/ 138545 h 2116975"/>
              <a:gd name="connsiteX4" fmla="*/ 83127 w 1313411"/>
              <a:gd name="connsiteY4" fmla="*/ 193964 h 2116975"/>
              <a:gd name="connsiteX5" fmla="*/ 0 w 1313411"/>
              <a:gd name="connsiteY5" fmla="*/ 254924 h 2116975"/>
              <a:gd name="connsiteX6" fmla="*/ 0 w 1313411"/>
              <a:gd name="connsiteY6" fmla="*/ 299258 h 2116975"/>
              <a:gd name="connsiteX7" fmla="*/ 38793 w 1313411"/>
              <a:gd name="connsiteY7" fmla="*/ 387927 h 2116975"/>
              <a:gd name="connsiteX8" fmla="*/ 38793 w 1313411"/>
              <a:gd name="connsiteY8" fmla="*/ 426720 h 2116975"/>
              <a:gd name="connsiteX9" fmla="*/ 22167 w 1313411"/>
              <a:gd name="connsiteY9" fmla="*/ 576349 h 2116975"/>
              <a:gd name="connsiteX10" fmla="*/ 49876 w 1313411"/>
              <a:gd name="connsiteY10" fmla="*/ 670560 h 2116975"/>
              <a:gd name="connsiteX11" fmla="*/ 77585 w 1313411"/>
              <a:gd name="connsiteY11" fmla="*/ 703811 h 2116975"/>
              <a:gd name="connsiteX12" fmla="*/ 83127 w 1313411"/>
              <a:gd name="connsiteY12" fmla="*/ 742604 h 2116975"/>
              <a:gd name="connsiteX13" fmla="*/ 72043 w 1313411"/>
              <a:gd name="connsiteY13" fmla="*/ 814647 h 2116975"/>
              <a:gd name="connsiteX14" fmla="*/ 121920 w 1313411"/>
              <a:gd name="connsiteY14" fmla="*/ 825731 h 2116975"/>
              <a:gd name="connsiteX15" fmla="*/ 144087 w 1313411"/>
              <a:gd name="connsiteY15" fmla="*/ 825731 h 2116975"/>
              <a:gd name="connsiteX16" fmla="*/ 166254 w 1313411"/>
              <a:gd name="connsiteY16" fmla="*/ 792480 h 2116975"/>
              <a:gd name="connsiteX17" fmla="*/ 182880 w 1313411"/>
              <a:gd name="connsiteY17" fmla="*/ 781396 h 2116975"/>
              <a:gd name="connsiteX18" fmla="*/ 193963 w 1313411"/>
              <a:gd name="connsiteY18" fmla="*/ 825731 h 2116975"/>
              <a:gd name="connsiteX19" fmla="*/ 188422 w 1313411"/>
              <a:gd name="connsiteY19" fmla="*/ 875607 h 2116975"/>
              <a:gd name="connsiteX20" fmla="*/ 182880 w 1313411"/>
              <a:gd name="connsiteY20" fmla="*/ 892233 h 2116975"/>
              <a:gd name="connsiteX21" fmla="*/ 149629 w 1313411"/>
              <a:gd name="connsiteY21" fmla="*/ 886691 h 2116975"/>
              <a:gd name="connsiteX22" fmla="*/ 133003 w 1313411"/>
              <a:gd name="connsiteY22" fmla="*/ 942109 h 2116975"/>
              <a:gd name="connsiteX23" fmla="*/ 144087 w 1313411"/>
              <a:gd name="connsiteY23" fmla="*/ 997527 h 2116975"/>
              <a:gd name="connsiteX24" fmla="*/ 171796 w 1313411"/>
              <a:gd name="connsiteY24" fmla="*/ 1025236 h 2116975"/>
              <a:gd name="connsiteX25" fmla="*/ 205047 w 1313411"/>
              <a:gd name="connsiteY25" fmla="*/ 1064029 h 2116975"/>
              <a:gd name="connsiteX26" fmla="*/ 205047 w 1313411"/>
              <a:gd name="connsiteY26" fmla="*/ 1102822 h 2116975"/>
              <a:gd name="connsiteX27" fmla="*/ 182880 w 1313411"/>
              <a:gd name="connsiteY27" fmla="*/ 1119447 h 2116975"/>
              <a:gd name="connsiteX28" fmla="*/ 182880 w 1313411"/>
              <a:gd name="connsiteY28" fmla="*/ 1119447 h 2116975"/>
              <a:gd name="connsiteX29" fmla="*/ 238298 w 1313411"/>
              <a:gd name="connsiteY29" fmla="*/ 1230284 h 2116975"/>
              <a:gd name="connsiteX30" fmla="*/ 249382 w 1313411"/>
              <a:gd name="connsiteY30" fmla="*/ 1318953 h 2116975"/>
              <a:gd name="connsiteX31" fmla="*/ 282633 w 1313411"/>
              <a:gd name="connsiteY31" fmla="*/ 1341120 h 2116975"/>
              <a:gd name="connsiteX32" fmla="*/ 282633 w 1313411"/>
              <a:gd name="connsiteY32" fmla="*/ 1341120 h 2116975"/>
              <a:gd name="connsiteX33" fmla="*/ 304800 w 1313411"/>
              <a:gd name="connsiteY33" fmla="*/ 1390996 h 2116975"/>
              <a:gd name="connsiteX34" fmla="*/ 321425 w 1313411"/>
              <a:gd name="connsiteY34" fmla="*/ 1418705 h 2116975"/>
              <a:gd name="connsiteX35" fmla="*/ 326967 w 1313411"/>
              <a:gd name="connsiteY35" fmla="*/ 1463040 h 2116975"/>
              <a:gd name="connsiteX36" fmla="*/ 299258 w 1313411"/>
              <a:gd name="connsiteY36" fmla="*/ 1507375 h 2116975"/>
              <a:gd name="connsiteX37" fmla="*/ 315883 w 1313411"/>
              <a:gd name="connsiteY37" fmla="*/ 1546167 h 2116975"/>
              <a:gd name="connsiteX38" fmla="*/ 410094 w 1313411"/>
              <a:gd name="connsiteY38" fmla="*/ 1612669 h 2116975"/>
              <a:gd name="connsiteX39" fmla="*/ 459971 w 1313411"/>
              <a:gd name="connsiteY39" fmla="*/ 1623753 h 2116975"/>
              <a:gd name="connsiteX40" fmla="*/ 465513 w 1313411"/>
              <a:gd name="connsiteY40" fmla="*/ 1607127 h 2116975"/>
              <a:gd name="connsiteX41" fmla="*/ 465513 w 1313411"/>
              <a:gd name="connsiteY41" fmla="*/ 1607127 h 2116975"/>
              <a:gd name="connsiteX42" fmla="*/ 543098 w 1313411"/>
              <a:gd name="connsiteY42" fmla="*/ 1712422 h 2116975"/>
              <a:gd name="connsiteX43" fmla="*/ 604058 w 1313411"/>
              <a:gd name="connsiteY43" fmla="*/ 1734589 h 2116975"/>
              <a:gd name="connsiteX44" fmla="*/ 604058 w 1313411"/>
              <a:gd name="connsiteY44" fmla="*/ 1734589 h 2116975"/>
              <a:gd name="connsiteX45" fmla="*/ 642851 w 1313411"/>
              <a:gd name="connsiteY45" fmla="*/ 1795549 h 2116975"/>
              <a:gd name="connsiteX46" fmla="*/ 703811 w 1313411"/>
              <a:gd name="connsiteY46" fmla="*/ 1834342 h 2116975"/>
              <a:gd name="connsiteX47" fmla="*/ 775854 w 1313411"/>
              <a:gd name="connsiteY47" fmla="*/ 1923011 h 2116975"/>
              <a:gd name="connsiteX48" fmla="*/ 786938 w 1313411"/>
              <a:gd name="connsiteY48" fmla="*/ 2017222 h 2116975"/>
              <a:gd name="connsiteX49" fmla="*/ 803563 w 1313411"/>
              <a:gd name="connsiteY49" fmla="*/ 2050473 h 2116975"/>
              <a:gd name="connsiteX50" fmla="*/ 809105 w 1313411"/>
              <a:gd name="connsiteY50" fmla="*/ 2083724 h 2116975"/>
              <a:gd name="connsiteX51" fmla="*/ 1197033 w 1313411"/>
              <a:gd name="connsiteY51" fmla="*/ 2116975 h 2116975"/>
              <a:gd name="connsiteX52" fmla="*/ 1230283 w 1313411"/>
              <a:gd name="connsiteY52" fmla="*/ 2089265 h 2116975"/>
              <a:gd name="connsiteX53" fmla="*/ 1213658 w 1313411"/>
              <a:gd name="connsiteY53" fmla="*/ 2011680 h 2116975"/>
              <a:gd name="connsiteX54" fmla="*/ 1263534 w 1313411"/>
              <a:gd name="connsiteY54" fmla="*/ 1906385 h 2116975"/>
              <a:gd name="connsiteX55" fmla="*/ 1285702 w 1313411"/>
              <a:gd name="connsiteY55" fmla="*/ 1867593 h 2116975"/>
              <a:gd name="connsiteX56" fmla="*/ 1313411 w 1313411"/>
              <a:gd name="connsiteY56" fmla="*/ 1806633 h 2116975"/>
              <a:gd name="connsiteX57" fmla="*/ 1252451 w 1313411"/>
              <a:gd name="connsiteY57" fmla="*/ 1657004 h 2116975"/>
              <a:gd name="connsiteX58" fmla="*/ 576349 w 1313411"/>
              <a:gd name="connsiteY58" fmla="*/ 714895 h 2116975"/>
              <a:gd name="connsiteX59" fmla="*/ 696710 w 1313411"/>
              <a:gd name="connsiteY59" fmla="*/ 160669 h 2116975"/>
              <a:gd name="connsiteX60" fmla="*/ 256872 w 1313411"/>
              <a:gd name="connsiteY60" fmla="*/ 36195 h 2116975"/>
              <a:gd name="connsiteX61" fmla="*/ 99753 w 1313411"/>
              <a:gd name="connsiteY61" fmla="*/ 0 h 2116975"/>
              <a:gd name="connsiteX0" fmla="*/ 106896 w 1313411"/>
              <a:gd name="connsiteY0" fmla="*/ 0 h 2124119"/>
              <a:gd name="connsiteX1" fmla="*/ 99753 w 1313411"/>
              <a:gd name="connsiteY1" fmla="*/ 68104 h 2124119"/>
              <a:gd name="connsiteX2" fmla="*/ 94211 w 1313411"/>
              <a:gd name="connsiteY2" fmla="*/ 106897 h 2124119"/>
              <a:gd name="connsiteX3" fmla="*/ 72043 w 1313411"/>
              <a:gd name="connsiteY3" fmla="*/ 145689 h 2124119"/>
              <a:gd name="connsiteX4" fmla="*/ 83127 w 1313411"/>
              <a:gd name="connsiteY4" fmla="*/ 201108 h 2124119"/>
              <a:gd name="connsiteX5" fmla="*/ 0 w 1313411"/>
              <a:gd name="connsiteY5" fmla="*/ 262068 h 2124119"/>
              <a:gd name="connsiteX6" fmla="*/ 0 w 1313411"/>
              <a:gd name="connsiteY6" fmla="*/ 306402 h 2124119"/>
              <a:gd name="connsiteX7" fmla="*/ 38793 w 1313411"/>
              <a:gd name="connsiteY7" fmla="*/ 395071 h 2124119"/>
              <a:gd name="connsiteX8" fmla="*/ 38793 w 1313411"/>
              <a:gd name="connsiteY8" fmla="*/ 433864 h 2124119"/>
              <a:gd name="connsiteX9" fmla="*/ 22167 w 1313411"/>
              <a:gd name="connsiteY9" fmla="*/ 583493 h 2124119"/>
              <a:gd name="connsiteX10" fmla="*/ 49876 w 1313411"/>
              <a:gd name="connsiteY10" fmla="*/ 677704 h 2124119"/>
              <a:gd name="connsiteX11" fmla="*/ 77585 w 1313411"/>
              <a:gd name="connsiteY11" fmla="*/ 710955 h 2124119"/>
              <a:gd name="connsiteX12" fmla="*/ 83127 w 1313411"/>
              <a:gd name="connsiteY12" fmla="*/ 749748 h 2124119"/>
              <a:gd name="connsiteX13" fmla="*/ 72043 w 1313411"/>
              <a:gd name="connsiteY13" fmla="*/ 821791 h 2124119"/>
              <a:gd name="connsiteX14" fmla="*/ 121920 w 1313411"/>
              <a:gd name="connsiteY14" fmla="*/ 832875 h 2124119"/>
              <a:gd name="connsiteX15" fmla="*/ 144087 w 1313411"/>
              <a:gd name="connsiteY15" fmla="*/ 832875 h 2124119"/>
              <a:gd name="connsiteX16" fmla="*/ 166254 w 1313411"/>
              <a:gd name="connsiteY16" fmla="*/ 799624 h 2124119"/>
              <a:gd name="connsiteX17" fmla="*/ 182880 w 1313411"/>
              <a:gd name="connsiteY17" fmla="*/ 788540 h 2124119"/>
              <a:gd name="connsiteX18" fmla="*/ 193963 w 1313411"/>
              <a:gd name="connsiteY18" fmla="*/ 832875 h 2124119"/>
              <a:gd name="connsiteX19" fmla="*/ 188422 w 1313411"/>
              <a:gd name="connsiteY19" fmla="*/ 882751 h 2124119"/>
              <a:gd name="connsiteX20" fmla="*/ 182880 w 1313411"/>
              <a:gd name="connsiteY20" fmla="*/ 899377 h 2124119"/>
              <a:gd name="connsiteX21" fmla="*/ 149629 w 1313411"/>
              <a:gd name="connsiteY21" fmla="*/ 893835 h 2124119"/>
              <a:gd name="connsiteX22" fmla="*/ 133003 w 1313411"/>
              <a:gd name="connsiteY22" fmla="*/ 949253 h 2124119"/>
              <a:gd name="connsiteX23" fmla="*/ 144087 w 1313411"/>
              <a:gd name="connsiteY23" fmla="*/ 1004671 h 2124119"/>
              <a:gd name="connsiteX24" fmla="*/ 171796 w 1313411"/>
              <a:gd name="connsiteY24" fmla="*/ 1032380 h 2124119"/>
              <a:gd name="connsiteX25" fmla="*/ 205047 w 1313411"/>
              <a:gd name="connsiteY25" fmla="*/ 1071173 h 2124119"/>
              <a:gd name="connsiteX26" fmla="*/ 205047 w 1313411"/>
              <a:gd name="connsiteY26" fmla="*/ 1109966 h 2124119"/>
              <a:gd name="connsiteX27" fmla="*/ 182880 w 1313411"/>
              <a:gd name="connsiteY27" fmla="*/ 1126591 h 2124119"/>
              <a:gd name="connsiteX28" fmla="*/ 182880 w 1313411"/>
              <a:gd name="connsiteY28" fmla="*/ 1126591 h 2124119"/>
              <a:gd name="connsiteX29" fmla="*/ 238298 w 1313411"/>
              <a:gd name="connsiteY29" fmla="*/ 1237428 h 2124119"/>
              <a:gd name="connsiteX30" fmla="*/ 249382 w 1313411"/>
              <a:gd name="connsiteY30" fmla="*/ 1326097 h 2124119"/>
              <a:gd name="connsiteX31" fmla="*/ 282633 w 1313411"/>
              <a:gd name="connsiteY31" fmla="*/ 1348264 h 2124119"/>
              <a:gd name="connsiteX32" fmla="*/ 282633 w 1313411"/>
              <a:gd name="connsiteY32" fmla="*/ 1348264 h 2124119"/>
              <a:gd name="connsiteX33" fmla="*/ 304800 w 1313411"/>
              <a:gd name="connsiteY33" fmla="*/ 1398140 h 2124119"/>
              <a:gd name="connsiteX34" fmla="*/ 321425 w 1313411"/>
              <a:gd name="connsiteY34" fmla="*/ 1425849 h 2124119"/>
              <a:gd name="connsiteX35" fmla="*/ 326967 w 1313411"/>
              <a:gd name="connsiteY35" fmla="*/ 1470184 h 2124119"/>
              <a:gd name="connsiteX36" fmla="*/ 299258 w 1313411"/>
              <a:gd name="connsiteY36" fmla="*/ 1514519 h 2124119"/>
              <a:gd name="connsiteX37" fmla="*/ 315883 w 1313411"/>
              <a:gd name="connsiteY37" fmla="*/ 1553311 h 2124119"/>
              <a:gd name="connsiteX38" fmla="*/ 410094 w 1313411"/>
              <a:gd name="connsiteY38" fmla="*/ 1619813 h 2124119"/>
              <a:gd name="connsiteX39" fmla="*/ 459971 w 1313411"/>
              <a:gd name="connsiteY39" fmla="*/ 1630897 h 2124119"/>
              <a:gd name="connsiteX40" fmla="*/ 465513 w 1313411"/>
              <a:gd name="connsiteY40" fmla="*/ 1614271 h 2124119"/>
              <a:gd name="connsiteX41" fmla="*/ 465513 w 1313411"/>
              <a:gd name="connsiteY41" fmla="*/ 1614271 h 2124119"/>
              <a:gd name="connsiteX42" fmla="*/ 543098 w 1313411"/>
              <a:gd name="connsiteY42" fmla="*/ 1719566 h 2124119"/>
              <a:gd name="connsiteX43" fmla="*/ 604058 w 1313411"/>
              <a:gd name="connsiteY43" fmla="*/ 1741733 h 2124119"/>
              <a:gd name="connsiteX44" fmla="*/ 604058 w 1313411"/>
              <a:gd name="connsiteY44" fmla="*/ 1741733 h 2124119"/>
              <a:gd name="connsiteX45" fmla="*/ 642851 w 1313411"/>
              <a:gd name="connsiteY45" fmla="*/ 1802693 h 2124119"/>
              <a:gd name="connsiteX46" fmla="*/ 703811 w 1313411"/>
              <a:gd name="connsiteY46" fmla="*/ 1841486 h 2124119"/>
              <a:gd name="connsiteX47" fmla="*/ 775854 w 1313411"/>
              <a:gd name="connsiteY47" fmla="*/ 1930155 h 2124119"/>
              <a:gd name="connsiteX48" fmla="*/ 786938 w 1313411"/>
              <a:gd name="connsiteY48" fmla="*/ 2024366 h 2124119"/>
              <a:gd name="connsiteX49" fmla="*/ 803563 w 1313411"/>
              <a:gd name="connsiteY49" fmla="*/ 2057617 h 2124119"/>
              <a:gd name="connsiteX50" fmla="*/ 809105 w 1313411"/>
              <a:gd name="connsiteY50" fmla="*/ 2090868 h 2124119"/>
              <a:gd name="connsiteX51" fmla="*/ 1197033 w 1313411"/>
              <a:gd name="connsiteY51" fmla="*/ 2124119 h 2124119"/>
              <a:gd name="connsiteX52" fmla="*/ 1230283 w 1313411"/>
              <a:gd name="connsiteY52" fmla="*/ 2096409 h 2124119"/>
              <a:gd name="connsiteX53" fmla="*/ 1213658 w 1313411"/>
              <a:gd name="connsiteY53" fmla="*/ 2018824 h 2124119"/>
              <a:gd name="connsiteX54" fmla="*/ 1263534 w 1313411"/>
              <a:gd name="connsiteY54" fmla="*/ 1913529 h 2124119"/>
              <a:gd name="connsiteX55" fmla="*/ 1285702 w 1313411"/>
              <a:gd name="connsiteY55" fmla="*/ 1874737 h 2124119"/>
              <a:gd name="connsiteX56" fmla="*/ 1313411 w 1313411"/>
              <a:gd name="connsiteY56" fmla="*/ 1813777 h 2124119"/>
              <a:gd name="connsiteX57" fmla="*/ 1252451 w 1313411"/>
              <a:gd name="connsiteY57" fmla="*/ 1664148 h 2124119"/>
              <a:gd name="connsiteX58" fmla="*/ 576349 w 1313411"/>
              <a:gd name="connsiteY58" fmla="*/ 722039 h 2124119"/>
              <a:gd name="connsiteX59" fmla="*/ 696710 w 1313411"/>
              <a:gd name="connsiteY59" fmla="*/ 167813 h 2124119"/>
              <a:gd name="connsiteX60" fmla="*/ 256872 w 1313411"/>
              <a:gd name="connsiteY60" fmla="*/ 43339 h 2124119"/>
              <a:gd name="connsiteX61" fmla="*/ 106896 w 1313411"/>
              <a:gd name="connsiteY61" fmla="*/ 0 h 2124119"/>
              <a:gd name="connsiteX0" fmla="*/ 106896 w 1313411"/>
              <a:gd name="connsiteY0" fmla="*/ 0 h 2124119"/>
              <a:gd name="connsiteX1" fmla="*/ 102091 w 1313411"/>
              <a:gd name="connsiteY1" fmla="*/ 29052 h 2124119"/>
              <a:gd name="connsiteX2" fmla="*/ 99753 w 1313411"/>
              <a:gd name="connsiteY2" fmla="*/ 68104 h 2124119"/>
              <a:gd name="connsiteX3" fmla="*/ 94211 w 1313411"/>
              <a:gd name="connsiteY3" fmla="*/ 106897 h 2124119"/>
              <a:gd name="connsiteX4" fmla="*/ 72043 w 1313411"/>
              <a:gd name="connsiteY4" fmla="*/ 145689 h 2124119"/>
              <a:gd name="connsiteX5" fmla="*/ 83127 w 1313411"/>
              <a:gd name="connsiteY5" fmla="*/ 201108 h 2124119"/>
              <a:gd name="connsiteX6" fmla="*/ 0 w 1313411"/>
              <a:gd name="connsiteY6" fmla="*/ 262068 h 2124119"/>
              <a:gd name="connsiteX7" fmla="*/ 0 w 1313411"/>
              <a:gd name="connsiteY7" fmla="*/ 306402 h 2124119"/>
              <a:gd name="connsiteX8" fmla="*/ 38793 w 1313411"/>
              <a:gd name="connsiteY8" fmla="*/ 395071 h 2124119"/>
              <a:gd name="connsiteX9" fmla="*/ 38793 w 1313411"/>
              <a:gd name="connsiteY9" fmla="*/ 433864 h 2124119"/>
              <a:gd name="connsiteX10" fmla="*/ 22167 w 1313411"/>
              <a:gd name="connsiteY10" fmla="*/ 583493 h 2124119"/>
              <a:gd name="connsiteX11" fmla="*/ 49876 w 1313411"/>
              <a:gd name="connsiteY11" fmla="*/ 677704 h 2124119"/>
              <a:gd name="connsiteX12" fmla="*/ 77585 w 1313411"/>
              <a:gd name="connsiteY12" fmla="*/ 710955 h 2124119"/>
              <a:gd name="connsiteX13" fmla="*/ 83127 w 1313411"/>
              <a:gd name="connsiteY13" fmla="*/ 749748 h 2124119"/>
              <a:gd name="connsiteX14" fmla="*/ 72043 w 1313411"/>
              <a:gd name="connsiteY14" fmla="*/ 821791 h 2124119"/>
              <a:gd name="connsiteX15" fmla="*/ 121920 w 1313411"/>
              <a:gd name="connsiteY15" fmla="*/ 832875 h 2124119"/>
              <a:gd name="connsiteX16" fmla="*/ 144087 w 1313411"/>
              <a:gd name="connsiteY16" fmla="*/ 832875 h 2124119"/>
              <a:gd name="connsiteX17" fmla="*/ 166254 w 1313411"/>
              <a:gd name="connsiteY17" fmla="*/ 799624 h 2124119"/>
              <a:gd name="connsiteX18" fmla="*/ 182880 w 1313411"/>
              <a:gd name="connsiteY18" fmla="*/ 788540 h 2124119"/>
              <a:gd name="connsiteX19" fmla="*/ 193963 w 1313411"/>
              <a:gd name="connsiteY19" fmla="*/ 832875 h 2124119"/>
              <a:gd name="connsiteX20" fmla="*/ 188422 w 1313411"/>
              <a:gd name="connsiteY20" fmla="*/ 882751 h 2124119"/>
              <a:gd name="connsiteX21" fmla="*/ 182880 w 1313411"/>
              <a:gd name="connsiteY21" fmla="*/ 899377 h 2124119"/>
              <a:gd name="connsiteX22" fmla="*/ 149629 w 1313411"/>
              <a:gd name="connsiteY22" fmla="*/ 893835 h 2124119"/>
              <a:gd name="connsiteX23" fmla="*/ 133003 w 1313411"/>
              <a:gd name="connsiteY23" fmla="*/ 949253 h 2124119"/>
              <a:gd name="connsiteX24" fmla="*/ 144087 w 1313411"/>
              <a:gd name="connsiteY24" fmla="*/ 1004671 h 2124119"/>
              <a:gd name="connsiteX25" fmla="*/ 171796 w 1313411"/>
              <a:gd name="connsiteY25" fmla="*/ 1032380 h 2124119"/>
              <a:gd name="connsiteX26" fmla="*/ 205047 w 1313411"/>
              <a:gd name="connsiteY26" fmla="*/ 1071173 h 2124119"/>
              <a:gd name="connsiteX27" fmla="*/ 205047 w 1313411"/>
              <a:gd name="connsiteY27" fmla="*/ 1109966 h 2124119"/>
              <a:gd name="connsiteX28" fmla="*/ 182880 w 1313411"/>
              <a:gd name="connsiteY28" fmla="*/ 1126591 h 2124119"/>
              <a:gd name="connsiteX29" fmla="*/ 182880 w 1313411"/>
              <a:gd name="connsiteY29" fmla="*/ 1126591 h 2124119"/>
              <a:gd name="connsiteX30" fmla="*/ 238298 w 1313411"/>
              <a:gd name="connsiteY30" fmla="*/ 1237428 h 2124119"/>
              <a:gd name="connsiteX31" fmla="*/ 249382 w 1313411"/>
              <a:gd name="connsiteY31" fmla="*/ 1326097 h 2124119"/>
              <a:gd name="connsiteX32" fmla="*/ 282633 w 1313411"/>
              <a:gd name="connsiteY32" fmla="*/ 1348264 h 2124119"/>
              <a:gd name="connsiteX33" fmla="*/ 282633 w 1313411"/>
              <a:gd name="connsiteY33" fmla="*/ 1348264 h 2124119"/>
              <a:gd name="connsiteX34" fmla="*/ 304800 w 1313411"/>
              <a:gd name="connsiteY34" fmla="*/ 1398140 h 2124119"/>
              <a:gd name="connsiteX35" fmla="*/ 321425 w 1313411"/>
              <a:gd name="connsiteY35" fmla="*/ 1425849 h 2124119"/>
              <a:gd name="connsiteX36" fmla="*/ 326967 w 1313411"/>
              <a:gd name="connsiteY36" fmla="*/ 1470184 h 2124119"/>
              <a:gd name="connsiteX37" fmla="*/ 299258 w 1313411"/>
              <a:gd name="connsiteY37" fmla="*/ 1514519 h 2124119"/>
              <a:gd name="connsiteX38" fmla="*/ 315883 w 1313411"/>
              <a:gd name="connsiteY38" fmla="*/ 1553311 h 2124119"/>
              <a:gd name="connsiteX39" fmla="*/ 410094 w 1313411"/>
              <a:gd name="connsiteY39" fmla="*/ 1619813 h 2124119"/>
              <a:gd name="connsiteX40" fmla="*/ 459971 w 1313411"/>
              <a:gd name="connsiteY40" fmla="*/ 1630897 h 2124119"/>
              <a:gd name="connsiteX41" fmla="*/ 465513 w 1313411"/>
              <a:gd name="connsiteY41" fmla="*/ 1614271 h 2124119"/>
              <a:gd name="connsiteX42" fmla="*/ 465513 w 1313411"/>
              <a:gd name="connsiteY42" fmla="*/ 1614271 h 2124119"/>
              <a:gd name="connsiteX43" fmla="*/ 543098 w 1313411"/>
              <a:gd name="connsiteY43" fmla="*/ 1719566 h 2124119"/>
              <a:gd name="connsiteX44" fmla="*/ 604058 w 1313411"/>
              <a:gd name="connsiteY44" fmla="*/ 1741733 h 2124119"/>
              <a:gd name="connsiteX45" fmla="*/ 604058 w 1313411"/>
              <a:gd name="connsiteY45" fmla="*/ 1741733 h 2124119"/>
              <a:gd name="connsiteX46" fmla="*/ 642851 w 1313411"/>
              <a:gd name="connsiteY46" fmla="*/ 1802693 h 2124119"/>
              <a:gd name="connsiteX47" fmla="*/ 703811 w 1313411"/>
              <a:gd name="connsiteY47" fmla="*/ 1841486 h 2124119"/>
              <a:gd name="connsiteX48" fmla="*/ 775854 w 1313411"/>
              <a:gd name="connsiteY48" fmla="*/ 1930155 h 2124119"/>
              <a:gd name="connsiteX49" fmla="*/ 786938 w 1313411"/>
              <a:gd name="connsiteY49" fmla="*/ 2024366 h 2124119"/>
              <a:gd name="connsiteX50" fmla="*/ 803563 w 1313411"/>
              <a:gd name="connsiteY50" fmla="*/ 2057617 h 2124119"/>
              <a:gd name="connsiteX51" fmla="*/ 809105 w 1313411"/>
              <a:gd name="connsiteY51" fmla="*/ 2090868 h 2124119"/>
              <a:gd name="connsiteX52" fmla="*/ 1197033 w 1313411"/>
              <a:gd name="connsiteY52" fmla="*/ 2124119 h 2124119"/>
              <a:gd name="connsiteX53" fmla="*/ 1230283 w 1313411"/>
              <a:gd name="connsiteY53" fmla="*/ 2096409 h 2124119"/>
              <a:gd name="connsiteX54" fmla="*/ 1213658 w 1313411"/>
              <a:gd name="connsiteY54" fmla="*/ 2018824 h 2124119"/>
              <a:gd name="connsiteX55" fmla="*/ 1263534 w 1313411"/>
              <a:gd name="connsiteY55" fmla="*/ 1913529 h 2124119"/>
              <a:gd name="connsiteX56" fmla="*/ 1285702 w 1313411"/>
              <a:gd name="connsiteY56" fmla="*/ 1874737 h 2124119"/>
              <a:gd name="connsiteX57" fmla="*/ 1313411 w 1313411"/>
              <a:gd name="connsiteY57" fmla="*/ 1813777 h 2124119"/>
              <a:gd name="connsiteX58" fmla="*/ 1252451 w 1313411"/>
              <a:gd name="connsiteY58" fmla="*/ 1664148 h 2124119"/>
              <a:gd name="connsiteX59" fmla="*/ 576349 w 1313411"/>
              <a:gd name="connsiteY59" fmla="*/ 722039 h 2124119"/>
              <a:gd name="connsiteX60" fmla="*/ 696710 w 1313411"/>
              <a:gd name="connsiteY60" fmla="*/ 167813 h 2124119"/>
              <a:gd name="connsiteX61" fmla="*/ 256872 w 1313411"/>
              <a:gd name="connsiteY61" fmla="*/ 43339 h 2124119"/>
              <a:gd name="connsiteX62" fmla="*/ 106896 w 1313411"/>
              <a:gd name="connsiteY62" fmla="*/ 0 h 2124119"/>
              <a:gd name="connsiteX0" fmla="*/ 106896 w 1313411"/>
              <a:gd name="connsiteY0" fmla="*/ 0 h 2124119"/>
              <a:gd name="connsiteX1" fmla="*/ 83041 w 1313411"/>
              <a:gd name="connsiteY1" fmla="*/ 21908 h 2124119"/>
              <a:gd name="connsiteX2" fmla="*/ 99753 w 1313411"/>
              <a:gd name="connsiteY2" fmla="*/ 68104 h 2124119"/>
              <a:gd name="connsiteX3" fmla="*/ 94211 w 1313411"/>
              <a:gd name="connsiteY3" fmla="*/ 106897 h 2124119"/>
              <a:gd name="connsiteX4" fmla="*/ 72043 w 1313411"/>
              <a:gd name="connsiteY4" fmla="*/ 145689 h 2124119"/>
              <a:gd name="connsiteX5" fmla="*/ 83127 w 1313411"/>
              <a:gd name="connsiteY5" fmla="*/ 201108 h 2124119"/>
              <a:gd name="connsiteX6" fmla="*/ 0 w 1313411"/>
              <a:gd name="connsiteY6" fmla="*/ 262068 h 2124119"/>
              <a:gd name="connsiteX7" fmla="*/ 0 w 1313411"/>
              <a:gd name="connsiteY7" fmla="*/ 306402 h 2124119"/>
              <a:gd name="connsiteX8" fmla="*/ 38793 w 1313411"/>
              <a:gd name="connsiteY8" fmla="*/ 395071 h 2124119"/>
              <a:gd name="connsiteX9" fmla="*/ 38793 w 1313411"/>
              <a:gd name="connsiteY9" fmla="*/ 433864 h 2124119"/>
              <a:gd name="connsiteX10" fmla="*/ 22167 w 1313411"/>
              <a:gd name="connsiteY10" fmla="*/ 583493 h 2124119"/>
              <a:gd name="connsiteX11" fmla="*/ 49876 w 1313411"/>
              <a:gd name="connsiteY11" fmla="*/ 677704 h 2124119"/>
              <a:gd name="connsiteX12" fmla="*/ 77585 w 1313411"/>
              <a:gd name="connsiteY12" fmla="*/ 710955 h 2124119"/>
              <a:gd name="connsiteX13" fmla="*/ 83127 w 1313411"/>
              <a:gd name="connsiteY13" fmla="*/ 749748 h 2124119"/>
              <a:gd name="connsiteX14" fmla="*/ 72043 w 1313411"/>
              <a:gd name="connsiteY14" fmla="*/ 821791 h 2124119"/>
              <a:gd name="connsiteX15" fmla="*/ 121920 w 1313411"/>
              <a:gd name="connsiteY15" fmla="*/ 832875 h 2124119"/>
              <a:gd name="connsiteX16" fmla="*/ 144087 w 1313411"/>
              <a:gd name="connsiteY16" fmla="*/ 832875 h 2124119"/>
              <a:gd name="connsiteX17" fmla="*/ 166254 w 1313411"/>
              <a:gd name="connsiteY17" fmla="*/ 799624 h 2124119"/>
              <a:gd name="connsiteX18" fmla="*/ 182880 w 1313411"/>
              <a:gd name="connsiteY18" fmla="*/ 788540 h 2124119"/>
              <a:gd name="connsiteX19" fmla="*/ 193963 w 1313411"/>
              <a:gd name="connsiteY19" fmla="*/ 832875 h 2124119"/>
              <a:gd name="connsiteX20" fmla="*/ 188422 w 1313411"/>
              <a:gd name="connsiteY20" fmla="*/ 882751 h 2124119"/>
              <a:gd name="connsiteX21" fmla="*/ 182880 w 1313411"/>
              <a:gd name="connsiteY21" fmla="*/ 899377 h 2124119"/>
              <a:gd name="connsiteX22" fmla="*/ 149629 w 1313411"/>
              <a:gd name="connsiteY22" fmla="*/ 893835 h 2124119"/>
              <a:gd name="connsiteX23" fmla="*/ 133003 w 1313411"/>
              <a:gd name="connsiteY23" fmla="*/ 949253 h 2124119"/>
              <a:gd name="connsiteX24" fmla="*/ 144087 w 1313411"/>
              <a:gd name="connsiteY24" fmla="*/ 1004671 h 2124119"/>
              <a:gd name="connsiteX25" fmla="*/ 171796 w 1313411"/>
              <a:gd name="connsiteY25" fmla="*/ 1032380 h 2124119"/>
              <a:gd name="connsiteX26" fmla="*/ 205047 w 1313411"/>
              <a:gd name="connsiteY26" fmla="*/ 1071173 h 2124119"/>
              <a:gd name="connsiteX27" fmla="*/ 205047 w 1313411"/>
              <a:gd name="connsiteY27" fmla="*/ 1109966 h 2124119"/>
              <a:gd name="connsiteX28" fmla="*/ 182880 w 1313411"/>
              <a:gd name="connsiteY28" fmla="*/ 1126591 h 2124119"/>
              <a:gd name="connsiteX29" fmla="*/ 182880 w 1313411"/>
              <a:gd name="connsiteY29" fmla="*/ 1126591 h 2124119"/>
              <a:gd name="connsiteX30" fmla="*/ 238298 w 1313411"/>
              <a:gd name="connsiteY30" fmla="*/ 1237428 h 2124119"/>
              <a:gd name="connsiteX31" fmla="*/ 249382 w 1313411"/>
              <a:gd name="connsiteY31" fmla="*/ 1326097 h 2124119"/>
              <a:gd name="connsiteX32" fmla="*/ 282633 w 1313411"/>
              <a:gd name="connsiteY32" fmla="*/ 1348264 h 2124119"/>
              <a:gd name="connsiteX33" fmla="*/ 282633 w 1313411"/>
              <a:gd name="connsiteY33" fmla="*/ 1348264 h 2124119"/>
              <a:gd name="connsiteX34" fmla="*/ 304800 w 1313411"/>
              <a:gd name="connsiteY34" fmla="*/ 1398140 h 2124119"/>
              <a:gd name="connsiteX35" fmla="*/ 321425 w 1313411"/>
              <a:gd name="connsiteY35" fmla="*/ 1425849 h 2124119"/>
              <a:gd name="connsiteX36" fmla="*/ 326967 w 1313411"/>
              <a:gd name="connsiteY36" fmla="*/ 1470184 h 2124119"/>
              <a:gd name="connsiteX37" fmla="*/ 299258 w 1313411"/>
              <a:gd name="connsiteY37" fmla="*/ 1514519 h 2124119"/>
              <a:gd name="connsiteX38" fmla="*/ 315883 w 1313411"/>
              <a:gd name="connsiteY38" fmla="*/ 1553311 h 2124119"/>
              <a:gd name="connsiteX39" fmla="*/ 410094 w 1313411"/>
              <a:gd name="connsiteY39" fmla="*/ 1619813 h 2124119"/>
              <a:gd name="connsiteX40" fmla="*/ 459971 w 1313411"/>
              <a:gd name="connsiteY40" fmla="*/ 1630897 h 2124119"/>
              <a:gd name="connsiteX41" fmla="*/ 465513 w 1313411"/>
              <a:gd name="connsiteY41" fmla="*/ 1614271 h 2124119"/>
              <a:gd name="connsiteX42" fmla="*/ 465513 w 1313411"/>
              <a:gd name="connsiteY42" fmla="*/ 1614271 h 2124119"/>
              <a:gd name="connsiteX43" fmla="*/ 543098 w 1313411"/>
              <a:gd name="connsiteY43" fmla="*/ 1719566 h 2124119"/>
              <a:gd name="connsiteX44" fmla="*/ 604058 w 1313411"/>
              <a:gd name="connsiteY44" fmla="*/ 1741733 h 2124119"/>
              <a:gd name="connsiteX45" fmla="*/ 604058 w 1313411"/>
              <a:gd name="connsiteY45" fmla="*/ 1741733 h 2124119"/>
              <a:gd name="connsiteX46" fmla="*/ 642851 w 1313411"/>
              <a:gd name="connsiteY46" fmla="*/ 1802693 h 2124119"/>
              <a:gd name="connsiteX47" fmla="*/ 703811 w 1313411"/>
              <a:gd name="connsiteY47" fmla="*/ 1841486 h 2124119"/>
              <a:gd name="connsiteX48" fmla="*/ 775854 w 1313411"/>
              <a:gd name="connsiteY48" fmla="*/ 1930155 h 2124119"/>
              <a:gd name="connsiteX49" fmla="*/ 786938 w 1313411"/>
              <a:gd name="connsiteY49" fmla="*/ 2024366 h 2124119"/>
              <a:gd name="connsiteX50" fmla="*/ 803563 w 1313411"/>
              <a:gd name="connsiteY50" fmla="*/ 2057617 h 2124119"/>
              <a:gd name="connsiteX51" fmla="*/ 809105 w 1313411"/>
              <a:gd name="connsiteY51" fmla="*/ 2090868 h 2124119"/>
              <a:gd name="connsiteX52" fmla="*/ 1197033 w 1313411"/>
              <a:gd name="connsiteY52" fmla="*/ 2124119 h 2124119"/>
              <a:gd name="connsiteX53" fmla="*/ 1230283 w 1313411"/>
              <a:gd name="connsiteY53" fmla="*/ 2096409 h 2124119"/>
              <a:gd name="connsiteX54" fmla="*/ 1213658 w 1313411"/>
              <a:gd name="connsiteY54" fmla="*/ 2018824 h 2124119"/>
              <a:gd name="connsiteX55" fmla="*/ 1263534 w 1313411"/>
              <a:gd name="connsiteY55" fmla="*/ 1913529 h 2124119"/>
              <a:gd name="connsiteX56" fmla="*/ 1285702 w 1313411"/>
              <a:gd name="connsiteY56" fmla="*/ 1874737 h 2124119"/>
              <a:gd name="connsiteX57" fmla="*/ 1313411 w 1313411"/>
              <a:gd name="connsiteY57" fmla="*/ 1813777 h 2124119"/>
              <a:gd name="connsiteX58" fmla="*/ 1252451 w 1313411"/>
              <a:gd name="connsiteY58" fmla="*/ 1664148 h 2124119"/>
              <a:gd name="connsiteX59" fmla="*/ 576349 w 1313411"/>
              <a:gd name="connsiteY59" fmla="*/ 722039 h 2124119"/>
              <a:gd name="connsiteX60" fmla="*/ 696710 w 1313411"/>
              <a:gd name="connsiteY60" fmla="*/ 167813 h 2124119"/>
              <a:gd name="connsiteX61" fmla="*/ 256872 w 1313411"/>
              <a:gd name="connsiteY61" fmla="*/ 43339 h 2124119"/>
              <a:gd name="connsiteX62" fmla="*/ 106896 w 1313411"/>
              <a:gd name="connsiteY62" fmla="*/ 0 h 2124119"/>
              <a:gd name="connsiteX0" fmla="*/ 106896 w 1333018"/>
              <a:gd name="connsiteY0" fmla="*/ 0 h 2124119"/>
              <a:gd name="connsiteX1" fmla="*/ 83041 w 1333018"/>
              <a:gd name="connsiteY1" fmla="*/ 21908 h 2124119"/>
              <a:gd name="connsiteX2" fmla="*/ 99753 w 1333018"/>
              <a:gd name="connsiteY2" fmla="*/ 68104 h 2124119"/>
              <a:gd name="connsiteX3" fmla="*/ 94211 w 1333018"/>
              <a:gd name="connsiteY3" fmla="*/ 106897 h 2124119"/>
              <a:gd name="connsiteX4" fmla="*/ 72043 w 1333018"/>
              <a:gd name="connsiteY4" fmla="*/ 145689 h 2124119"/>
              <a:gd name="connsiteX5" fmla="*/ 83127 w 1333018"/>
              <a:gd name="connsiteY5" fmla="*/ 201108 h 2124119"/>
              <a:gd name="connsiteX6" fmla="*/ 0 w 1333018"/>
              <a:gd name="connsiteY6" fmla="*/ 262068 h 2124119"/>
              <a:gd name="connsiteX7" fmla="*/ 0 w 1333018"/>
              <a:gd name="connsiteY7" fmla="*/ 306402 h 2124119"/>
              <a:gd name="connsiteX8" fmla="*/ 38793 w 1333018"/>
              <a:gd name="connsiteY8" fmla="*/ 395071 h 2124119"/>
              <a:gd name="connsiteX9" fmla="*/ 38793 w 1333018"/>
              <a:gd name="connsiteY9" fmla="*/ 433864 h 2124119"/>
              <a:gd name="connsiteX10" fmla="*/ 22167 w 1333018"/>
              <a:gd name="connsiteY10" fmla="*/ 583493 h 2124119"/>
              <a:gd name="connsiteX11" fmla="*/ 49876 w 1333018"/>
              <a:gd name="connsiteY11" fmla="*/ 677704 h 2124119"/>
              <a:gd name="connsiteX12" fmla="*/ 77585 w 1333018"/>
              <a:gd name="connsiteY12" fmla="*/ 710955 h 2124119"/>
              <a:gd name="connsiteX13" fmla="*/ 83127 w 1333018"/>
              <a:gd name="connsiteY13" fmla="*/ 749748 h 2124119"/>
              <a:gd name="connsiteX14" fmla="*/ 72043 w 1333018"/>
              <a:gd name="connsiteY14" fmla="*/ 821791 h 2124119"/>
              <a:gd name="connsiteX15" fmla="*/ 121920 w 1333018"/>
              <a:gd name="connsiteY15" fmla="*/ 832875 h 2124119"/>
              <a:gd name="connsiteX16" fmla="*/ 144087 w 1333018"/>
              <a:gd name="connsiteY16" fmla="*/ 832875 h 2124119"/>
              <a:gd name="connsiteX17" fmla="*/ 166254 w 1333018"/>
              <a:gd name="connsiteY17" fmla="*/ 799624 h 2124119"/>
              <a:gd name="connsiteX18" fmla="*/ 182880 w 1333018"/>
              <a:gd name="connsiteY18" fmla="*/ 788540 h 2124119"/>
              <a:gd name="connsiteX19" fmla="*/ 193963 w 1333018"/>
              <a:gd name="connsiteY19" fmla="*/ 832875 h 2124119"/>
              <a:gd name="connsiteX20" fmla="*/ 188422 w 1333018"/>
              <a:gd name="connsiteY20" fmla="*/ 882751 h 2124119"/>
              <a:gd name="connsiteX21" fmla="*/ 182880 w 1333018"/>
              <a:gd name="connsiteY21" fmla="*/ 899377 h 2124119"/>
              <a:gd name="connsiteX22" fmla="*/ 149629 w 1333018"/>
              <a:gd name="connsiteY22" fmla="*/ 893835 h 2124119"/>
              <a:gd name="connsiteX23" fmla="*/ 133003 w 1333018"/>
              <a:gd name="connsiteY23" fmla="*/ 949253 h 2124119"/>
              <a:gd name="connsiteX24" fmla="*/ 144087 w 1333018"/>
              <a:gd name="connsiteY24" fmla="*/ 1004671 h 2124119"/>
              <a:gd name="connsiteX25" fmla="*/ 171796 w 1333018"/>
              <a:gd name="connsiteY25" fmla="*/ 1032380 h 2124119"/>
              <a:gd name="connsiteX26" fmla="*/ 205047 w 1333018"/>
              <a:gd name="connsiteY26" fmla="*/ 1071173 h 2124119"/>
              <a:gd name="connsiteX27" fmla="*/ 205047 w 1333018"/>
              <a:gd name="connsiteY27" fmla="*/ 1109966 h 2124119"/>
              <a:gd name="connsiteX28" fmla="*/ 182880 w 1333018"/>
              <a:gd name="connsiteY28" fmla="*/ 1126591 h 2124119"/>
              <a:gd name="connsiteX29" fmla="*/ 182880 w 1333018"/>
              <a:gd name="connsiteY29" fmla="*/ 1126591 h 2124119"/>
              <a:gd name="connsiteX30" fmla="*/ 238298 w 1333018"/>
              <a:gd name="connsiteY30" fmla="*/ 1237428 h 2124119"/>
              <a:gd name="connsiteX31" fmla="*/ 249382 w 1333018"/>
              <a:gd name="connsiteY31" fmla="*/ 1326097 h 2124119"/>
              <a:gd name="connsiteX32" fmla="*/ 282633 w 1333018"/>
              <a:gd name="connsiteY32" fmla="*/ 1348264 h 2124119"/>
              <a:gd name="connsiteX33" fmla="*/ 282633 w 1333018"/>
              <a:gd name="connsiteY33" fmla="*/ 1348264 h 2124119"/>
              <a:gd name="connsiteX34" fmla="*/ 304800 w 1333018"/>
              <a:gd name="connsiteY34" fmla="*/ 1398140 h 2124119"/>
              <a:gd name="connsiteX35" fmla="*/ 321425 w 1333018"/>
              <a:gd name="connsiteY35" fmla="*/ 1425849 h 2124119"/>
              <a:gd name="connsiteX36" fmla="*/ 326967 w 1333018"/>
              <a:gd name="connsiteY36" fmla="*/ 1470184 h 2124119"/>
              <a:gd name="connsiteX37" fmla="*/ 299258 w 1333018"/>
              <a:gd name="connsiteY37" fmla="*/ 1514519 h 2124119"/>
              <a:gd name="connsiteX38" fmla="*/ 315883 w 1333018"/>
              <a:gd name="connsiteY38" fmla="*/ 1553311 h 2124119"/>
              <a:gd name="connsiteX39" fmla="*/ 410094 w 1333018"/>
              <a:gd name="connsiteY39" fmla="*/ 1619813 h 2124119"/>
              <a:gd name="connsiteX40" fmla="*/ 459971 w 1333018"/>
              <a:gd name="connsiteY40" fmla="*/ 1630897 h 2124119"/>
              <a:gd name="connsiteX41" fmla="*/ 465513 w 1333018"/>
              <a:gd name="connsiteY41" fmla="*/ 1614271 h 2124119"/>
              <a:gd name="connsiteX42" fmla="*/ 465513 w 1333018"/>
              <a:gd name="connsiteY42" fmla="*/ 1614271 h 2124119"/>
              <a:gd name="connsiteX43" fmla="*/ 543098 w 1333018"/>
              <a:gd name="connsiteY43" fmla="*/ 1719566 h 2124119"/>
              <a:gd name="connsiteX44" fmla="*/ 604058 w 1333018"/>
              <a:gd name="connsiteY44" fmla="*/ 1741733 h 2124119"/>
              <a:gd name="connsiteX45" fmla="*/ 604058 w 1333018"/>
              <a:gd name="connsiteY45" fmla="*/ 1741733 h 2124119"/>
              <a:gd name="connsiteX46" fmla="*/ 642851 w 1333018"/>
              <a:gd name="connsiteY46" fmla="*/ 1802693 h 2124119"/>
              <a:gd name="connsiteX47" fmla="*/ 703811 w 1333018"/>
              <a:gd name="connsiteY47" fmla="*/ 1841486 h 2124119"/>
              <a:gd name="connsiteX48" fmla="*/ 775854 w 1333018"/>
              <a:gd name="connsiteY48" fmla="*/ 1930155 h 2124119"/>
              <a:gd name="connsiteX49" fmla="*/ 786938 w 1333018"/>
              <a:gd name="connsiteY49" fmla="*/ 2024366 h 2124119"/>
              <a:gd name="connsiteX50" fmla="*/ 803563 w 1333018"/>
              <a:gd name="connsiteY50" fmla="*/ 2057617 h 2124119"/>
              <a:gd name="connsiteX51" fmla="*/ 809105 w 1333018"/>
              <a:gd name="connsiteY51" fmla="*/ 2090868 h 2124119"/>
              <a:gd name="connsiteX52" fmla="*/ 1197033 w 1333018"/>
              <a:gd name="connsiteY52" fmla="*/ 2124119 h 2124119"/>
              <a:gd name="connsiteX53" fmla="*/ 1230283 w 1333018"/>
              <a:gd name="connsiteY53" fmla="*/ 2096409 h 2124119"/>
              <a:gd name="connsiteX54" fmla="*/ 1213658 w 1333018"/>
              <a:gd name="connsiteY54" fmla="*/ 2018824 h 2124119"/>
              <a:gd name="connsiteX55" fmla="*/ 1263534 w 1333018"/>
              <a:gd name="connsiteY55" fmla="*/ 1913529 h 2124119"/>
              <a:gd name="connsiteX56" fmla="*/ 1285702 w 1333018"/>
              <a:gd name="connsiteY56" fmla="*/ 1874737 h 2124119"/>
              <a:gd name="connsiteX57" fmla="*/ 1333018 w 1333018"/>
              <a:gd name="connsiteY57" fmla="*/ 1835246 h 2124119"/>
              <a:gd name="connsiteX58" fmla="*/ 1252451 w 1333018"/>
              <a:gd name="connsiteY58" fmla="*/ 1664148 h 2124119"/>
              <a:gd name="connsiteX59" fmla="*/ 576349 w 1333018"/>
              <a:gd name="connsiteY59" fmla="*/ 722039 h 2124119"/>
              <a:gd name="connsiteX60" fmla="*/ 696710 w 1333018"/>
              <a:gd name="connsiteY60" fmla="*/ 167813 h 2124119"/>
              <a:gd name="connsiteX61" fmla="*/ 256872 w 1333018"/>
              <a:gd name="connsiteY61" fmla="*/ 43339 h 2124119"/>
              <a:gd name="connsiteX62" fmla="*/ 106896 w 1333018"/>
              <a:gd name="connsiteY62" fmla="*/ 0 h 2124119"/>
              <a:gd name="connsiteX0" fmla="*/ 106896 w 1333018"/>
              <a:gd name="connsiteY0" fmla="*/ 0 h 2124119"/>
              <a:gd name="connsiteX1" fmla="*/ 83041 w 1333018"/>
              <a:gd name="connsiteY1" fmla="*/ 21908 h 2124119"/>
              <a:gd name="connsiteX2" fmla="*/ 99753 w 1333018"/>
              <a:gd name="connsiteY2" fmla="*/ 68104 h 2124119"/>
              <a:gd name="connsiteX3" fmla="*/ 94211 w 1333018"/>
              <a:gd name="connsiteY3" fmla="*/ 106897 h 2124119"/>
              <a:gd name="connsiteX4" fmla="*/ 72043 w 1333018"/>
              <a:gd name="connsiteY4" fmla="*/ 145689 h 2124119"/>
              <a:gd name="connsiteX5" fmla="*/ 83127 w 1333018"/>
              <a:gd name="connsiteY5" fmla="*/ 201108 h 2124119"/>
              <a:gd name="connsiteX6" fmla="*/ 0 w 1333018"/>
              <a:gd name="connsiteY6" fmla="*/ 262068 h 2124119"/>
              <a:gd name="connsiteX7" fmla="*/ 0 w 1333018"/>
              <a:gd name="connsiteY7" fmla="*/ 306402 h 2124119"/>
              <a:gd name="connsiteX8" fmla="*/ 38793 w 1333018"/>
              <a:gd name="connsiteY8" fmla="*/ 395071 h 2124119"/>
              <a:gd name="connsiteX9" fmla="*/ 38793 w 1333018"/>
              <a:gd name="connsiteY9" fmla="*/ 433864 h 2124119"/>
              <a:gd name="connsiteX10" fmla="*/ 22167 w 1333018"/>
              <a:gd name="connsiteY10" fmla="*/ 583493 h 2124119"/>
              <a:gd name="connsiteX11" fmla="*/ 49876 w 1333018"/>
              <a:gd name="connsiteY11" fmla="*/ 677704 h 2124119"/>
              <a:gd name="connsiteX12" fmla="*/ 77585 w 1333018"/>
              <a:gd name="connsiteY12" fmla="*/ 710955 h 2124119"/>
              <a:gd name="connsiteX13" fmla="*/ 83127 w 1333018"/>
              <a:gd name="connsiteY13" fmla="*/ 749748 h 2124119"/>
              <a:gd name="connsiteX14" fmla="*/ 72043 w 1333018"/>
              <a:gd name="connsiteY14" fmla="*/ 821791 h 2124119"/>
              <a:gd name="connsiteX15" fmla="*/ 121920 w 1333018"/>
              <a:gd name="connsiteY15" fmla="*/ 832875 h 2124119"/>
              <a:gd name="connsiteX16" fmla="*/ 144087 w 1333018"/>
              <a:gd name="connsiteY16" fmla="*/ 832875 h 2124119"/>
              <a:gd name="connsiteX17" fmla="*/ 166254 w 1333018"/>
              <a:gd name="connsiteY17" fmla="*/ 799624 h 2124119"/>
              <a:gd name="connsiteX18" fmla="*/ 182880 w 1333018"/>
              <a:gd name="connsiteY18" fmla="*/ 788540 h 2124119"/>
              <a:gd name="connsiteX19" fmla="*/ 193963 w 1333018"/>
              <a:gd name="connsiteY19" fmla="*/ 832875 h 2124119"/>
              <a:gd name="connsiteX20" fmla="*/ 188422 w 1333018"/>
              <a:gd name="connsiteY20" fmla="*/ 882751 h 2124119"/>
              <a:gd name="connsiteX21" fmla="*/ 182880 w 1333018"/>
              <a:gd name="connsiteY21" fmla="*/ 899377 h 2124119"/>
              <a:gd name="connsiteX22" fmla="*/ 149629 w 1333018"/>
              <a:gd name="connsiteY22" fmla="*/ 893835 h 2124119"/>
              <a:gd name="connsiteX23" fmla="*/ 133003 w 1333018"/>
              <a:gd name="connsiteY23" fmla="*/ 949253 h 2124119"/>
              <a:gd name="connsiteX24" fmla="*/ 144087 w 1333018"/>
              <a:gd name="connsiteY24" fmla="*/ 1004671 h 2124119"/>
              <a:gd name="connsiteX25" fmla="*/ 171796 w 1333018"/>
              <a:gd name="connsiteY25" fmla="*/ 1032380 h 2124119"/>
              <a:gd name="connsiteX26" fmla="*/ 205047 w 1333018"/>
              <a:gd name="connsiteY26" fmla="*/ 1071173 h 2124119"/>
              <a:gd name="connsiteX27" fmla="*/ 205047 w 1333018"/>
              <a:gd name="connsiteY27" fmla="*/ 1109966 h 2124119"/>
              <a:gd name="connsiteX28" fmla="*/ 182880 w 1333018"/>
              <a:gd name="connsiteY28" fmla="*/ 1126591 h 2124119"/>
              <a:gd name="connsiteX29" fmla="*/ 182880 w 1333018"/>
              <a:gd name="connsiteY29" fmla="*/ 1126591 h 2124119"/>
              <a:gd name="connsiteX30" fmla="*/ 238298 w 1333018"/>
              <a:gd name="connsiteY30" fmla="*/ 1237428 h 2124119"/>
              <a:gd name="connsiteX31" fmla="*/ 249382 w 1333018"/>
              <a:gd name="connsiteY31" fmla="*/ 1326097 h 2124119"/>
              <a:gd name="connsiteX32" fmla="*/ 282633 w 1333018"/>
              <a:gd name="connsiteY32" fmla="*/ 1348264 h 2124119"/>
              <a:gd name="connsiteX33" fmla="*/ 282633 w 1333018"/>
              <a:gd name="connsiteY33" fmla="*/ 1348264 h 2124119"/>
              <a:gd name="connsiteX34" fmla="*/ 304800 w 1333018"/>
              <a:gd name="connsiteY34" fmla="*/ 1398140 h 2124119"/>
              <a:gd name="connsiteX35" fmla="*/ 321425 w 1333018"/>
              <a:gd name="connsiteY35" fmla="*/ 1425849 h 2124119"/>
              <a:gd name="connsiteX36" fmla="*/ 326967 w 1333018"/>
              <a:gd name="connsiteY36" fmla="*/ 1470184 h 2124119"/>
              <a:gd name="connsiteX37" fmla="*/ 299258 w 1333018"/>
              <a:gd name="connsiteY37" fmla="*/ 1514519 h 2124119"/>
              <a:gd name="connsiteX38" fmla="*/ 315883 w 1333018"/>
              <a:gd name="connsiteY38" fmla="*/ 1553311 h 2124119"/>
              <a:gd name="connsiteX39" fmla="*/ 410094 w 1333018"/>
              <a:gd name="connsiteY39" fmla="*/ 1619813 h 2124119"/>
              <a:gd name="connsiteX40" fmla="*/ 459971 w 1333018"/>
              <a:gd name="connsiteY40" fmla="*/ 1630897 h 2124119"/>
              <a:gd name="connsiteX41" fmla="*/ 465513 w 1333018"/>
              <a:gd name="connsiteY41" fmla="*/ 1614271 h 2124119"/>
              <a:gd name="connsiteX42" fmla="*/ 465513 w 1333018"/>
              <a:gd name="connsiteY42" fmla="*/ 1614271 h 2124119"/>
              <a:gd name="connsiteX43" fmla="*/ 543098 w 1333018"/>
              <a:gd name="connsiteY43" fmla="*/ 1719566 h 2124119"/>
              <a:gd name="connsiteX44" fmla="*/ 604058 w 1333018"/>
              <a:gd name="connsiteY44" fmla="*/ 1741733 h 2124119"/>
              <a:gd name="connsiteX45" fmla="*/ 604058 w 1333018"/>
              <a:gd name="connsiteY45" fmla="*/ 1741733 h 2124119"/>
              <a:gd name="connsiteX46" fmla="*/ 642851 w 1333018"/>
              <a:gd name="connsiteY46" fmla="*/ 1802693 h 2124119"/>
              <a:gd name="connsiteX47" fmla="*/ 703811 w 1333018"/>
              <a:gd name="connsiteY47" fmla="*/ 1841486 h 2124119"/>
              <a:gd name="connsiteX48" fmla="*/ 775854 w 1333018"/>
              <a:gd name="connsiteY48" fmla="*/ 1930155 h 2124119"/>
              <a:gd name="connsiteX49" fmla="*/ 786938 w 1333018"/>
              <a:gd name="connsiteY49" fmla="*/ 2024366 h 2124119"/>
              <a:gd name="connsiteX50" fmla="*/ 803563 w 1333018"/>
              <a:gd name="connsiteY50" fmla="*/ 2057617 h 2124119"/>
              <a:gd name="connsiteX51" fmla="*/ 809105 w 1333018"/>
              <a:gd name="connsiteY51" fmla="*/ 2090868 h 2124119"/>
              <a:gd name="connsiteX52" fmla="*/ 1197033 w 1333018"/>
              <a:gd name="connsiteY52" fmla="*/ 2124119 h 2124119"/>
              <a:gd name="connsiteX53" fmla="*/ 1230283 w 1333018"/>
              <a:gd name="connsiteY53" fmla="*/ 2096409 h 2124119"/>
              <a:gd name="connsiteX54" fmla="*/ 1213658 w 1333018"/>
              <a:gd name="connsiteY54" fmla="*/ 2018824 h 2124119"/>
              <a:gd name="connsiteX55" fmla="*/ 1263534 w 1333018"/>
              <a:gd name="connsiteY55" fmla="*/ 1913529 h 2124119"/>
              <a:gd name="connsiteX56" fmla="*/ 1285702 w 1333018"/>
              <a:gd name="connsiteY56" fmla="*/ 1874737 h 2124119"/>
              <a:gd name="connsiteX57" fmla="*/ 1333018 w 1333018"/>
              <a:gd name="connsiteY57" fmla="*/ 1835246 h 2124119"/>
              <a:gd name="connsiteX58" fmla="*/ 1262504 w 1333018"/>
              <a:gd name="connsiteY58" fmla="*/ 1661801 h 2124119"/>
              <a:gd name="connsiteX59" fmla="*/ 576349 w 1333018"/>
              <a:gd name="connsiteY59" fmla="*/ 722039 h 2124119"/>
              <a:gd name="connsiteX60" fmla="*/ 696710 w 1333018"/>
              <a:gd name="connsiteY60" fmla="*/ 167813 h 2124119"/>
              <a:gd name="connsiteX61" fmla="*/ 256872 w 1333018"/>
              <a:gd name="connsiteY61" fmla="*/ 43339 h 2124119"/>
              <a:gd name="connsiteX62" fmla="*/ 106896 w 1333018"/>
              <a:gd name="connsiteY62" fmla="*/ 0 h 2124119"/>
              <a:gd name="connsiteX0" fmla="*/ 106896 w 1333018"/>
              <a:gd name="connsiteY0" fmla="*/ 0 h 2124119"/>
              <a:gd name="connsiteX1" fmla="*/ 83041 w 1333018"/>
              <a:gd name="connsiteY1" fmla="*/ 21908 h 2124119"/>
              <a:gd name="connsiteX2" fmla="*/ 99753 w 1333018"/>
              <a:gd name="connsiteY2" fmla="*/ 68104 h 2124119"/>
              <a:gd name="connsiteX3" fmla="*/ 94211 w 1333018"/>
              <a:gd name="connsiteY3" fmla="*/ 106897 h 2124119"/>
              <a:gd name="connsiteX4" fmla="*/ 72043 w 1333018"/>
              <a:gd name="connsiteY4" fmla="*/ 145689 h 2124119"/>
              <a:gd name="connsiteX5" fmla="*/ 83127 w 1333018"/>
              <a:gd name="connsiteY5" fmla="*/ 201108 h 2124119"/>
              <a:gd name="connsiteX6" fmla="*/ 0 w 1333018"/>
              <a:gd name="connsiteY6" fmla="*/ 262068 h 2124119"/>
              <a:gd name="connsiteX7" fmla="*/ 0 w 1333018"/>
              <a:gd name="connsiteY7" fmla="*/ 306402 h 2124119"/>
              <a:gd name="connsiteX8" fmla="*/ 38793 w 1333018"/>
              <a:gd name="connsiteY8" fmla="*/ 395071 h 2124119"/>
              <a:gd name="connsiteX9" fmla="*/ 38793 w 1333018"/>
              <a:gd name="connsiteY9" fmla="*/ 433864 h 2124119"/>
              <a:gd name="connsiteX10" fmla="*/ 22167 w 1333018"/>
              <a:gd name="connsiteY10" fmla="*/ 583493 h 2124119"/>
              <a:gd name="connsiteX11" fmla="*/ 49876 w 1333018"/>
              <a:gd name="connsiteY11" fmla="*/ 677704 h 2124119"/>
              <a:gd name="connsiteX12" fmla="*/ 77585 w 1333018"/>
              <a:gd name="connsiteY12" fmla="*/ 710955 h 2124119"/>
              <a:gd name="connsiteX13" fmla="*/ 83127 w 1333018"/>
              <a:gd name="connsiteY13" fmla="*/ 749748 h 2124119"/>
              <a:gd name="connsiteX14" fmla="*/ 72043 w 1333018"/>
              <a:gd name="connsiteY14" fmla="*/ 821791 h 2124119"/>
              <a:gd name="connsiteX15" fmla="*/ 121920 w 1333018"/>
              <a:gd name="connsiteY15" fmla="*/ 832875 h 2124119"/>
              <a:gd name="connsiteX16" fmla="*/ 144087 w 1333018"/>
              <a:gd name="connsiteY16" fmla="*/ 832875 h 2124119"/>
              <a:gd name="connsiteX17" fmla="*/ 166254 w 1333018"/>
              <a:gd name="connsiteY17" fmla="*/ 799624 h 2124119"/>
              <a:gd name="connsiteX18" fmla="*/ 182880 w 1333018"/>
              <a:gd name="connsiteY18" fmla="*/ 788540 h 2124119"/>
              <a:gd name="connsiteX19" fmla="*/ 193963 w 1333018"/>
              <a:gd name="connsiteY19" fmla="*/ 832875 h 2124119"/>
              <a:gd name="connsiteX20" fmla="*/ 188422 w 1333018"/>
              <a:gd name="connsiteY20" fmla="*/ 882751 h 2124119"/>
              <a:gd name="connsiteX21" fmla="*/ 182880 w 1333018"/>
              <a:gd name="connsiteY21" fmla="*/ 899377 h 2124119"/>
              <a:gd name="connsiteX22" fmla="*/ 149629 w 1333018"/>
              <a:gd name="connsiteY22" fmla="*/ 893835 h 2124119"/>
              <a:gd name="connsiteX23" fmla="*/ 133003 w 1333018"/>
              <a:gd name="connsiteY23" fmla="*/ 949253 h 2124119"/>
              <a:gd name="connsiteX24" fmla="*/ 144087 w 1333018"/>
              <a:gd name="connsiteY24" fmla="*/ 1004671 h 2124119"/>
              <a:gd name="connsiteX25" fmla="*/ 171796 w 1333018"/>
              <a:gd name="connsiteY25" fmla="*/ 1032380 h 2124119"/>
              <a:gd name="connsiteX26" fmla="*/ 205047 w 1333018"/>
              <a:gd name="connsiteY26" fmla="*/ 1071173 h 2124119"/>
              <a:gd name="connsiteX27" fmla="*/ 205047 w 1333018"/>
              <a:gd name="connsiteY27" fmla="*/ 1109966 h 2124119"/>
              <a:gd name="connsiteX28" fmla="*/ 182880 w 1333018"/>
              <a:gd name="connsiteY28" fmla="*/ 1126591 h 2124119"/>
              <a:gd name="connsiteX29" fmla="*/ 182880 w 1333018"/>
              <a:gd name="connsiteY29" fmla="*/ 1126591 h 2124119"/>
              <a:gd name="connsiteX30" fmla="*/ 238298 w 1333018"/>
              <a:gd name="connsiteY30" fmla="*/ 1237428 h 2124119"/>
              <a:gd name="connsiteX31" fmla="*/ 249382 w 1333018"/>
              <a:gd name="connsiteY31" fmla="*/ 1326097 h 2124119"/>
              <a:gd name="connsiteX32" fmla="*/ 282633 w 1333018"/>
              <a:gd name="connsiteY32" fmla="*/ 1348264 h 2124119"/>
              <a:gd name="connsiteX33" fmla="*/ 282633 w 1333018"/>
              <a:gd name="connsiteY33" fmla="*/ 1348264 h 2124119"/>
              <a:gd name="connsiteX34" fmla="*/ 304800 w 1333018"/>
              <a:gd name="connsiteY34" fmla="*/ 1398140 h 2124119"/>
              <a:gd name="connsiteX35" fmla="*/ 321425 w 1333018"/>
              <a:gd name="connsiteY35" fmla="*/ 1425849 h 2124119"/>
              <a:gd name="connsiteX36" fmla="*/ 326967 w 1333018"/>
              <a:gd name="connsiteY36" fmla="*/ 1470184 h 2124119"/>
              <a:gd name="connsiteX37" fmla="*/ 299258 w 1333018"/>
              <a:gd name="connsiteY37" fmla="*/ 1514519 h 2124119"/>
              <a:gd name="connsiteX38" fmla="*/ 315883 w 1333018"/>
              <a:gd name="connsiteY38" fmla="*/ 1553311 h 2124119"/>
              <a:gd name="connsiteX39" fmla="*/ 410094 w 1333018"/>
              <a:gd name="connsiteY39" fmla="*/ 1619813 h 2124119"/>
              <a:gd name="connsiteX40" fmla="*/ 459971 w 1333018"/>
              <a:gd name="connsiteY40" fmla="*/ 1630897 h 2124119"/>
              <a:gd name="connsiteX41" fmla="*/ 465513 w 1333018"/>
              <a:gd name="connsiteY41" fmla="*/ 1614271 h 2124119"/>
              <a:gd name="connsiteX42" fmla="*/ 465513 w 1333018"/>
              <a:gd name="connsiteY42" fmla="*/ 1614271 h 2124119"/>
              <a:gd name="connsiteX43" fmla="*/ 543098 w 1333018"/>
              <a:gd name="connsiteY43" fmla="*/ 1719566 h 2124119"/>
              <a:gd name="connsiteX44" fmla="*/ 604058 w 1333018"/>
              <a:gd name="connsiteY44" fmla="*/ 1741733 h 2124119"/>
              <a:gd name="connsiteX45" fmla="*/ 604058 w 1333018"/>
              <a:gd name="connsiteY45" fmla="*/ 1741733 h 2124119"/>
              <a:gd name="connsiteX46" fmla="*/ 642851 w 1333018"/>
              <a:gd name="connsiteY46" fmla="*/ 1802693 h 2124119"/>
              <a:gd name="connsiteX47" fmla="*/ 703811 w 1333018"/>
              <a:gd name="connsiteY47" fmla="*/ 1841486 h 2124119"/>
              <a:gd name="connsiteX48" fmla="*/ 775854 w 1333018"/>
              <a:gd name="connsiteY48" fmla="*/ 1930155 h 2124119"/>
              <a:gd name="connsiteX49" fmla="*/ 786938 w 1333018"/>
              <a:gd name="connsiteY49" fmla="*/ 2024366 h 2124119"/>
              <a:gd name="connsiteX50" fmla="*/ 803563 w 1333018"/>
              <a:gd name="connsiteY50" fmla="*/ 2057617 h 2124119"/>
              <a:gd name="connsiteX51" fmla="*/ 809105 w 1333018"/>
              <a:gd name="connsiteY51" fmla="*/ 2090868 h 2124119"/>
              <a:gd name="connsiteX52" fmla="*/ 1197033 w 1333018"/>
              <a:gd name="connsiteY52" fmla="*/ 2124119 h 2124119"/>
              <a:gd name="connsiteX53" fmla="*/ 1230283 w 1333018"/>
              <a:gd name="connsiteY53" fmla="*/ 2096409 h 2124119"/>
              <a:gd name="connsiteX54" fmla="*/ 1213658 w 1333018"/>
              <a:gd name="connsiteY54" fmla="*/ 2018824 h 2124119"/>
              <a:gd name="connsiteX55" fmla="*/ 1264062 w 1333018"/>
              <a:gd name="connsiteY55" fmla="*/ 1946907 h 2124119"/>
              <a:gd name="connsiteX56" fmla="*/ 1285702 w 1333018"/>
              <a:gd name="connsiteY56" fmla="*/ 1874737 h 2124119"/>
              <a:gd name="connsiteX57" fmla="*/ 1333018 w 1333018"/>
              <a:gd name="connsiteY57" fmla="*/ 1835246 h 2124119"/>
              <a:gd name="connsiteX58" fmla="*/ 1262504 w 1333018"/>
              <a:gd name="connsiteY58" fmla="*/ 1661801 h 2124119"/>
              <a:gd name="connsiteX59" fmla="*/ 576349 w 1333018"/>
              <a:gd name="connsiteY59" fmla="*/ 722039 h 2124119"/>
              <a:gd name="connsiteX60" fmla="*/ 696710 w 1333018"/>
              <a:gd name="connsiteY60" fmla="*/ 167813 h 2124119"/>
              <a:gd name="connsiteX61" fmla="*/ 256872 w 1333018"/>
              <a:gd name="connsiteY61" fmla="*/ 43339 h 2124119"/>
              <a:gd name="connsiteX62" fmla="*/ 106896 w 1333018"/>
              <a:gd name="connsiteY62" fmla="*/ 0 h 2124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333018" h="2124119">
                <a:moveTo>
                  <a:pt x="106896" y="0"/>
                </a:moveTo>
                <a:lnTo>
                  <a:pt x="83041" y="21908"/>
                </a:lnTo>
                <a:lnTo>
                  <a:pt x="99753" y="68104"/>
                </a:lnTo>
                <a:lnTo>
                  <a:pt x="94211" y="106897"/>
                </a:lnTo>
                <a:lnTo>
                  <a:pt x="72043" y="145689"/>
                </a:lnTo>
                <a:lnTo>
                  <a:pt x="83127" y="201108"/>
                </a:lnTo>
                <a:lnTo>
                  <a:pt x="0" y="262068"/>
                </a:lnTo>
                <a:lnTo>
                  <a:pt x="0" y="306402"/>
                </a:lnTo>
                <a:lnTo>
                  <a:pt x="38793" y="395071"/>
                </a:lnTo>
                <a:lnTo>
                  <a:pt x="38793" y="433864"/>
                </a:lnTo>
                <a:lnTo>
                  <a:pt x="22167" y="583493"/>
                </a:lnTo>
                <a:lnTo>
                  <a:pt x="49876" y="677704"/>
                </a:lnTo>
                <a:lnTo>
                  <a:pt x="77585" y="710955"/>
                </a:lnTo>
                <a:lnTo>
                  <a:pt x="83127" y="749748"/>
                </a:lnTo>
                <a:lnTo>
                  <a:pt x="72043" y="821791"/>
                </a:lnTo>
                <a:lnTo>
                  <a:pt x="121920" y="832875"/>
                </a:lnTo>
                <a:lnTo>
                  <a:pt x="144087" y="832875"/>
                </a:lnTo>
                <a:lnTo>
                  <a:pt x="166254" y="799624"/>
                </a:lnTo>
                <a:lnTo>
                  <a:pt x="182880" y="788540"/>
                </a:lnTo>
                <a:lnTo>
                  <a:pt x="193963" y="832875"/>
                </a:lnTo>
                <a:lnTo>
                  <a:pt x="188422" y="882751"/>
                </a:lnTo>
                <a:lnTo>
                  <a:pt x="182880" y="899377"/>
                </a:lnTo>
                <a:lnTo>
                  <a:pt x="149629" y="893835"/>
                </a:lnTo>
                <a:lnTo>
                  <a:pt x="133003" y="949253"/>
                </a:lnTo>
                <a:lnTo>
                  <a:pt x="144087" y="1004671"/>
                </a:lnTo>
                <a:lnTo>
                  <a:pt x="171796" y="1032380"/>
                </a:lnTo>
                <a:lnTo>
                  <a:pt x="205047" y="1071173"/>
                </a:lnTo>
                <a:lnTo>
                  <a:pt x="205047" y="1109966"/>
                </a:lnTo>
                <a:lnTo>
                  <a:pt x="182880" y="1126591"/>
                </a:lnTo>
                <a:lnTo>
                  <a:pt x="182880" y="1126591"/>
                </a:lnTo>
                <a:lnTo>
                  <a:pt x="238298" y="1237428"/>
                </a:lnTo>
                <a:lnTo>
                  <a:pt x="249382" y="1326097"/>
                </a:lnTo>
                <a:lnTo>
                  <a:pt x="282633" y="1348264"/>
                </a:lnTo>
                <a:lnTo>
                  <a:pt x="282633" y="1348264"/>
                </a:lnTo>
                <a:lnTo>
                  <a:pt x="304800" y="1398140"/>
                </a:lnTo>
                <a:lnTo>
                  <a:pt x="321425" y="1425849"/>
                </a:lnTo>
                <a:lnTo>
                  <a:pt x="326967" y="1470184"/>
                </a:lnTo>
                <a:lnTo>
                  <a:pt x="299258" y="1514519"/>
                </a:lnTo>
                <a:lnTo>
                  <a:pt x="315883" y="1553311"/>
                </a:lnTo>
                <a:lnTo>
                  <a:pt x="410094" y="1619813"/>
                </a:lnTo>
                <a:lnTo>
                  <a:pt x="459971" y="1630897"/>
                </a:lnTo>
                <a:lnTo>
                  <a:pt x="465513" y="1614271"/>
                </a:lnTo>
                <a:lnTo>
                  <a:pt x="465513" y="1614271"/>
                </a:lnTo>
                <a:lnTo>
                  <a:pt x="543098" y="1719566"/>
                </a:lnTo>
                <a:lnTo>
                  <a:pt x="604058" y="1741733"/>
                </a:lnTo>
                <a:lnTo>
                  <a:pt x="604058" y="1741733"/>
                </a:lnTo>
                <a:lnTo>
                  <a:pt x="642851" y="1802693"/>
                </a:lnTo>
                <a:lnTo>
                  <a:pt x="703811" y="1841486"/>
                </a:lnTo>
                <a:lnTo>
                  <a:pt x="775854" y="1930155"/>
                </a:lnTo>
                <a:lnTo>
                  <a:pt x="786938" y="2024366"/>
                </a:lnTo>
                <a:lnTo>
                  <a:pt x="803563" y="2057617"/>
                </a:lnTo>
                <a:lnTo>
                  <a:pt x="809105" y="2090868"/>
                </a:lnTo>
                <a:lnTo>
                  <a:pt x="1197033" y="2124119"/>
                </a:lnTo>
                <a:lnTo>
                  <a:pt x="1230283" y="2096409"/>
                </a:lnTo>
                <a:lnTo>
                  <a:pt x="1213658" y="2018824"/>
                </a:lnTo>
                <a:lnTo>
                  <a:pt x="1264062" y="1946907"/>
                </a:lnTo>
                <a:lnTo>
                  <a:pt x="1285702" y="1874737"/>
                </a:lnTo>
                <a:lnTo>
                  <a:pt x="1333018" y="1835246"/>
                </a:lnTo>
                <a:lnTo>
                  <a:pt x="1262504" y="1661801"/>
                </a:lnTo>
                <a:lnTo>
                  <a:pt x="576349" y="722039"/>
                </a:lnTo>
                <a:lnTo>
                  <a:pt x="696710" y="167813"/>
                </a:lnTo>
                <a:lnTo>
                  <a:pt x="256872" y="43339"/>
                </a:lnTo>
                <a:lnTo>
                  <a:pt x="106896"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4" name="Freeform 33"/>
          <p:cNvSpPr/>
          <p:nvPr/>
        </p:nvSpPr>
        <p:spPr>
          <a:xfrm>
            <a:off x="5267118" y="4909666"/>
            <a:ext cx="852961" cy="752777"/>
          </a:xfrm>
          <a:custGeom>
            <a:avLst/>
            <a:gdLst>
              <a:gd name="connsiteX0" fmla="*/ 0 w 883066"/>
              <a:gd name="connsiteY0" fmla="*/ 62670 h 774819"/>
              <a:gd name="connsiteX1" fmla="*/ 14243 w 883066"/>
              <a:gd name="connsiteY1" fmla="*/ 188008 h 774819"/>
              <a:gd name="connsiteX2" fmla="*/ 17092 w 883066"/>
              <a:gd name="connsiteY2" fmla="*/ 253526 h 774819"/>
              <a:gd name="connsiteX3" fmla="*/ 39881 w 883066"/>
              <a:gd name="connsiteY3" fmla="*/ 313346 h 774819"/>
              <a:gd name="connsiteX4" fmla="*/ 76912 w 883066"/>
              <a:gd name="connsiteY4" fmla="*/ 361772 h 774819"/>
              <a:gd name="connsiteX5" fmla="*/ 108247 w 883066"/>
              <a:gd name="connsiteY5" fmla="*/ 450079 h 774819"/>
              <a:gd name="connsiteX6" fmla="*/ 79761 w 883066"/>
              <a:gd name="connsiteY6" fmla="*/ 526991 h 774819"/>
              <a:gd name="connsiteX7" fmla="*/ 82610 w 883066"/>
              <a:gd name="connsiteY7" fmla="*/ 561174 h 774819"/>
              <a:gd name="connsiteX8" fmla="*/ 102550 w 883066"/>
              <a:gd name="connsiteY8" fmla="*/ 615298 h 774819"/>
              <a:gd name="connsiteX9" fmla="*/ 94004 w 883066"/>
              <a:gd name="connsiteY9" fmla="*/ 697907 h 774819"/>
              <a:gd name="connsiteX10" fmla="*/ 136733 w 883066"/>
              <a:gd name="connsiteY10" fmla="*/ 686513 h 774819"/>
              <a:gd name="connsiteX11" fmla="*/ 182311 w 883066"/>
              <a:gd name="connsiteY11" fmla="*/ 669421 h 774819"/>
              <a:gd name="connsiteX12" fmla="*/ 236434 w 883066"/>
              <a:gd name="connsiteY12" fmla="*/ 677967 h 774819"/>
              <a:gd name="connsiteX13" fmla="*/ 296254 w 883066"/>
              <a:gd name="connsiteY13" fmla="*/ 703604 h 774819"/>
              <a:gd name="connsiteX14" fmla="*/ 358924 w 883066"/>
              <a:gd name="connsiteY14" fmla="*/ 703604 h 774819"/>
              <a:gd name="connsiteX15" fmla="*/ 361772 w 883066"/>
              <a:gd name="connsiteY15" fmla="*/ 660875 h 774819"/>
              <a:gd name="connsiteX16" fmla="*/ 387410 w 883066"/>
              <a:gd name="connsiteY16" fmla="*/ 646632 h 774819"/>
              <a:gd name="connsiteX17" fmla="*/ 424441 w 883066"/>
              <a:gd name="connsiteY17" fmla="*/ 649481 h 774819"/>
              <a:gd name="connsiteX18" fmla="*/ 447230 w 883066"/>
              <a:gd name="connsiteY18" fmla="*/ 658027 h 774819"/>
              <a:gd name="connsiteX19" fmla="*/ 492808 w 883066"/>
              <a:gd name="connsiteY19" fmla="*/ 692210 h 774819"/>
              <a:gd name="connsiteX20" fmla="*/ 501354 w 883066"/>
              <a:gd name="connsiteY20" fmla="*/ 649481 h 774819"/>
              <a:gd name="connsiteX21" fmla="*/ 467170 w 883066"/>
              <a:gd name="connsiteY21" fmla="*/ 612449 h 774819"/>
              <a:gd name="connsiteX22" fmla="*/ 458625 w 883066"/>
              <a:gd name="connsiteY22" fmla="*/ 595357 h 774819"/>
              <a:gd name="connsiteX23" fmla="*/ 472868 w 883066"/>
              <a:gd name="connsiteY23" fmla="*/ 589660 h 774819"/>
              <a:gd name="connsiteX24" fmla="*/ 492808 w 883066"/>
              <a:gd name="connsiteY24" fmla="*/ 592509 h 774819"/>
              <a:gd name="connsiteX25" fmla="*/ 535537 w 883066"/>
              <a:gd name="connsiteY25" fmla="*/ 643784 h 774819"/>
              <a:gd name="connsiteX26" fmla="*/ 524142 w 883066"/>
              <a:gd name="connsiteY26" fmla="*/ 675118 h 774819"/>
              <a:gd name="connsiteX27" fmla="*/ 529840 w 883066"/>
              <a:gd name="connsiteY27" fmla="*/ 746333 h 774819"/>
              <a:gd name="connsiteX28" fmla="*/ 589660 w 883066"/>
              <a:gd name="connsiteY28" fmla="*/ 774819 h 774819"/>
              <a:gd name="connsiteX29" fmla="*/ 620995 w 883066"/>
              <a:gd name="connsiteY29" fmla="*/ 732090 h 774819"/>
              <a:gd name="connsiteX30" fmla="*/ 683664 w 883066"/>
              <a:gd name="connsiteY30" fmla="*/ 746333 h 774819"/>
              <a:gd name="connsiteX31" fmla="*/ 709301 w 883066"/>
              <a:gd name="connsiteY31" fmla="*/ 717847 h 774819"/>
              <a:gd name="connsiteX32" fmla="*/ 700755 w 883066"/>
              <a:gd name="connsiteY32" fmla="*/ 663724 h 774819"/>
              <a:gd name="connsiteX33" fmla="*/ 680815 w 883066"/>
              <a:gd name="connsiteY33" fmla="*/ 640935 h 774819"/>
              <a:gd name="connsiteX34" fmla="*/ 683664 w 883066"/>
              <a:gd name="connsiteY34" fmla="*/ 618146 h 774819"/>
              <a:gd name="connsiteX35" fmla="*/ 734939 w 883066"/>
              <a:gd name="connsiteY35" fmla="*/ 646632 h 774819"/>
              <a:gd name="connsiteX36" fmla="*/ 757727 w 883066"/>
              <a:gd name="connsiteY36" fmla="*/ 683664 h 774819"/>
              <a:gd name="connsiteX37" fmla="*/ 803305 w 883066"/>
              <a:gd name="connsiteY37" fmla="*/ 695058 h 774819"/>
              <a:gd name="connsiteX38" fmla="*/ 848883 w 883066"/>
              <a:gd name="connsiteY38" fmla="*/ 734939 h 774819"/>
              <a:gd name="connsiteX39" fmla="*/ 883066 w 883066"/>
              <a:gd name="connsiteY39" fmla="*/ 714999 h 774819"/>
              <a:gd name="connsiteX40" fmla="*/ 883066 w 883066"/>
              <a:gd name="connsiteY40" fmla="*/ 689361 h 774819"/>
              <a:gd name="connsiteX41" fmla="*/ 846034 w 883066"/>
              <a:gd name="connsiteY41" fmla="*/ 646632 h 774819"/>
              <a:gd name="connsiteX42" fmla="*/ 817548 w 883066"/>
              <a:gd name="connsiteY42" fmla="*/ 632389 h 774819"/>
              <a:gd name="connsiteX43" fmla="*/ 791911 w 883066"/>
              <a:gd name="connsiteY43" fmla="*/ 609600 h 774819"/>
              <a:gd name="connsiteX44" fmla="*/ 803305 w 883066"/>
              <a:gd name="connsiteY44" fmla="*/ 586812 h 774819"/>
              <a:gd name="connsiteX45" fmla="*/ 817548 w 883066"/>
              <a:gd name="connsiteY45" fmla="*/ 583963 h 774819"/>
              <a:gd name="connsiteX46" fmla="*/ 837488 w 883066"/>
              <a:gd name="connsiteY46" fmla="*/ 583963 h 774819"/>
              <a:gd name="connsiteX47" fmla="*/ 848883 w 883066"/>
              <a:gd name="connsiteY47" fmla="*/ 555477 h 774819"/>
              <a:gd name="connsiteX48" fmla="*/ 846034 w 883066"/>
              <a:gd name="connsiteY48" fmla="*/ 541234 h 774819"/>
              <a:gd name="connsiteX49" fmla="*/ 806154 w 883066"/>
              <a:gd name="connsiteY49" fmla="*/ 529840 h 774819"/>
              <a:gd name="connsiteX50" fmla="*/ 771970 w 883066"/>
              <a:gd name="connsiteY50" fmla="*/ 555477 h 774819"/>
              <a:gd name="connsiteX51" fmla="*/ 752030 w 883066"/>
              <a:gd name="connsiteY51" fmla="*/ 544083 h 774819"/>
              <a:gd name="connsiteX52" fmla="*/ 740636 w 883066"/>
              <a:gd name="connsiteY52" fmla="*/ 515597 h 774819"/>
              <a:gd name="connsiteX53" fmla="*/ 709301 w 883066"/>
              <a:gd name="connsiteY53" fmla="*/ 518445 h 774819"/>
              <a:gd name="connsiteX54" fmla="*/ 712150 w 883066"/>
              <a:gd name="connsiteY54" fmla="*/ 546931 h 774819"/>
              <a:gd name="connsiteX55" fmla="*/ 675118 w 883066"/>
              <a:gd name="connsiteY55" fmla="*/ 566872 h 774819"/>
              <a:gd name="connsiteX56" fmla="*/ 655178 w 883066"/>
              <a:gd name="connsiteY56" fmla="*/ 566872 h 774819"/>
              <a:gd name="connsiteX57" fmla="*/ 632389 w 883066"/>
              <a:gd name="connsiteY57" fmla="*/ 558326 h 774819"/>
              <a:gd name="connsiteX58" fmla="*/ 635238 w 883066"/>
              <a:gd name="connsiteY58" fmla="*/ 529840 h 774819"/>
              <a:gd name="connsiteX59" fmla="*/ 603903 w 883066"/>
              <a:gd name="connsiteY59" fmla="*/ 498505 h 774819"/>
              <a:gd name="connsiteX60" fmla="*/ 620995 w 883066"/>
              <a:gd name="connsiteY60" fmla="*/ 487111 h 774819"/>
              <a:gd name="connsiteX61" fmla="*/ 660875 w 883066"/>
              <a:gd name="connsiteY61" fmla="*/ 492808 h 774819"/>
              <a:gd name="connsiteX62" fmla="*/ 683664 w 883066"/>
              <a:gd name="connsiteY62" fmla="*/ 472868 h 774819"/>
              <a:gd name="connsiteX63" fmla="*/ 729241 w 883066"/>
              <a:gd name="connsiteY63" fmla="*/ 487111 h 774819"/>
              <a:gd name="connsiteX64" fmla="*/ 729241 w 883066"/>
              <a:gd name="connsiteY64" fmla="*/ 487111 h 774819"/>
              <a:gd name="connsiteX65" fmla="*/ 766273 w 883066"/>
              <a:gd name="connsiteY65" fmla="*/ 495657 h 774819"/>
              <a:gd name="connsiteX66" fmla="*/ 766273 w 883066"/>
              <a:gd name="connsiteY66" fmla="*/ 455776 h 774819"/>
              <a:gd name="connsiteX67" fmla="*/ 734939 w 883066"/>
              <a:gd name="connsiteY67" fmla="*/ 444382 h 774819"/>
              <a:gd name="connsiteX68" fmla="*/ 734939 w 883066"/>
              <a:gd name="connsiteY68" fmla="*/ 378864 h 774819"/>
              <a:gd name="connsiteX69" fmla="*/ 723544 w 883066"/>
              <a:gd name="connsiteY69" fmla="*/ 356075 h 774819"/>
              <a:gd name="connsiteX70" fmla="*/ 438684 w 883066"/>
              <a:gd name="connsiteY70" fmla="*/ 381713 h 774819"/>
              <a:gd name="connsiteX71" fmla="*/ 444382 w 883066"/>
              <a:gd name="connsiteY71" fmla="*/ 273466 h 774819"/>
              <a:gd name="connsiteX72" fmla="*/ 492808 w 883066"/>
              <a:gd name="connsiteY72" fmla="*/ 202251 h 774819"/>
              <a:gd name="connsiteX73" fmla="*/ 481413 w 883066"/>
              <a:gd name="connsiteY73" fmla="*/ 150976 h 774819"/>
              <a:gd name="connsiteX74" fmla="*/ 495656 w 883066"/>
              <a:gd name="connsiteY74" fmla="*/ 119642 h 774819"/>
              <a:gd name="connsiteX75" fmla="*/ 475716 w 883066"/>
              <a:gd name="connsiteY75" fmla="*/ 0 h 774819"/>
              <a:gd name="connsiteX76" fmla="*/ 0 w 883066"/>
              <a:gd name="connsiteY76" fmla="*/ 62670 h 774819"/>
              <a:gd name="connsiteX0" fmla="*/ 0 w 883066"/>
              <a:gd name="connsiteY0" fmla="*/ 62670 h 774819"/>
              <a:gd name="connsiteX1" fmla="*/ 14243 w 883066"/>
              <a:gd name="connsiteY1" fmla="*/ 188008 h 774819"/>
              <a:gd name="connsiteX2" fmla="*/ 17092 w 883066"/>
              <a:gd name="connsiteY2" fmla="*/ 253526 h 774819"/>
              <a:gd name="connsiteX3" fmla="*/ 39881 w 883066"/>
              <a:gd name="connsiteY3" fmla="*/ 313346 h 774819"/>
              <a:gd name="connsiteX4" fmla="*/ 76912 w 883066"/>
              <a:gd name="connsiteY4" fmla="*/ 361772 h 774819"/>
              <a:gd name="connsiteX5" fmla="*/ 108247 w 883066"/>
              <a:gd name="connsiteY5" fmla="*/ 450079 h 774819"/>
              <a:gd name="connsiteX6" fmla="*/ 79761 w 883066"/>
              <a:gd name="connsiteY6" fmla="*/ 526991 h 774819"/>
              <a:gd name="connsiteX7" fmla="*/ 82610 w 883066"/>
              <a:gd name="connsiteY7" fmla="*/ 561174 h 774819"/>
              <a:gd name="connsiteX8" fmla="*/ 102550 w 883066"/>
              <a:gd name="connsiteY8" fmla="*/ 615298 h 774819"/>
              <a:gd name="connsiteX9" fmla="*/ 94004 w 883066"/>
              <a:gd name="connsiteY9" fmla="*/ 697907 h 774819"/>
              <a:gd name="connsiteX10" fmla="*/ 84178 w 883066"/>
              <a:gd name="connsiteY10" fmla="*/ 697179 h 774819"/>
              <a:gd name="connsiteX11" fmla="*/ 136733 w 883066"/>
              <a:gd name="connsiteY11" fmla="*/ 686513 h 774819"/>
              <a:gd name="connsiteX12" fmla="*/ 182311 w 883066"/>
              <a:gd name="connsiteY12" fmla="*/ 669421 h 774819"/>
              <a:gd name="connsiteX13" fmla="*/ 236434 w 883066"/>
              <a:gd name="connsiteY13" fmla="*/ 677967 h 774819"/>
              <a:gd name="connsiteX14" fmla="*/ 296254 w 883066"/>
              <a:gd name="connsiteY14" fmla="*/ 703604 h 774819"/>
              <a:gd name="connsiteX15" fmla="*/ 358924 w 883066"/>
              <a:gd name="connsiteY15" fmla="*/ 703604 h 774819"/>
              <a:gd name="connsiteX16" fmla="*/ 361772 w 883066"/>
              <a:gd name="connsiteY16" fmla="*/ 660875 h 774819"/>
              <a:gd name="connsiteX17" fmla="*/ 387410 w 883066"/>
              <a:gd name="connsiteY17" fmla="*/ 646632 h 774819"/>
              <a:gd name="connsiteX18" fmla="*/ 424441 w 883066"/>
              <a:gd name="connsiteY18" fmla="*/ 649481 h 774819"/>
              <a:gd name="connsiteX19" fmla="*/ 447230 w 883066"/>
              <a:gd name="connsiteY19" fmla="*/ 658027 h 774819"/>
              <a:gd name="connsiteX20" fmla="*/ 492808 w 883066"/>
              <a:gd name="connsiteY20" fmla="*/ 692210 h 774819"/>
              <a:gd name="connsiteX21" fmla="*/ 501354 w 883066"/>
              <a:gd name="connsiteY21" fmla="*/ 649481 h 774819"/>
              <a:gd name="connsiteX22" fmla="*/ 467170 w 883066"/>
              <a:gd name="connsiteY22" fmla="*/ 612449 h 774819"/>
              <a:gd name="connsiteX23" fmla="*/ 458625 w 883066"/>
              <a:gd name="connsiteY23" fmla="*/ 595357 h 774819"/>
              <a:gd name="connsiteX24" fmla="*/ 472868 w 883066"/>
              <a:gd name="connsiteY24" fmla="*/ 589660 h 774819"/>
              <a:gd name="connsiteX25" fmla="*/ 492808 w 883066"/>
              <a:gd name="connsiteY25" fmla="*/ 592509 h 774819"/>
              <a:gd name="connsiteX26" fmla="*/ 535537 w 883066"/>
              <a:gd name="connsiteY26" fmla="*/ 643784 h 774819"/>
              <a:gd name="connsiteX27" fmla="*/ 524142 w 883066"/>
              <a:gd name="connsiteY27" fmla="*/ 675118 h 774819"/>
              <a:gd name="connsiteX28" fmla="*/ 529840 w 883066"/>
              <a:gd name="connsiteY28" fmla="*/ 746333 h 774819"/>
              <a:gd name="connsiteX29" fmla="*/ 589660 w 883066"/>
              <a:gd name="connsiteY29" fmla="*/ 774819 h 774819"/>
              <a:gd name="connsiteX30" fmla="*/ 620995 w 883066"/>
              <a:gd name="connsiteY30" fmla="*/ 732090 h 774819"/>
              <a:gd name="connsiteX31" fmla="*/ 683664 w 883066"/>
              <a:gd name="connsiteY31" fmla="*/ 746333 h 774819"/>
              <a:gd name="connsiteX32" fmla="*/ 709301 w 883066"/>
              <a:gd name="connsiteY32" fmla="*/ 717847 h 774819"/>
              <a:gd name="connsiteX33" fmla="*/ 700755 w 883066"/>
              <a:gd name="connsiteY33" fmla="*/ 663724 h 774819"/>
              <a:gd name="connsiteX34" fmla="*/ 680815 w 883066"/>
              <a:gd name="connsiteY34" fmla="*/ 640935 h 774819"/>
              <a:gd name="connsiteX35" fmla="*/ 683664 w 883066"/>
              <a:gd name="connsiteY35" fmla="*/ 618146 h 774819"/>
              <a:gd name="connsiteX36" fmla="*/ 734939 w 883066"/>
              <a:gd name="connsiteY36" fmla="*/ 646632 h 774819"/>
              <a:gd name="connsiteX37" fmla="*/ 757727 w 883066"/>
              <a:gd name="connsiteY37" fmla="*/ 683664 h 774819"/>
              <a:gd name="connsiteX38" fmla="*/ 803305 w 883066"/>
              <a:gd name="connsiteY38" fmla="*/ 695058 h 774819"/>
              <a:gd name="connsiteX39" fmla="*/ 848883 w 883066"/>
              <a:gd name="connsiteY39" fmla="*/ 734939 h 774819"/>
              <a:gd name="connsiteX40" fmla="*/ 883066 w 883066"/>
              <a:gd name="connsiteY40" fmla="*/ 714999 h 774819"/>
              <a:gd name="connsiteX41" fmla="*/ 883066 w 883066"/>
              <a:gd name="connsiteY41" fmla="*/ 689361 h 774819"/>
              <a:gd name="connsiteX42" fmla="*/ 846034 w 883066"/>
              <a:gd name="connsiteY42" fmla="*/ 646632 h 774819"/>
              <a:gd name="connsiteX43" fmla="*/ 817548 w 883066"/>
              <a:gd name="connsiteY43" fmla="*/ 632389 h 774819"/>
              <a:gd name="connsiteX44" fmla="*/ 791911 w 883066"/>
              <a:gd name="connsiteY44" fmla="*/ 609600 h 774819"/>
              <a:gd name="connsiteX45" fmla="*/ 803305 w 883066"/>
              <a:gd name="connsiteY45" fmla="*/ 586812 h 774819"/>
              <a:gd name="connsiteX46" fmla="*/ 817548 w 883066"/>
              <a:gd name="connsiteY46" fmla="*/ 583963 h 774819"/>
              <a:gd name="connsiteX47" fmla="*/ 837488 w 883066"/>
              <a:gd name="connsiteY47" fmla="*/ 583963 h 774819"/>
              <a:gd name="connsiteX48" fmla="*/ 848883 w 883066"/>
              <a:gd name="connsiteY48" fmla="*/ 555477 h 774819"/>
              <a:gd name="connsiteX49" fmla="*/ 846034 w 883066"/>
              <a:gd name="connsiteY49" fmla="*/ 541234 h 774819"/>
              <a:gd name="connsiteX50" fmla="*/ 806154 w 883066"/>
              <a:gd name="connsiteY50" fmla="*/ 529840 h 774819"/>
              <a:gd name="connsiteX51" fmla="*/ 771970 w 883066"/>
              <a:gd name="connsiteY51" fmla="*/ 555477 h 774819"/>
              <a:gd name="connsiteX52" fmla="*/ 752030 w 883066"/>
              <a:gd name="connsiteY52" fmla="*/ 544083 h 774819"/>
              <a:gd name="connsiteX53" fmla="*/ 740636 w 883066"/>
              <a:gd name="connsiteY53" fmla="*/ 515597 h 774819"/>
              <a:gd name="connsiteX54" fmla="*/ 709301 w 883066"/>
              <a:gd name="connsiteY54" fmla="*/ 518445 h 774819"/>
              <a:gd name="connsiteX55" fmla="*/ 712150 w 883066"/>
              <a:gd name="connsiteY55" fmla="*/ 546931 h 774819"/>
              <a:gd name="connsiteX56" fmla="*/ 675118 w 883066"/>
              <a:gd name="connsiteY56" fmla="*/ 566872 h 774819"/>
              <a:gd name="connsiteX57" fmla="*/ 655178 w 883066"/>
              <a:gd name="connsiteY57" fmla="*/ 566872 h 774819"/>
              <a:gd name="connsiteX58" fmla="*/ 632389 w 883066"/>
              <a:gd name="connsiteY58" fmla="*/ 558326 h 774819"/>
              <a:gd name="connsiteX59" fmla="*/ 635238 w 883066"/>
              <a:gd name="connsiteY59" fmla="*/ 529840 h 774819"/>
              <a:gd name="connsiteX60" fmla="*/ 603903 w 883066"/>
              <a:gd name="connsiteY60" fmla="*/ 498505 h 774819"/>
              <a:gd name="connsiteX61" fmla="*/ 620995 w 883066"/>
              <a:gd name="connsiteY61" fmla="*/ 487111 h 774819"/>
              <a:gd name="connsiteX62" fmla="*/ 660875 w 883066"/>
              <a:gd name="connsiteY62" fmla="*/ 492808 h 774819"/>
              <a:gd name="connsiteX63" fmla="*/ 683664 w 883066"/>
              <a:gd name="connsiteY63" fmla="*/ 472868 h 774819"/>
              <a:gd name="connsiteX64" fmla="*/ 729241 w 883066"/>
              <a:gd name="connsiteY64" fmla="*/ 487111 h 774819"/>
              <a:gd name="connsiteX65" fmla="*/ 729241 w 883066"/>
              <a:gd name="connsiteY65" fmla="*/ 487111 h 774819"/>
              <a:gd name="connsiteX66" fmla="*/ 766273 w 883066"/>
              <a:gd name="connsiteY66" fmla="*/ 495657 h 774819"/>
              <a:gd name="connsiteX67" fmla="*/ 766273 w 883066"/>
              <a:gd name="connsiteY67" fmla="*/ 455776 h 774819"/>
              <a:gd name="connsiteX68" fmla="*/ 734939 w 883066"/>
              <a:gd name="connsiteY68" fmla="*/ 444382 h 774819"/>
              <a:gd name="connsiteX69" fmla="*/ 734939 w 883066"/>
              <a:gd name="connsiteY69" fmla="*/ 378864 h 774819"/>
              <a:gd name="connsiteX70" fmla="*/ 723544 w 883066"/>
              <a:gd name="connsiteY70" fmla="*/ 356075 h 774819"/>
              <a:gd name="connsiteX71" fmla="*/ 438684 w 883066"/>
              <a:gd name="connsiteY71" fmla="*/ 381713 h 774819"/>
              <a:gd name="connsiteX72" fmla="*/ 444382 w 883066"/>
              <a:gd name="connsiteY72" fmla="*/ 273466 h 774819"/>
              <a:gd name="connsiteX73" fmla="*/ 492808 w 883066"/>
              <a:gd name="connsiteY73" fmla="*/ 202251 h 774819"/>
              <a:gd name="connsiteX74" fmla="*/ 481413 w 883066"/>
              <a:gd name="connsiteY74" fmla="*/ 150976 h 774819"/>
              <a:gd name="connsiteX75" fmla="*/ 495656 w 883066"/>
              <a:gd name="connsiteY75" fmla="*/ 119642 h 774819"/>
              <a:gd name="connsiteX76" fmla="*/ 475716 w 883066"/>
              <a:gd name="connsiteY76" fmla="*/ 0 h 774819"/>
              <a:gd name="connsiteX77" fmla="*/ 0 w 883066"/>
              <a:gd name="connsiteY77" fmla="*/ 62670 h 774819"/>
              <a:gd name="connsiteX0" fmla="*/ 0 w 883066"/>
              <a:gd name="connsiteY0" fmla="*/ 62670 h 774819"/>
              <a:gd name="connsiteX1" fmla="*/ 14243 w 883066"/>
              <a:gd name="connsiteY1" fmla="*/ 188008 h 774819"/>
              <a:gd name="connsiteX2" fmla="*/ 17092 w 883066"/>
              <a:gd name="connsiteY2" fmla="*/ 253526 h 774819"/>
              <a:gd name="connsiteX3" fmla="*/ 39881 w 883066"/>
              <a:gd name="connsiteY3" fmla="*/ 313346 h 774819"/>
              <a:gd name="connsiteX4" fmla="*/ 76912 w 883066"/>
              <a:gd name="connsiteY4" fmla="*/ 361772 h 774819"/>
              <a:gd name="connsiteX5" fmla="*/ 108247 w 883066"/>
              <a:gd name="connsiteY5" fmla="*/ 450079 h 774819"/>
              <a:gd name="connsiteX6" fmla="*/ 79761 w 883066"/>
              <a:gd name="connsiteY6" fmla="*/ 526991 h 774819"/>
              <a:gd name="connsiteX7" fmla="*/ 82610 w 883066"/>
              <a:gd name="connsiteY7" fmla="*/ 561174 h 774819"/>
              <a:gd name="connsiteX8" fmla="*/ 83491 w 883066"/>
              <a:gd name="connsiteY8" fmla="*/ 615298 h 774819"/>
              <a:gd name="connsiteX9" fmla="*/ 94004 w 883066"/>
              <a:gd name="connsiteY9" fmla="*/ 697907 h 774819"/>
              <a:gd name="connsiteX10" fmla="*/ 84178 w 883066"/>
              <a:gd name="connsiteY10" fmla="*/ 697179 h 774819"/>
              <a:gd name="connsiteX11" fmla="*/ 136733 w 883066"/>
              <a:gd name="connsiteY11" fmla="*/ 686513 h 774819"/>
              <a:gd name="connsiteX12" fmla="*/ 182311 w 883066"/>
              <a:gd name="connsiteY12" fmla="*/ 669421 h 774819"/>
              <a:gd name="connsiteX13" fmla="*/ 236434 w 883066"/>
              <a:gd name="connsiteY13" fmla="*/ 677967 h 774819"/>
              <a:gd name="connsiteX14" fmla="*/ 296254 w 883066"/>
              <a:gd name="connsiteY14" fmla="*/ 703604 h 774819"/>
              <a:gd name="connsiteX15" fmla="*/ 358924 w 883066"/>
              <a:gd name="connsiteY15" fmla="*/ 703604 h 774819"/>
              <a:gd name="connsiteX16" fmla="*/ 361772 w 883066"/>
              <a:gd name="connsiteY16" fmla="*/ 660875 h 774819"/>
              <a:gd name="connsiteX17" fmla="*/ 387410 w 883066"/>
              <a:gd name="connsiteY17" fmla="*/ 646632 h 774819"/>
              <a:gd name="connsiteX18" fmla="*/ 424441 w 883066"/>
              <a:gd name="connsiteY18" fmla="*/ 649481 h 774819"/>
              <a:gd name="connsiteX19" fmla="*/ 447230 w 883066"/>
              <a:gd name="connsiteY19" fmla="*/ 658027 h 774819"/>
              <a:gd name="connsiteX20" fmla="*/ 492808 w 883066"/>
              <a:gd name="connsiteY20" fmla="*/ 692210 h 774819"/>
              <a:gd name="connsiteX21" fmla="*/ 501354 w 883066"/>
              <a:gd name="connsiteY21" fmla="*/ 649481 h 774819"/>
              <a:gd name="connsiteX22" fmla="*/ 467170 w 883066"/>
              <a:gd name="connsiteY22" fmla="*/ 612449 h 774819"/>
              <a:gd name="connsiteX23" fmla="*/ 458625 w 883066"/>
              <a:gd name="connsiteY23" fmla="*/ 595357 h 774819"/>
              <a:gd name="connsiteX24" fmla="*/ 472868 w 883066"/>
              <a:gd name="connsiteY24" fmla="*/ 589660 h 774819"/>
              <a:gd name="connsiteX25" fmla="*/ 492808 w 883066"/>
              <a:gd name="connsiteY25" fmla="*/ 592509 h 774819"/>
              <a:gd name="connsiteX26" fmla="*/ 535537 w 883066"/>
              <a:gd name="connsiteY26" fmla="*/ 643784 h 774819"/>
              <a:gd name="connsiteX27" fmla="*/ 524142 w 883066"/>
              <a:gd name="connsiteY27" fmla="*/ 675118 h 774819"/>
              <a:gd name="connsiteX28" fmla="*/ 529840 w 883066"/>
              <a:gd name="connsiteY28" fmla="*/ 746333 h 774819"/>
              <a:gd name="connsiteX29" fmla="*/ 589660 w 883066"/>
              <a:gd name="connsiteY29" fmla="*/ 774819 h 774819"/>
              <a:gd name="connsiteX30" fmla="*/ 620995 w 883066"/>
              <a:gd name="connsiteY30" fmla="*/ 732090 h 774819"/>
              <a:gd name="connsiteX31" fmla="*/ 683664 w 883066"/>
              <a:gd name="connsiteY31" fmla="*/ 746333 h 774819"/>
              <a:gd name="connsiteX32" fmla="*/ 709301 w 883066"/>
              <a:gd name="connsiteY32" fmla="*/ 717847 h 774819"/>
              <a:gd name="connsiteX33" fmla="*/ 700755 w 883066"/>
              <a:gd name="connsiteY33" fmla="*/ 663724 h 774819"/>
              <a:gd name="connsiteX34" fmla="*/ 680815 w 883066"/>
              <a:gd name="connsiteY34" fmla="*/ 640935 h 774819"/>
              <a:gd name="connsiteX35" fmla="*/ 683664 w 883066"/>
              <a:gd name="connsiteY35" fmla="*/ 618146 h 774819"/>
              <a:gd name="connsiteX36" fmla="*/ 734939 w 883066"/>
              <a:gd name="connsiteY36" fmla="*/ 646632 h 774819"/>
              <a:gd name="connsiteX37" fmla="*/ 757727 w 883066"/>
              <a:gd name="connsiteY37" fmla="*/ 683664 h 774819"/>
              <a:gd name="connsiteX38" fmla="*/ 803305 w 883066"/>
              <a:gd name="connsiteY38" fmla="*/ 695058 h 774819"/>
              <a:gd name="connsiteX39" fmla="*/ 848883 w 883066"/>
              <a:gd name="connsiteY39" fmla="*/ 734939 h 774819"/>
              <a:gd name="connsiteX40" fmla="*/ 883066 w 883066"/>
              <a:gd name="connsiteY40" fmla="*/ 714999 h 774819"/>
              <a:gd name="connsiteX41" fmla="*/ 883066 w 883066"/>
              <a:gd name="connsiteY41" fmla="*/ 689361 h 774819"/>
              <a:gd name="connsiteX42" fmla="*/ 846034 w 883066"/>
              <a:gd name="connsiteY42" fmla="*/ 646632 h 774819"/>
              <a:gd name="connsiteX43" fmla="*/ 817548 w 883066"/>
              <a:gd name="connsiteY43" fmla="*/ 632389 h 774819"/>
              <a:gd name="connsiteX44" fmla="*/ 791911 w 883066"/>
              <a:gd name="connsiteY44" fmla="*/ 609600 h 774819"/>
              <a:gd name="connsiteX45" fmla="*/ 803305 w 883066"/>
              <a:gd name="connsiteY45" fmla="*/ 586812 h 774819"/>
              <a:gd name="connsiteX46" fmla="*/ 817548 w 883066"/>
              <a:gd name="connsiteY46" fmla="*/ 583963 h 774819"/>
              <a:gd name="connsiteX47" fmla="*/ 837488 w 883066"/>
              <a:gd name="connsiteY47" fmla="*/ 583963 h 774819"/>
              <a:gd name="connsiteX48" fmla="*/ 848883 w 883066"/>
              <a:gd name="connsiteY48" fmla="*/ 555477 h 774819"/>
              <a:gd name="connsiteX49" fmla="*/ 846034 w 883066"/>
              <a:gd name="connsiteY49" fmla="*/ 541234 h 774819"/>
              <a:gd name="connsiteX50" fmla="*/ 806154 w 883066"/>
              <a:gd name="connsiteY50" fmla="*/ 529840 h 774819"/>
              <a:gd name="connsiteX51" fmla="*/ 771970 w 883066"/>
              <a:gd name="connsiteY51" fmla="*/ 555477 h 774819"/>
              <a:gd name="connsiteX52" fmla="*/ 752030 w 883066"/>
              <a:gd name="connsiteY52" fmla="*/ 544083 h 774819"/>
              <a:gd name="connsiteX53" fmla="*/ 740636 w 883066"/>
              <a:gd name="connsiteY53" fmla="*/ 515597 h 774819"/>
              <a:gd name="connsiteX54" fmla="*/ 709301 w 883066"/>
              <a:gd name="connsiteY54" fmla="*/ 518445 h 774819"/>
              <a:gd name="connsiteX55" fmla="*/ 712150 w 883066"/>
              <a:gd name="connsiteY55" fmla="*/ 546931 h 774819"/>
              <a:gd name="connsiteX56" fmla="*/ 675118 w 883066"/>
              <a:gd name="connsiteY56" fmla="*/ 566872 h 774819"/>
              <a:gd name="connsiteX57" fmla="*/ 655178 w 883066"/>
              <a:gd name="connsiteY57" fmla="*/ 566872 h 774819"/>
              <a:gd name="connsiteX58" fmla="*/ 632389 w 883066"/>
              <a:gd name="connsiteY58" fmla="*/ 558326 h 774819"/>
              <a:gd name="connsiteX59" fmla="*/ 635238 w 883066"/>
              <a:gd name="connsiteY59" fmla="*/ 529840 h 774819"/>
              <a:gd name="connsiteX60" fmla="*/ 603903 w 883066"/>
              <a:gd name="connsiteY60" fmla="*/ 498505 h 774819"/>
              <a:gd name="connsiteX61" fmla="*/ 620995 w 883066"/>
              <a:gd name="connsiteY61" fmla="*/ 487111 h 774819"/>
              <a:gd name="connsiteX62" fmla="*/ 660875 w 883066"/>
              <a:gd name="connsiteY62" fmla="*/ 492808 h 774819"/>
              <a:gd name="connsiteX63" fmla="*/ 683664 w 883066"/>
              <a:gd name="connsiteY63" fmla="*/ 472868 h 774819"/>
              <a:gd name="connsiteX64" fmla="*/ 729241 w 883066"/>
              <a:gd name="connsiteY64" fmla="*/ 487111 h 774819"/>
              <a:gd name="connsiteX65" fmla="*/ 729241 w 883066"/>
              <a:gd name="connsiteY65" fmla="*/ 487111 h 774819"/>
              <a:gd name="connsiteX66" fmla="*/ 766273 w 883066"/>
              <a:gd name="connsiteY66" fmla="*/ 495657 h 774819"/>
              <a:gd name="connsiteX67" fmla="*/ 766273 w 883066"/>
              <a:gd name="connsiteY67" fmla="*/ 455776 h 774819"/>
              <a:gd name="connsiteX68" fmla="*/ 734939 w 883066"/>
              <a:gd name="connsiteY68" fmla="*/ 444382 h 774819"/>
              <a:gd name="connsiteX69" fmla="*/ 734939 w 883066"/>
              <a:gd name="connsiteY69" fmla="*/ 378864 h 774819"/>
              <a:gd name="connsiteX70" fmla="*/ 723544 w 883066"/>
              <a:gd name="connsiteY70" fmla="*/ 356075 h 774819"/>
              <a:gd name="connsiteX71" fmla="*/ 438684 w 883066"/>
              <a:gd name="connsiteY71" fmla="*/ 381713 h 774819"/>
              <a:gd name="connsiteX72" fmla="*/ 444382 w 883066"/>
              <a:gd name="connsiteY72" fmla="*/ 273466 h 774819"/>
              <a:gd name="connsiteX73" fmla="*/ 492808 w 883066"/>
              <a:gd name="connsiteY73" fmla="*/ 202251 h 774819"/>
              <a:gd name="connsiteX74" fmla="*/ 481413 w 883066"/>
              <a:gd name="connsiteY74" fmla="*/ 150976 h 774819"/>
              <a:gd name="connsiteX75" fmla="*/ 495656 w 883066"/>
              <a:gd name="connsiteY75" fmla="*/ 119642 h 774819"/>
              <a:gd name="connsiteX76" fmla="*/ 475716 w 883066"/>
              <a:gd name="connsiteY76" fmla="*/ 0 h 774819"/>
              <a:gd name="connsiteX77" fmla="*/ 0 w 883066"/>
              <a:gd name="connsiteY77" fmla="*/ 62670 h 774819"/>
              <a:gd name="connsiteX0" fmla="*/ 0 w 883066"/>
              <a:gd name="connsiteY0" fmla="*/ 62670 h 774819"/>
              <a:gd name="connsiteX1" fmla="*/ 14243 w 883066"/>
              <a:gd name="connsiteY1" fmla="*/ 188008 h 774819"/>
              <a:gd name="connsiteX2" fmla="*/ 17092 w 883066"/>
              <a:gd name="connsiteY2" fmla="*/ 253526 h 774819"/>
              <a:gd name="connsiteX3" fmla="*/ 39881 w 883066"/>
              <a:gd name="connsiteY3" fmla="*/ 313346 h 774819"/>
              <a:gd name="connsiteX4" fmla="*/ 76912 w 883066"/>
              <a:gd name="connsiteY4" fmla="*/ 361772 h 774819"/>
              <a:gd name="connsiteX5" fmla="*/ 108247 w 883066"/>
              <a:gd name="connsiteY5" fmla="*/ 450079 h 774819"/>
              <a:gd name="connsiteX6" fmla="*/ 79761 w 883066"/>
              <a:gd name="connsiteY6" fmla="*/ 526991 h 774819"/>
              <a:gd name="connsiteX7" fmla="*/ 82610 w 883066"/>
              <a:gd name="connsiteY7" fmla="*/ 561174 h 774819"/>
              <a:gd name="connsiteX8" fmla="*/ 83491 w 883066"/>
              <a:gd name="connsiteY8" fmla="*/ 615298 h 774819"/>
              <a:gd name="connsiteX9" fmla="*/ 84178 w 883066"/>
              <a:gd name="connsiteY9" fmla="*/ 697179 h 774819"/>
              <a:gd name="connsiteX10" fmla="*/ 136733 w 883066"/>
              <a:gd name="connsiteY10" fmla="*/ 686513 h 774819"/>
              <a:gd name="connsiteX11" fmla="*/ 182311 w 883066"/>
              <a:gd name="connsiteY11" fmla="*/ 669421 h 774819"/>
              <a:gd name="connsiteX12" fmla="*/ 236434 w 883066"/>
              <a:gd name="connsiteY12" fmla="*/ 677967 h 774819"/>
              <a:gd name="connsiteX13" fmla="*/ 296254 w 883066"/>
              <a:gd name="connsiteY13" fmla="*/ 703604 h 774819"/>
              <a:gd name="connsiteX14" fmla="*/ 358924 w 883066"/>
              <a:gd name="connsiteY14" fmla="*/ 703604 h 774819"/>
              <a:gd name="connsiteX15" fmla="*/ 361772 w 883066"/>
              <a:gd name="connsiteY15" fmla="*/ 660875 h 774819"/>
              <a:gd name="connsiteX16" fmla="*/ 387410 w 883066"/>
              <a:gd name="connsiteY16" fmla="*/ 646632 h 774819"/>
              <a:gd name="connsiteX17" fmla="*/ 424441 w 883066"/>
              <a:gd name="connsiteY17" fmla="*/ 649481 h 774819"/>
              <a:gd name="connsiteX18" fmla="*/ 447230 w 883066"/>
              <a:gd name="connsiteY18" fmla="*/ 658027 h 774819"/>
              <a:gd name="connsiteX19" fmla="*/ 492808 w 883066"/>
              <a:gd name="connsiteY19" fmla="*/ 692210 h 774819"/>
              <a:gd name="connsiteX20" fmla="*/ 501354 w 883066"/>
              <a:gd name="connsiteY20" fmla="*/ 649481 h 774819"/>
              <a:gd name="connsiteX21" fmla="*/ 467170 w 883066"/>
              <a:gd name="connsiteY21" fmla="*/ 612449 h 774819"/>
              <a:gd name="connsiteX22" fmla="*/ 458625 w 883066"/>
              <a:gd name="connsiteY22" fmla="*/ 595357 h 774819"/>
              <a:gd name="connsiteX23" fmla="*/ 472868 w 883066"/>
              <a:gd name="connsiteY23" fmla="*/ 589660 h 774819"/>
              <a:gd name="connsiteX24" fmla="*/ 492808 w 883066"/>
              <a:gd name="connsiteY24" fmla="*/ 592509 h 774819"/>
              <a:gd name="connsiteX25" fmla="*/ 535537 w 883066"/>
              <a:gd name="connsiteY25" fmla="*/ 643784 h 774819"/>
              <a:gd name="connsiteX26" fmla="*/ 524142 w 883066"/>
              <a:gd name="connsiteY26" fmla="*/ 675118 h 774819"/>
              <a:gd name="connsiteX27" fmla="*/ 529840 w 883066"/>
              <a:gd name="connsiteY27" fmla="*/ 746333 h 774819"/>
              <a:gd name="connsiteX28" fmla="*/ 589660 w 883066"/>
              <a:gd name="connsiteY28" fmla="*/ 774819 h 774819"/>
              <a:gd name="connsiteX29" fmla="*/ 620995 w 883066"/>
              <a:gd name="connsiteY29" fmla="*/ 732090 h 774819"/>
              <a:gd name="connsiteX30" fmla="*/ 683664 w 883066"/>
              <a:gd name="connsiteY30" fmla="*/ 746333 h 774819"/>
              <a:gd name="connsiteX31" fmla="*/ 709301 w 883066"/>
              <a:gd name="connsiteY31" fmla="*/ 717847 h 774819"/>
              <a:gd name="connsiteX32" fmla="*/ 700755 w 883066"/>
              <a:gd name="connsiteY32" fmla="*/ 663724 h 774819"/>
              <a:gd name="connsiteX33" fmla="*/ 680815 w 883066"/>
              <a:gd name="connsiteY33" fmla="*/ 640935 h 774819"/>
              <a:gd name="connsiteX34" fmla="*/ 683664 w 883066"/>
              <a:gd name="connsiteY34" fmla="*/ 618146 h 774819"/>
              <a:gd name="connsiteX35" fmla="*/ 734939 w 883066"/>
              <a:gd name="connsiteY35" fmla="*/ 646632 h 774819"/>
              <a:gd name="connsiteX36" fmla="*/ 757727 w 883066"/>
              <a:gd name="connsiteY36" fmla="*/ 683664 h 774819"/>
              <a:gd name="connsiteX37" fmla="*/ 803305 w 883066"/>
              <a:gd name="connsiteY37" fmla="*/ 695058 h 774819"/>
              <a:gd name="connsiteX38" fmla="*/ 848883 w 883066"/>
              <a:gd name="connsiteY38" fmla="*/ 734939 h 774819"/>
              <a:gd name="connsiteX39" fmla="*/ 883066 w 883066"/>
              <a:gd name="connsiteY39" fmla="*/ 714999 h 774819"/>
              <a:gd name="connsiteX40" fmla="*/ 883066 w 883066"/>
              <a:gd name="connsiteY40" fmla="*/ 689361 h 774819"/>
              <a:gd name="connsiteX41" fmla="*/ 846034 w 883066"/>
              <a:gd name="connsiteY41" fmla="*/ 646632 h 774819"/>
              <a:gd name="connsiteX42" fmla="*/ 817548 w 883066"/>
              <a:gd name="connsiteY42" fmla="*/ 632389 h 774819"/>
              <a:gd name="connsiteX43" fmla="*/ 791911 w 883066"/>
              <a:gd name="connsiteY43" fmla="*/ 609600 h 774819"/>
              <a:gd name="connsiteX44" fmla="*/ 803305 w 883066"/>
              <a:gd name="connsiteY44" fmla="*/ 586812 h 774819"/>
              <a:gd name="connsiteX45" fmla="*/ 817548 w 883066"/>
              <a:gd name="connsiteY45" fmla="*/ 583963 h 774819"/>
              <a:gd name="connsiteX46" fmla="*/ 837488 w 883066"/>
              <a:gd name="connsiteY46" fmla="*/ 583963 h 774819"/>
              <a:gd name="connsiteX47" fmla="*/ 848883 w 883066"/>
              <a:gd name="connsiteY47" fmla="*/ 555477 h 774819"/>
              <a:gd name="connsiteX48" fmla="*/ 846034 w 883066"/>
              <a:gd name="connsiteY48" fmla="*/ 541234 h 774819"/>
              <a:gd name="connsiteX49" fmla="*/ 806154 w 883066"/>
              <a:gd name="connsiteY49" fmla="*/ 529840 h 774819"/>
              <a:gd name="connsiteX50" fmla="*/ 771970 w 883066"/>
              <a:gd name="connsiteY50" fmla="*/ 555477 h 774819"/>
              <a:gd name="connsiteX51" fmla="*/ 752030 w 883066"/>
              <a:gd name="connsiteY51" fmla="*/ 544083 h 774819"/>
              <a:gd name="connsiteX52" fmla="*/ 740636 w 883066"/>
              <a:gd name="connsiteY52" fmla="*/ 515597 h 774819"/>
              <a:gd name="connsiteX53" fmla="*/ 709301 w 883066"/>
              <a:gd name="connsiteY53" fmla="*/ 518445 h 774819"/>
              <a:gd name="connsiteX54" fmla="*/ 712150 w 883066"/>
              <a:gd name="connsiteY54" fmla="*/ 546931 h 774819"/>
              <a:gd name="connsiteX55" fmla="*/ 675118 w 883066"/>
              <a:gd name="connsiteY55" fmla="*/ 566872 h 774819"/>
              <a:gd name="connsiteX56" fmla="*/ 655178 w 883066"/>
              <a:gd name="connsiteY56" fmla="*/ 566872 h 774819"/>
              <a:gd name="connsiteX57" fmla="*/ 632389 w 883066"/>
              <a:gd name="connsiteY57" fmla="*/ 558326 h 774819"/>
              <a:gd name="connsiteX58" fmla="*/ 635238 w 883066"/>
              <a:gd name="connsiteY58" fmla="*/ 529840 h 774819"/>
              <a:gd name="connsiteX59" fmla="*/ 603903 w 883066"/>
              <a:gd name="connsiteY59" fmla="*/ 498505 h 774819"/>
              <a:gd name="connsiteX60" fmla="*/ 620995 w 883066"/>
              <a:gd name="connsiteY60" fmla="*/ 487111 h 774819"/>
              <a:gd name="connsiteX61" fmla="*/ 660875 w 883066"/>
              <a:gd name="connsiteY61" fmla="*/ 492808 h 774819"/>
              <a:gd name="connsiteX62" fmla="*/ 683664 w 883066"/>
              <a:gd name="connsiteY62" fmla="*/ 472868 h 774819"/>
              <a:gd name="connsiteX63" fmla="*/ 729241 w 883066"/>
              <a:gd name="connsiteY63" fmla="*/ 487111 h 774819"/>
              <a:gd name="connsiteX64" fmla="*/ 729241 w 883066"/>
              <a:gd name="connsiteY64" fmla="*/ 487111 h 774819"/>
              <a:gd name="connsiteX65" fmla="*/ 766273 w 883066"/>
              <a:gd name="connsiteY65" fmla="*/ 495657 h 774819"/>
              <a:gd name="connsiteX66" fmla="*/ 766273 w 883066"/>
              <a:gd name="connsiteY66" fmla="*/ 455776 h 774819"/>
              <a:gd name="connsiteX67" fmla="*/ 734939 w 883066"/>
              <a:gd name="connsiteY67" fmla="*/ 444382 h 774819"/>
              <a:gd name="connsiteX68" fmla="*/ 734939 w 883066"/>
              <a:gd name="connsiteY68" fmla="*/ 378864 h 774819"/>
              <a:gd name="connsiteX69" fmla="*/ 723544 w 883066"/>
              <a:gd name="connsiteY69" fmla="*/ 356075 h 774819"/>
              <a:gd name="connsiteX70" fmla="*/ 438684 w 883066"/>
              <a:gd name="connsiteY70" fmla="*/ 381713 h 774819"/>
              <a:gd name="connsiteX71" fmla="*/ 444382 w 883066"/>
              <a:gd name="connsiteY71" fmla="*/ 273466 h 774819"/>
              <a:gd name="connsiteX72" fmla="*/ 492808 w 883066"/>
              <a:gd name="connsiteY72" fmla="*/ 202251 h 774819"/>
              <a:gd name="connsiteX73" fmla="*/ 481413 w 883066"/>
              <a:gd name="connsiteY73" fmla="*/ 150976 h 774819"/>
              <a:gd name="connsiteX74" fmla="*/ 495656 w 883066"/>
              <a:gd name="connsiteY74" fmla="*/ 119642 h 774819"/>
              <a:gd name="connsiteX75" fmla="*/ 475716 w 883066"/>
              <a:gd name="connsiteY75" fmla="*/ 0 h 774819"/>
              <a:gd name="connsiteX76" fmla="*/ 0 w 883066"/>
              <a:gd name="connsiteY76" fmla="*/ 62670 h 774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883066" h="774819">
                <a:moveTo>
                  <a:pt x="0" y="62670"/>
                </a:moveTo>
                <a:lnTo>
                  <a:pt x="14243" y="188008"/>
                </a:lnTo>
                <a:lnTo>
                  <a:pt x="17092" y="253526"/>
                </a:lnTo>
                <a:lnTo>
                  <a:pt x="39881" y="313346"/>
                </a:lnTo>
                <a:lnTo>
                  <a:pt x="76912" y="361772"/>
                </a:lnTo>
                <a:lnTo>
                  <a:pt x="108247" y="450079"/>
                </a:lnTo>
                <a:lnTo>
                  <a:pt x="79761" y="526991"/>
                </a:lnTo>
                <a:lnTo>
                  <a:pt x="82610" y="561174"/>
                </a:lnTo>
                <a:cubicBezTo>
                  <a:pt x="82904" y="579215"/>
                  <a:pt x="83197" y="597257"/>
                  <a:pt x="83491" y="615298"/>
                </a:cubicBezTo>
                <a:lnTo>
                  <a:pt x="84178" y="697179"/>
                </a:lnTo>
                <a:lnTo>
                  <a:pt x="136733" y="686513"/>
                </a:lnTo>
                <a:lnTo>
                  <a:pt x="182311" y="669421"/>
                </a:lnTo>
                <a:lnTo>
                  <a:pt x="236434" y="677967"/>
                </a:lnTo>
                <a:lnTo>
                  <a:pt x="296254" y="703604"/>
                </a:lnTo>
                <a:lnTo>
                  <a:pt x="358924" y="703604"/>
                </a:lnTo>
                <a:lnTo>
                  <a:pt x="361772" y="660875"/>
                </a:lnTo>
                <a:lnTo>
                  <a:pt x="387410" y="646632"/>
                </a:lnTo>
                <a:lnTo>
                  <a:pt x="424441" y="649481"/>
                </a:lnTo>
                <a:lnTo>
                  <a:pt x="447230" y="658027"/>
                </a:lnTo>
                <a:lnTo>
                  <a:pt x="492808" y="692210"/>
                </a:lnTo>
                <a:lnTo>
                  <a:pt x="501354" y="649481"/>
                </a:lnTo>
                <a:lnTo>
                  <a:pt x="467170" y="612449"/>
                </a:lnTo>
                <a:lnTo>
                  <a:pt x="458625" y="595357"/>
                </a:lnTo>
                <a:lnTo>
                  <a:pt x="472868" y="589660"/>
                </a:lnTo>
                <a:lnTo>
                  <a:pt x="492808" y="592509"/>
                </a:lnTo>
                <a:lnTo>
                  <a:pt x="535537" y="643784"/>
                </a:lnTo>
                <a:lnTo>
                  <a:pt x="524142" y="675118"/>
                </a:lnTo>
                <a:lnTo>
                  <a:pt x="529840" y="746333"/>
                </a:lnTo>
                <a:lnTo>
                  <a:pt x="589660" y="774819"/>
                </a:lnTo>
                <a:lnTo>
                  <a:pt x="620995" y="732090"/>
                </a:lnTo>
                <a:lnTo>
                  <a:pt x="683664" y="746333"/>
                </a:lnTo>
                <a:lnTo>
                  <a:pt x="709301" y="717847"/>
                </a:lnTo>
                <a:lnTo>
                  <a:pt x="700755" y="663724"/>
                </a:lnTo>
                <a:lnTo>
                  <a:pt x="680815" y="640935"/>
                </a:lnTo>
                <a:lnTo>
                  <a:pt x="683664" y="618146"/>
                </a:lnTo>
                <a:lnTo>
                  <a:pt x="734939" y="646632"/>
                </a:lnTo>
                <a:lnTo>
                  <a:pt x="757727" y="683664"/>
                </a:lnTo>
                <a:lnTo>
                  <a:pt x="803305" y="695058"/>
                </a:lnTo>
                <a:lnTo>
                  <a:pt x="848883" y="734939"/>
                </a:lnTo>
                <a:lnTo>
                  <a:pt x="883066" y="714999"/>
                </a:lnTo>
                <a:lnTo>
                  <a:pt x="883066" y="689361"/>
                </a:lnTo>
                <a:lnTo>
                  <a:pt x="846034" y="646632"/>
                </a:lnTo>
                <a:lnTo>
                  <a:pt x="817548" y="632389"/>
                </a:lnTo>
                <a:lnTo>
                  <a:pt x="791911" y="609600"/>
                </a:lnTo>
                <a:lnTo>
                  <a:pt x="803305" y="586812"/>
                </a:lnTo>
                <a:lnTo>
                  <a:pt x="817548" y="583963"/>
                </a:lnTo>
                <a:lnTo>
                  <a:pt x="837488" y="583963"/>
                </a:lnTo>
                <a:lnTo>
                  <a:pt x="848883" y="555477"/>
                </a:lnTo>
                <a:lnTo>
                  <a:pt x="846034" y="541234"/>
                </a:lnTo>
                <a:lnTo>
                  <a:pt x="806154" y="529840"/>
                </a:lnTo>
                <a:lnTo>
                  <a:pt x="771970" y="555477"/>
                </a:lnTo>
                <a:lnTo>
                  <a:pt x="752030" y="544083"/>
                </a:lnTo>
                <a:lnTo>
                  <a:pt x="740636" y="515597"/>
                </a:lnTo>
                <a:lnTo>
                  <a:pt x="709301" y="518445"/>
                </a:lnTo>
                <a:lnTo>
                  <a:pt x="712150" y="546931"/>
                </a:lnTo>
                <a:lnTo>
                  <a:pt x="675118" y="566872"/>
                </a:lnTo>
                <a:lnTo>
                  <a:pt x="655178" y="566872"/>
                </a:lnTo>
                <a:lnTo>
                  <a:pt x="632389" y="558326"/>
                </a:lnTo>
                <a:lnTo>
                  <a:pt x="635238" y="529840"/>
                </a:lnTo>
                <a:lnTo>
                  <a:pt x="603903" y="498505"/>
                </a:lnTo>
                <a:lnTo>
                  <a:pt x="620995" y="487111"/>
                </a:lnTo>
                <a:lnTo>
                  <a:pt x="660875" y="492808"/>
                </a:lnTo>
                <a:lnTo>
                  <a:pt x="683664" y="472868"/>
                </a:lnTo>
                <a:lnTo>
                  <a:pt x="729241" y="487111"/>
                </a:lnTo>
                <a:lnTo>
                  <a:pt x="729241" y="487111"/>
                </a:lnTo>
                <a:lnTo>
                  <a:pt x="766273" y="495657"/>
                </a:lnTo>
                <a:lnTo>
                  <a:pt x="766273" y="455776"/>
                </a:lnTo>
                <a:lnTo>
                  <a:pt x="734939" y="444382"/>
                </a:lnTo>
                <a:lnTo>
                  <a:pt x="734939" y="378864"/>
                </a:lnTo>
                <a:lnTo>
                  <a:pt x="723544" y="356075"/>
                </a:lnTo>
                <a:lnTo>
                  <a:pt x="438684" y="381713"/>
                </a:lnTo>
                <a:lnTo>
                  <a:pt x="444382" y="273466"/>
                </a:lnTo>
                <a:lnTo>
                  <a:pt x="492808" y="202251"/>
                </a:lnTo>
                <a:lnTo>
                  <a:pt x="481413" y="150976"/>
                </a:lnTo>
                <a:lnTo>
                  <a:pt x="495656" y="119642"/>
                </a:lnTo>
                <a:lnTo>
                  <a:pt x="475716" y="0"/>
                </a:lnTo>
                <a:lnTo>
                  <a:pt x="0" y="6267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5" name="Freeform 34"/>
          <p:cNvSpPr/>
          <p:nvPr/>
        </p:nvSpPr>
        <p:spPr>
          <a:xfrm>
            <a:off x="6311843" y="5034356"/>
            <a:ext cx="1333135" cy="1040650"/>
          </a:xfrm>
          <a:custGeom>
            <a:avLst/>
            <a:gdLst>
              <a:gd name="connsiteX0" fmla="*/ 0 w 1379716"/>
              <a:gd name="connsiteY0" fmla="*/ 183962 h 1074014"/>
              <a:gd name="connsiteX1" fmla="*/ 27054 w 1379716"/>
              <a:gd name="connsiteY1" fmla="*/ 302996 h 1074014"/>
              <a:gd name="connsiteX2" fmla="*/ 48696 w 1379716"/>
              <a:gd name="connsiteY2" fmla="*/ 294880 h 1074014"/>
              <a:gd name="connsiteX3" fmla="*/ 64928 w 1379716"/>
              <a:gd name="connsiteY3" fmla="*/ 278648 h 1074014"/>
              <a:gd name="connsiteX4" fmla="*/ 70339 w 1379716"/>
              <a:gd name="connsiteY4" fmla="*/ 246185 h 1074014"/>
              <a:gd name="connsiteX5" fmla="*/ 105508 w 1379716"/>
              <a:gd name="connsiteY5" fmla="*/ 246185 h 1074014"/>
              <a:gd name="connsiteX6" fmla="*/ 135267 w 1379716"/>
              <a:gd name="connsiteY6" fmla="*/ 265122 h 1074014"/>
              <a:gd name="connsiteX7" fmla="*/ 208310 w 1379716"/>
              <a:gd name="connsiteY7" fmla="*/ 238069 h 1074014"/>
              <a:gd name="connsiteX8" fmla="*/ 257006 w 1379716"/>
              <a:gd name="connsiteY8" fmla="*/ 257006 h 1074014"/>
              <a:gd name="connsiteX9" fmla="*/ 281354 w 1379716"/>
              <a:gd name="connsiteY9" fmla="*/ 257006 h 1074014"/>
              <a:gd name="connsiteX10" fmla="*/ 327345 w 1379716"/>
              <a:gd name="connsiteY10" fmla="*/ 243479 h 1074014"/>
              <a:gd name="connsiteX11" fmla="*/ 348987 w 1379716"/>
              <a:gd name="connsiteY11" fmla="*/ 267827 h 1074014"/>
              <a:gd name="connsiteX12" fmla="*/ 351693 w 1379716"/>
              <a:gd name="connsiteY12" fmla="*/ 292175 h 1074014"/>
              <a:gd name="connsiteX13" fmla="*/ 373335 w 1379716"/>
              <a:gd name="connsiteY13" fmla="*/ 297586 h 1074014"/>
              <a:gd name="connsiteX14" fmla="*/ 416621 w 1379716"/>
              <a:gd name="connsiteY14" fmla="*/ 338166 h 1074014"/>
              <a:gd name="connsiteX15" fmla="*/ 435558 w 1379716"/>
              <a:gd name="connsiteY15" fmla="*/ 319228 h 1074014"/>
              <a:gd name="connsiteX16" fmla="*/ 478843 w 1379716"/>
              <a:gd name="connsiteY16" fmla="*/ 321934 h 1074014"/>
              <a:gd name="connsiteX17" fmla="*/ 541065 w 1379716"/>
              <a:gd name="connsiteY17" fmla="*/ 278648 h 1074014"/>
              <a:gd name="connsiteX18" fmla="*/ 554592 w 1379716"/>
              <a:gd name="connsiteY18" fmla="*/ 246185 h 1074014"/>
              <a:gd name="connsiteX19" fmla="*/ 578940 w 1379716"/>
              <a:gd name="connsiteY19" fmla="*/ 227247 h 1074014"/>
              <a:gd name="connsiteX20" fmla="*/ 646573 w 1379716"/>
              <a:gd name="connsiteY20" fmla="*/ 238069 h 1074014"/>
              <a:gd name="connsiteX21" fmla="*/ 692564 w 1379716"/>
              <a:gd name="connsiteY21" fmla="*/ 265122 h 1074014"/>
              <a:gd name="connsiteX22" fmla="*/ 711501 w 1379716"/>
              <a:gd name="connsiteY22" fmla="*/ 324639 h 1074014"/>
              <a:gd name="connsiteX23" fmla="*/ 825125 w 1379716"/>
              <a:gd name="connsiteY23" fmla="*/ 376040 h 1074014"/>
              <a:gd name="connsiteX24" fmla="*/ 854883 w 1379716"/>
              <a:gd name="connsiteY24" fmla="*/ 435557 h 1074014"/>
              <a:gd name="connsiteX25" fmla="*/ 862999 w 1379716"/>
              <a:gd name="connsiteY25" fmla="*/ 568118 h 1074014"/>
              <a:gd name="connsiteX26" fmla="*/ 887347 w 1379716"/>
              <a:gd name="connsiteY26" fmla="*/ 611403 h 1074014"/>
              <a:gd name="connsiteX27" fmla="*/ 906284 w 1379716"/>
              <a:gd name="connsiteY27" fmla="*/ 592466 h 1074014"/>
              <a:gd name="connsiteX28" fmla="*/ 933338 w 1379716"/>
              <a:gd name="connsiteY28" fmla="*/ 624930 h 1074014"/>
              <a:gd name="connsiteX29" fmla="*/ 919811 w 1379716"/>
              <a:gd name="connsiteY29" fmla="*/ 662805 h 1074014"/>
              <a:gd name="connsiteX30" fmla="*/ 919811 w 1379716"/>
              <a:gd name="connsiteY30" fmla="*/ 684447 h 1074014"/>
              <a:gd name="connsiteX31" fmla="*/ 1009087 w 1379716"/>
              <a:gd name="connsiteY31" fmla="*/ 773723 h 1074014"/>
              <a:gd name="connsiteX32" fmla="*/ 1022613 w 1379716"/>
              <a:gd name="connsiteY32" fmla="*/ 754786 h 1074014"/>
              <a:gd name="connsiteX33" fmla="*/ 1030729 w 1379716"/>
              <a:gd name="connsiteY33" fmla="*/ 754786 h 1074014"/>
              <a:gd name="connsiteX34" fmla="*/ 1038845 w 1379716"/>
              <a:gd name="connsiteY34" fmla="*/ 787250 h 1074014"/>
              <a:gd name="connsiteX35" fmla="*/ 1068604 w 1379716"/>
              <a:gd name="connsiteY35" fmla="*/ 819714 h 1074014"/>
              <a:gd name="connsiteX36" fmla="*/ 1068604 w 1379716"/>
              <a:gd name="connsiteY36" fmla="*/ 844061 h 1074014"/>
              <a:gd name="connsiteX37" fmla="*/ 1106478 w 1379716"/>
              <a:gd name="connsiteY37" fmla="*/ 881936 h 1074014"/>
              <a:gd name="connsiteX38" fmla="*/ 1120005 w 1379716"/>
              <a:gd name="connsiteY38" fmla="*/ 922516 h 1074014"/>
              <a:gd name="connsiteX39" fmla="*/ 1152469 w 1379716"/>
              <a:gd name="connsiteY39" fmla="*/ 944158 h 1074014"/>
              <a:gd name="connsiteX40" fmla="*/ 1176817 w 1379716"/>
              <a:gd name="connsiteY40" fmla="*/ 941453 h 1074014"/>
              <a:gd name="connsiteX41" fmla="*/ 1211986 w 1379716"/>
              <a:gd name="connsiteY41" fmla="*/ 998265 h 1074014"/>
              <a:gd name="connsiteX42" fmla="*/ 1241745 w 1379716"/>
              <a:gd name="connsiteY42" fmla="*/ 1014497 h 1074014"/>
              <a:gd name="connsiteX43" fmla="*/ 1260682 w 1379716"/>
              <a:gd name="connsiteY43" fmla="*/ 1030729 h 1074014"/>
              <a:gd name="connsiteX44" fmla="*/ 1266093 w 1379716"/>
              <a:gd name="connsiteY44" fmla="*/ 1038845 h 1074014"/>
              <a:gd name="connsiteX45" fmla="*/ 1252566 w 1379716"/>
              <a:gd name="connsiteY45" fmla="*/ 1046961 h 1074014"/>
              <a:gd name="connsiteX46" fmla="*/ 1247155 w 1379716"/>
              <a:gd name="connsiteY46" fmla="*/ 1055077 h 1074014"/>
              <a:gd name="connsiteX47" fmla="*/ 1268798 w 1379716"/>
              <a:gd name="connsiteY47" fmla="*/ 1074014 h 1074014"/>
              <a:gd name="connsiteX48" fmla="*/ 1282325 w 1379716"/>
              <a:gd name="connsiteY48" fmla="*/ 1068603 h 1074014"/>
              <a:gd name="connsiteX49" fmla="*/ 1298557 w 1379716"/>
              <a:gd name="connsiteY49" fmla="*/ 1052371 h 1074014"/>
              <a:gd name="connsiteX50" fmla="*/ 1314789 w 1379716"/>
              <a:gd name="connsiteY50" fmla="*/ 1033434 h 1074014"/>
              <a:gd name="connsiteX51" fmla="*/ 1341842 w 1379716"/>
              <a:gd name="connsiteY51" fmla="*/ 1038845 h 1074014"/>
              <a:gd name="connsiteX52" fmla="*/ 1349958 w 1379716"/>
              <a:gd name="connsiteY52" fmla="*/ 1014497 h 1074014"/>
              <a:gd name="connsiteX53" fmla="*/ 1363484 w 1379716"/>
              <a:gd name="connsiteY53" fmla="*/ 979328 h 1074014"/>
              <a:gd name="connsiteX54" fmla="*/ 1355368 w 1379716"/>
              <a:gd name="connsiteY54" fmla="*/ 949569 h 1074014"/>
              <a:gd name="connsiteX55" fmla="*/ 1360779 w 1379716"/>
              <a:gd name="connsiteY55" fmla="*/ 925221 h 1074014"/>
              <a:gd name="connsiteX56" fmla="*/ 1368895 w 1379716"/>
              <a:gd name="connsiteY56" fmla="*/ 890052 h 1074014"/>
              <a:gd name="connsiteX57" fmla="*/ 1379716 w 1379716"/>
              <a:gd name="connsiteY57" fmla="*/ 830535 h 1074014"/>
              <a:gd name="connsiteX58" fmla="*/ 1377011 w 1379716"/>
              <a:gd name="connsiteY58" fmla="*/ 752080 h 1074014"/>
              <a:gd name="connsiteX59" fmla="*/ 1352663 w 1379716"/>
              <a:gd name="connsiteY59" fmla="*/ 673626 h 1074014"/>
              <a:gd name="connsiteX60" fmla="*/ 1325610 w 1379716"/>
              <a:gd name="connsiteY60" fmla="*/ 614109 h 1074014"/>
              <a:gd name="connsiteX61" fmla="*/ 1328315 w 1379716"/>
              <a:gd name="connsiteY61" fmla="*/ 603287 h 1074014"/>
              <a:gd name="connsiteX62" fmla="*/ 1306673 w 1379716"/>
              <a:gd name="connsiteY62" fmla="*/ 560002 h 1074014"/>
              <a:gd name="connsiteX63" fmla="*/ 1266093 w 1379716"/>
              <a:gd name="connsiteY63" fmla="*/ 508601 h 1074014"/>
              <a:gd name="connsiteX64" fmla="*/ 1195754 w 1379716"/>
              <a:gd name="connsiteY64" fmla="*/ 403093 h 1074014"/>
              <a:gd name="connsiteX65" fmla="*/ 1184933 w 1379716"/>
              <a:gd name="connsiteY65" fmla="*/ 378745 h 1074014"/>
              <a:gd name="connsiteX66" fmla="*/ 1203870 w 1379716"/>
              <a:gd name="connsiteY66" fmla="*/ 373335 h 1074014"/>
              <a:gd name="connsiteX67" fmla="*/ 1230923 w 1379716"/>
              <a:gd name="connsiteY67" fmla="*/ 392272 h 1074014"/>
              <a:gd name="connsiteX68" fmla="*/ 1257977 w 1379716"/>
              <a:gd name="connsiteY68" fmla="*/ 470727 h 1074014"/>
              <a:gd name="connsiteX69" fmla="*/ 1217397 w 1379716"/>
              <a:gd name="connsiteY69" fmla="*/ 362514 h 1074014"/>
              <a:gd name="connsiteX70" fmla="*/ 1138942 w 1379716"/>
              <a:gd name="connsiteY70" fmla="*/ 286764 h 1074014"/>
              <a:gd name="connsiteX71" fmla="*/ 1117300 w 1379716"/>
              <a:gd name="connsiteY71" fmla="*/ 224542 h 1074014"/>
              <a:gd name="connsiteX72" fmla="*/ 1076720 w 1379716"/>
              <a:gd name="connsiteY72" fmla="*/ 175846 h 1074014"/>
              <a:gd name="connsiteX73" fmla="*/ 1057783 w 1379716"/>
              <a:gd name="connsiteY73" fmla="*/ 129856 h 1074014"/>
              <a:gd name="connsiteX74" fmla="*/ 1028024 w 1379716"/>
              <a:gd name="connsiteY74" fmla="*/ 67633 h 1074014"/>
              <a:gd name="connsiteX75" fmla="*/ 1011792 w 1379716"/>
              <a:gd name="connsiteY75" fmla="*/ 81160 h 1074014"/>
              <a:gd name="connsiteX76" fmla="*/ 1017203 w 1379716"/>
              <a:gd name="connsiteY76" fmla="*/ 119034 h 1074014"/>
              <a:gd name="connsiteX77" fmla="*/ 1025319 w 1379716"/>
              <a:gd name="connsiteY77" fmla="*/ 148793 h 1074014"/>
              <a:gd name="connsiteX78" fmla="*/ 1025319 w 1379716"/>
              <a:gd name="connsiteY78" fmla="*/ 165025 h 1074014"/>
              <a:gd name="connsiteX79" fmla="*/ 995560 w 1379716"/>
              <a:gd name="connsiteY79" fmla="*/ 143382 h 1074014"/>
              <a:gd name="connsiteX80" fmla="*/ 990149 w 1379716"/>
              <a:gd name="connsiteY80" fmla="*/ 110918 h 1074014"/>
              <a:gd name="connsiteX81" fmla="*/ 987444 w 1379716"/>
              <a:gd name="connsiteY81" fmla="*/ 83865 h 1074014"/>
              <a:gd name="connsiteX82" fmla="*/ 1006381 w 1379716"/>
              <a:gd name="connsiteY82" fmla="*/ 54106 h 1074014"/>
              <a:gd name="connsiteX83" fmla="*/ 1025319 w 1379716"/>
              <a:gd name="connsiteY83" fmla="*/ 13527 h 1074014"/>
              <a:gd name="connsiteX84" fmla="*/ 968507 w 1379716"/>
              <a:gd name="connsiteY84" fmla="*/ 13527 h 1074014"/>
              <a:gd name="connsiteX85" fmla="*/ 941454 w 1379716"/>
              <a:gd name="connsiteY85" fmla="*/ 0 h 1074014"/>
              <a:gd name="connsiteX86" fmla="*/ 917106 w 1379716"/>
              <a:gd name="connsiteY86" fmla="*/ 18937 h 1074014"/>
              <a:gd name="connsiteX87" fmla="*/ 911695 w 1379716"/>
              <a:gd name="connsiteY87" fmla="*/ 97392 h 1074014"/>
              <a:gd name="connsiteX88" fmla="*/ 862999 w 1379716"/>
              <a:gd name="connsiteY88" fmla="*/ 81160 h 1074014"/>
              <a:gd name="connsiteX89" fmla="*/ 465316 w 1379716"/>
              <a:gd name="connsiteY89" fmla="*/ 119034 h 1074014"/>
              <a:gd name="connsiteX90" fmla="*/ 392273 w 1379716"/>
              <a:gd name="connsiteY90" fmla="*/ 91981 h 1074014"/>
              <a:gd name="connsiteX91" fmla="*/ 0 w 1379716"/>
              <a:gd name="connsiteY91" fmla="*/ 183962 h 1074014"/>
              <a:gd name="connsiteX0" fmla="*/ 0 w 1379716"/>
              <a:gd name="connsiteY0" fmla="*/ 184734 h 1074786"/>
              <a:gd name="connsiteX1" fmla="*/ 27054 w 1379716"/>
              <a:gd name="connsiteY1" fmla="*/ 303768 h 1074786"/>
              <a:gd name="connsiteX2" fmla="*/ 48696 w 1379716"/>
              <a:gd name="connsiteY2" fmla="*/ 295652 h 1074786"/>
              <a:gd name="connsiteX3" fmla="*/ 64928 w 1379716"/>
              <a:gd name="connsiteY3" fmla="*/ 279420 h 1074786"/>
              <a:gd name="connsiteX4" fmla="*/ 70339 w 1379716"/>
              <a:gd name="connsiteY4" fmla="*/ 246957 h 1074786"/>
              <a:gd name="connsiteX5" fmla="*/ 105508 w 1379716"/>
              <a:gd name="connsiteY5" fmla="*/ 246957 h 1074786"/>
              <a:gd name="connsiteX6" fmla="*/ 135267 w 1379716"/>
              <a:gd name="connsiteY6" fmla="*/ 265894 h 1074786"/>
              <a:gd name="connsiteX7" fmla="*/ 208310 w 1379716"/>
              <a:gd name="connsiteY7" fmla="*/ 238841 h 1074786"/>
              <a:gd name="connsiteX8" fmla="*/ 257006 w 1379716"/>
              <a:gd name="connsiteY8" fmla="*/ 257778 h 1074786"/>
              <a:gd name="connsiteX9" fmla="*/ 281354 w 1379716"/>
              <a:gd name="connsiteY9" fmla="*/ 257778 h 1074786"/>
              <a:gd name="connsiteX10" fmla="*/ 327345 w 1379716"/>
              <a:gd name="connsiteY10" fmla="*/ 244251 h 1074786"/>
              <a:gd name="connsiteX11" fmla="*/ 348987 w 1379716"/>
              <a:gd name="connsiteY11" fmla="*/ 268599 h 1074786"/>
              <a:gd name="connsiteX12" fmla="*/ 351693 w 1379716"/>
              <a:gd name="connsiteY12" fmla="*/ 292947 h 1074786"/>
              <a:gd name="connsiteX13" fmla="*/ 373335 w 1379716"/>
              <a:gd name="connsiteY13" fmla="*/ 298358 h 1074786"/>
              <a:gd name="connsiteX14" fmla="*/ 416621 w 1379716"/>
              <a:gd name="connsiteY14" fmla="*/ 338938 h 1074786"/>
              <a:gd name="connsiteX15" fmla="*/ 435558 w 1379716"/>
              <a:gd name="connsiteY15" fmla="*/ 320000 h 1074786"/>
              <a:gd name="connsiteX16" fmla="*/ 478843 w 1379716"/>
              <a:gd name="connsiteY16" fmla="*/ 322706 h 1074786"/>
              <a:gd name="connsiteX17" fmla="*/ 541065 w 1379716"/>
              <a:gd name="connsiteY17" fmla="*/ 279420 h 1074786"/>
              <a:gd name="connsiteX18" fmla="*/ 554592 w 1379716"/>
              <a:gd name="connsiteY18" fmla="*/ 246957 h 1074786"/>
              <a:gd name="connsiteX19" fmla="*/ 578940 w 1379716"/>
              <a:gd name="connsiteY19" fmla="*/ 228019 h 1074786"/>
              <a:gd name="connsiteX20" fmla="*/ 646573 w 1379716"/>
              <a:gd name="connsiteY20" fmla="*/ 238841 h 1074786"/>
              <a:gd name="connsiteX21" fmla="*/ 692564 w 1379716"/>
              <a:gd name="connsiteY21" fmla="*/ 265894 h 1074786"/>
              <a:gd name="connsiteX22" fmla="*/ 711501 w 1379716"/>
              <a:gd name="connsiteY22" fmla="*/ 325411 h 1074786"/>
              <a:gd name="connsiteX23" fmla="*/ 825125 w 1379716"/>
              <a:gd name="connsiteY23" fmla="*/ 376812 h 1074786"/>
              <a:gd name="connsiteX24" fmla="*/ 854883 w 1379716"/>
              <a:gd name="connsiteY24" fmla="*/ 436329 h 1074786"/>
              <a:gd name="connsiteX25" fmla="*/ 862999 w 1379716"/>
              <a:gd name="connsiteY25" fmla="*/ 568890 h 1074786"/>
              <a:gd name="connsiteX26" fmla="*/ 887347 w 1379716"/>
              <a:gd name="connsiteY26" fmla="*/ 612175 h 1074786"/>
              <a:gd name="connsiteX27" fmla="*/ 906284 w 1379716"/>
              <a:gd name="connsiteY27" fmla="*/ 593238 h 1074786"/>
              <a:gd name="connsiteX28" fmla="*/ 933338 w 1379716"/>
              <a:gd name="connsiteY28" fmla="*/ 625702 h 1074786"/>
              <a:gd name="connsiteX29" fmla="*/ 919811 w 1379716"/>
              <a:gd name="connsiteY29" fmla="*/ 663577 h 1074786"/>
              <a:gd name="connsiteX30" fmla="*/ 919811 w 1379716"/>
              <a:gd name="connsiteY30" fmla="*/ 685219 h 1074786"/>
              <a:gd name="connsiteX31" fmla="*/ 1009087 w 1379716"/>
              <a:gd name="connsiteY31" fmla="*/ 774495 h 1074786"/>
              <a:gd name="connsiteX32" fmla="*/ 1022613 w 1379716"/>
              <a:gd name="connsiteY32" fmla="*/ 755558 h 1074786"/>
              <a:gd name="connsiteX33" fmla="*/ 1030729 w 1379716"/>
              <a:gd name="connsiteY33" fmla="*/ 755558 h 1074786"/>
              <a:gd name="connsiteX34" fmla="*/ 1038845 w 1379716"/>
              <a:gd name="connsiteY34" fmla="*/ 788022 h 1074786"/>
              <a:gd name="connsiteX35" fmla="*/ 1068604 w 1379716"/>
              <a:gd name="connsiteY35" fmla="*/ 820486 h 1074786"/>
              <a:gd name="connsiteX36" fmla="*/ 1068604 w 1379716"/>
              <a:gd name="connsiteY36" fmla="*/ 844833 h 1074786"/>
              <a:gd name="connsiteX37" fmla="*/ 1106478 w 1379716"/>
              <a:gd name="connsiteY37" fmla="*/ 882708 h 1074786"/>
              <a:gd name="connsiteX38" fmla="*/ 1120005 w 1379716"/>
              <a:gd name="connsiteY38" fmla="*/ 923288 h 1074786"/>
              <a:gd name="connsiteX39" fmla="*/ 1152469 w 1379716"/>
              <a:gd name="connsiteY39" fmla="*/ 944930 h 1074786"/>
              <a:gd name="connsiteX40" fmla="*/ 1176817 w 1379716"/>
              <a:gd name="connsiteY40" fmla="*/ 942225 h 1074786"/>
              <a:gd name="connsiteX41" fmla="*/ 1211986 w 1379716"/>
              <a:gd name="connsiteY41" fmla="*/ 999037 h 1074786"/>
              <a:gd name="connsiteX42" fmla="*/ 1241745 w 1379716"/>
              <a:gd name="connsiteY42" fmla="*/ 1015269 h 1074786"/>
              <a:gd name="connsiteX43" fmla="*/ 1260682 w 1379716"/>
              <a:gd name="connsiteY43" fmla="*/ 1031501 h 1074786"/>
              <a:gd name="connsiteX44" fmla="*/ 1266093 w 1379716"/>
              <a:gd name="connsiteY44" fmla="*/ 1039617 h 1074786"/>
              <a:gd name="connsiteX45" fmla="*/ 1252566 w 1379716"/>
              <a:gd name="connsiteY45" fmla="*/ 1047733 h 1074786"/>
              <a:gd name="connsiteX46" fmla="*/ 1247155 w 1379716"/>
              <a:gd name="connsiteY46" fmla="*/ 1055849 h 1074786"/>
              <a:gd name="connsiteX47" fmla="*/ 1268798 w 1379716"/>
              <a:gd name="connsiteY47" fmla="*/ 1074786 h 1074786"/>
              <a:gd name="connsiteX48" fmla="*/ 1282325 w 1379716"/>
              <a:gd name="connsiteY48" fmla="*/ 1069375 h 1074786"/>
              <a:gd name="connsiteX49" fmla="*/ 1298557 w 1379716"/>
              <a:gd name="connsiteY49" fmla="*/ 1053143 h 1074786"/>
              <a:gd name="connsiteX50" fmla="*/ 1314789 w 1379716"/>
              <a:gd name="connsiteY50" fmla="*/ 1034206 h 1074786"/>
              <a:gd name="connsiteX51" fmla="*/ 1341842 w 1379716"/>
              <a:gd name="connsiteY51" fmla="*/ 1039617 h 1074786"/>
              <a:gd name="connsiteX52" fmla="*/ 1349958 w 1379716"/>
              <a:gd name="connsiteY52" fmla="*/ 1015269 h 1074786"/>
              <a:gd name="connsiteX53" fmla="*/ 1363484 w 1379716"/>
              <a:gd name="connsiteY53" fmla="*/ 980100 h 1074786"/>
              <a:gd name="connsiteX54" fmla="*/ 1355368 w 1379716"/>
              <a:gd name="connsiteY54" fmla="*/ 950341 h 1074786"/>
              <a:gd name="connsiteX55" fmla="*/ 1360779 w 1379716"/>
              <a:gd name="connsiteY55" fmla="*/ 925993 h 1074786"/>
              <a:gd name="connsiteX56" fmla="*/ 1368895 w 1379716"/>
              <a:gd name="connsiteY56" fmla="*/ 890824 h 1074786"/>
              <a:gd name="connsiteX57" fmla="*/ 1379716 w 1379716"/>
              <a:gd name="connsiteY57" fmla="*/ 831307 h 1074786"/>
              <a:gd name="connsiteX58" fmla="*/ 1377011 w 1379716"/>
              <a:gd name="connsiteY58" fmla="*/ 752852 h 1074786"/>
              <a:gd name="connsiteX59" fmla="*/ 1352663 w 1379716"/>
              <a:gd name="connsiteY59" fmla="*/ 674398 h 1074786"/>
              <a:gd name="connsiteX60" fmla="*/ 1325610 w 1379716"/>
              <a:gd name="connsiteY60" fmla="*/ 614881 h 1074786"/>
              <a:gd name="connsiteX61" fmla="*/ 1328315 w 1379716"/>
              <a:gd name="connsiteY61" fmla="*/ 604059 h 1074786"/>
              <a:gd name="connsiteX62" fmla="*/ 1306673 w 1379716"/>
              <a:gd name="connsiteY62" fmla="*/ 560774 h 1074786"/>
              <a:gd name="connsiteX63" fmla="*/ 1266093 w 1379716"/>
              <a:gd name="connsiteY63" fmla="*/ 509373 h 1074786"/>
              <a:gd name="connsiteX64" fmla="*/ 1195754 w 1379716"/>
              <a:gd name="connsiteY64" fmla="*/ 403865 h 1074786"/>
              <a:gd name="connsiteX65" fmla="*/ 1184933 w 1379716"/>
              <a:gd name="connsiteY65" fmla="*/ 379517 h 1074786"/>
              <a:gd name="connsiteX66" fmla="*/ 1203870 w 1379716"/>
              <a:gd name="connsiteY66" fmla="*/ 374107 h 1074786"/>
              <a:gd name="connsiteX67" fmla="*/ 1230923 w 1379716"/>
              <a:gd name="connsiteY67" fmla="*/ 393044 h 1074786"/>
              <a:gd name="connsiteX68" fmla="*/ 1257977 w 1379716"/>
              <a:gd name="connsiteY68" fmla="*/ 471499 h 1074786"/>
              <a:gd name="connsiteX69" fmla="*/ 1217397 w 1379716"/>
              <a:gd name="connsiteY69" fmla="*/ 363286 h 1074786"/>
              <a:gd name="connsiteX70" fmla="*/ 1138942 w 1379716"/>
              <a:gd name="connsiteY70" fmla="*/ 287536 h 1074786"/>
              <a:gd name="connsiteX71" fmla="*/ 1117300 w 1379716"/>
              <a:gd name="connsiteY71" fmla="*/ 225314 h 1074786"/>
              <a:gd name="connsiteX72" fmla="*/ 1076720 w 1379716"/>
              <a:gd name="connsiteY72" fmla="*/ 176618 h 1074786"/>
              <a:gd name="connsiteX73" fmla="*/ 1057783 w 1379716"/>
              <a:gd name="connsiteY73" fmla="*/ 130628 h 1074786"/>
              <a:gd name="connsiteX74" fmla="*/ 1028024 w 1379716"/>
              <a:gd name="connsiteY74" fmla="*/ 68405 h 1074786"/>
              <a:gd name="connsiteX75" fmla="*/ 1011792 w 1379716"/>
              <a:gd name="connsiteY75" fmla="*/ 81932 h 1074786"/>
              <a:gd name="connsiteX76" fmla="*/ 1017203 w 1379716"/>
              <a:gd name="connsiteY76" fmla="*/ 119806 h 1074786"/>
              <a:gd name="connsiteX77" fmla="*/ 1025319 w 1379716"/>
              <a:gd name="connsiteY77" fmla="*/ 149565 h 1074786"/>
              <a:gd name="connsiteX78" fmla="*/ 1025319 w 1379716"/>
              <a:gd name="connsiteY78" fmla="*/ 165797 h 1074786"/>
              <a:gd name="connsiteX79" fmla="*/ 995560 w 1379716"/>
              <a:gd name="connsiteY79" fmla="*/ 144154 h 1074786"/>
              <a:gd name="connsiteX80" fmla="*/ 990149 w 1379716"/>
              <a:gd name="connsiteY80" fmla="*/ 111690 h 1074786"/>
              <a:gd name="connsiteX81" fmla="*/ 987444 w 1379716"/>
              <a:gd name="connsiteY81" fmla="*/ 84637 h 1074786"/>
              <a:gd name="connsiteX82" fmla="*/ 1006381 w 1379716"/>
              <a:gd name="connsiteY82" fmla="*/ 54878 h 1074786"/>
              <a:gd name="connsiteX83" fmla="*/ 1022938 w 1379716"/>
              <a:gd name="connsiteY83" fmla="*/ 0 h 1074786"/>
              <a:gd name="connsiteX84" fmla="*/ 968507 w 1379716"/>
              <a:gd name="connsiteY84" fmla="*/ 14299 h 1074786"/>
              <a:gd name="connsiteX85" fmla="*/ 941454 w 1379716"/>
              <a:gd name="connsiteY85" fmla="*/ 772 h 1074786"/>
              <a:gd name="connsiteX86" fmla="*/ 917106 w 1379716"/>
              <a:gd name="connsiteY86" fmla="*/ 19709 h 1074786"/>
              <a:gd name="connsiteX87" fmla="*/ 911695 w 1379716"/>
              <a:gd name="connsiteY87" fmla="*/ 98164 h 1074786"/>
              <a:gd name="connsiteX88" fmla="*/ 862999 w 1379716"/>
              <a:gd name="connsiteY88" fmla="*/ 81932 h 1074786"/>
              <a:gd name="connsiteX89" fmla="*/ 465316 w 1379716"/>
              <a:gd name="connsiteY89" fmla="*/ 119806 h 1074786"/>
              <a:gd name="connsiteX90" fmla="*/ 392273 w 1379716"/>
              <a:gd name="connsiteY90" fmla="*/ 92753 h 1074786"/>
              <a:gd name="connsiteX91" fmla="*/ 0 w 1379716"/>
              <a:gd name="connsiteY91" fmla="*/ 184734 h 1074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379716" h="1074786">
                <a:moveTo>
                  <a:pt x="0" y="184734"/>
                </a:moveTo>
                <a:lnTo>
                  <a:pt x="27054" y="303768"/>
                </a:lnTo>
                <a:lnTo>
                  <a:pt x="48696" y="295652"/>
                </a:lnTo>
                <a:lnTo>
                  <a:pt x="64928" y="279420"/>
                </a:lnTo>
                <a:lnTo>
                  <a:pt x="70339" y="246957"/>
                </a:lnTo>
                <a:lnTo>
                  <a:pt x="105508" y="246957"/>
                </a:lnTo>
                <a:lnTo>
                  <a:pt x="135267" y="265894"/>
                </a:lnTo>
                <a:lnTo>
                  <a:pt x="208310" y="238841"/>
                </a:lnTo>
                <a:lnTo>
                  <a:pt x="257006" y="257778"/>
                </a:lnTo>
                <a:lnTo>
                  <a:pt x="281354" y="257778"/>
                </a:lnTo>
                <a:lnTo>
                  <a:pt x="327345" y="244251"/>
                </a:lnTo>
                <a:lnTo>
                  <a:pt x="348987" y="268599"/>
                </a:lnTo>
                <a:lnTo>
                  <a:pt x="351693" y="292947"/>
                </a:lnTo>
                <a:lnTo>
                  <a:pt x="373335" y="298358"/>
                </a:lnTo>
                <a:lnTo>
                  <a:pt x="416621" y="338938"/>
                </a:lnTo>
                <a:lnTo>
                  <a:pt x="435558" y="320000"/>
                </a:lnTo>
                <a:lnTo>
                  <a:pt x="478843" y="322706"/>
                </a:lnTo>
                <a:lnTo>
                  <a:pt x="541065" y="279420"/>
                </a:lnTo>
                <a:lnTo>
                  <a:pt x="554592" y="246957"/>
                </a:lnTo>
                <a:lnTo>
                  <a:pt x="578940" y="228019"/>
                </a:lnTo>
                <a:lnTo>
                  <a:pt x="646573" y="238841"/>
                </a:lnTo>
                <a:lnTo>
                  <a:pt x="692564" y="265894"/>
                </a:lnTo>
                <a:lnTo>
                  <a:pt x="711501" y="325411"/>
                </a:lnTo>
                <a:lnTo>
                  <a:pt x="825125" y="376812"/>
                </a:lnTo>
                <a:lnTo>
                  <a:pt x="854883" y="436329"/>
                </a:lnTo>
                <a:lnTo>
                  <a:pt x="862999" y="568890"/>
                </a:lnTo>
                <a:lnTo>
                  <a:pt x="887347" y="612175"/>
                </a:lnTo>
                <a:lnTo>
                  <a:pt x="906284" y="593238"/>
                </a:lnTo>
                <a:lnTo>
                  <a:pt x="933338" y="625702"/>
                </a:lnTo>
                <a:lnTo>
                  <a:pt x="919811" y="663577"/>
                </a:lnTo>
                <a:lnTo>
                  <a:pt x="919811" y="685219"/>
                </a:lnTo>
                <a:lnTo>
                  <a:pt x="1009087" y="774495"/>
                </a:lnTo>
                <a:lnTo>
                  <a:pt x="1022613" y="755558"/>
                </a:lnTo>
                <a:lnTo>
                  <a:pt x="1030729" y="755558"/>
                </a:lnTo>
                <a:lnTo>
                  <a:pt x="1038845" y="788022"/>
                </a:lnTo>
                <a:lnTo>
                  <a:pt x="1068604" y="820486"/>
                </a:lnTo>
                <a:lnTo>
                  <a:pt x="1068604" y="844833"/>
                </a:lnTo>
                <a:lnTo>
                  <a:pt x="1106478" y="882708"/>
                </a:lnTo>
                <a:lnTo>
                  <a:pt x="1120005" y="923288"/>
                </a:lnTo>
                <a:lnTo>
                  <a:pt x="1152469" y="944930"/>
                </a:lnTo>
                <a:lnTo>
                  <a:pt x="1176817" y="942225"/>
                </a:lnTo>
                <a:lnTo>
                  <a:pt x="1211986" y="999037"/>
                </a:lnTo>
                <a:lnTo>
                  <a:pt x="1241745" y="1015269"/>
                </a:lnTo>
                <a:lnTo>
                  <a:pt x="1260682" y="1031501"/>
                </a:lnTo>
                <a:lnTo>
                  <a:pt x="1266093" y="1039617"/>
                </a:lnTo>
                <a:lnTo>
                  <a:pt x="1252566" y="1047733"/>
                </a:lnTo>
                <a:lnTo>
                  <a:pt x="1247155" y="1055849"/>
                </a:lnTo>
                <a:lnTo>
                  <a:pt x="1268798" y="1074786"/>
                </a:lnTo>
                <a:lnTo>
                  <a:pt x="1282325" y="1069375"/>
                </a:lnTo>
                <a:lnTo>
                  <a:pt x="1298557" y="1053143"/>
                </a:lnTo>
                <a:lnTo>
                  <a:pt x="1314789" y="1034206"/>
                </a:lnTo>
                <a:lnTo>
                  <a:pt x="1341842" y="1039617"/>
                </a:lnTo>
                <a:lnTo>
                  <a:pt x="1349958" y="1015269"/>
                </a:lnTo>
                <a:lnTo>
                  <a:pt x="1363484" y="980100"/>
                </a:lnTo>
                <a:lnTo>
                  <a:pt x="1355368" y="950341"/>
                </a:lnTo>
                <a:lnTo>
                  <a:pt x="1360779" y="925993"/>
                </a:lnTo>
                <a:lnTo>
                  <a:pt x="1368895" y="890824"/>
                </a:lnTo>
                <a:lnTo>
                  <a:pt x="1379716" y="831307"/>
                </a:lnTo>
                <a:cubicBezTo>
                  <a:pt x="1378814" y="805155"/>
                  <a:pt x="1377913" y="779004"/>
                  <a:pt x="1377011" y="752852"/>
                </a:cubicBezTo>
                <a:lnTo>
                  <a:pt x="1352663" y="674398"/>
                </a:lnTo>
                <a:lnTo>
                  <a:pt x="1325610" y="614881"/>
                </a:lnTo>
                <a:lnTo>
                  <a:pt x="1328315" y="604059"/>
                </a:lnTo>
                <a:lnTo>
                  <a:pt x="1306673" y="560774"/>
                </a:lnTo>
                <a:lnTo>
                  <a:pt x="1266093" y="509373"/>
                </a:lnTo>
                <a:lnTo>
                  <a:pt x="1195754" y="403865"/>
                </a:lnTo>
                <a:lnTo>
                  <a:pt x="1184933" y="379517"/>
                </a:lnTo>
                <a:lnTo>
                  <a:pt x="1203870" y="374107"/>
                </a:lnTo>
                <a:lnTo>
                  <a:pt x="1230923" y="393044"/>
                </a:lnTo>
                <a:lnTo>
                  <a:pt x="1257977" y="471499"/>
                </a:lnTo>
                <a:lnTo>
                  <a:pt x="1217397" y="363286"/>
                </a:lnTo>
                <a:lnTo>
                  <a:pt x="1138942" y="287536"/>
                </a:lnTo>
                <a:lnTo>
                  <a:pt x="1117300" y="225314"/>
                </a:lnTo>
                <a:lnTo>
                  <a:pt x="1076720" y="176618"/>
                </a:lnTo>
                <a:lnTo>
                  <a:pt x="1057783" y="130628"/>
                </a:lnTo>
                <a:lnTo>
                  <a:pt x="1028024" y="68405"/>
                </a:lnTo>
                <a:lnTo>
                  <a:pt x="1011792" y="81932"/>
                </a:lnTo>
                <a:lnTo>
                  <a:pt x="1017203" y="119806"/>
                </a:lnTo>
                <a:lnTo>
                  <a:pt x="1025319" y="149565"/>
                </a:lnTo>
                <a:lnTo>
                  <a:pt x="1025319" y="165797"/>
                </a:lnTo>
                <a:lnTo>
                  <a:pt x="995560" y="144154"/>
                </a:lnTo>
                <a:lnTo>
                  <a:pt x="990149" y="111690"/>
                </a:lnTo>
                <a:lnTo>
                  <a:pt x="987444" y="84637"/>
                </a:lnTo>
                <a:lnTo>
                  <a:pt x="1006381" y="54878"/>
                </a:lnTo>
                <a:lnTo>
                  <a:pt x="1022938" y="0"/>
                </a:lnTo>
                <a:lnTo>
                  <a:pt x="968507" y="14299"/>
                </a:lnTo>
                <a:lnTo>
                  <a:pt x="941454" y="772"/>
                </a:lnTo>
                <a:lnTo>
                  <a:pt x="917106" y="19709"/>
                </a:lnTo>
                <a:lnTo>
                  <a:pt x="911695" y="98164"/>
                </a:lnTo>
                <a:lnTo>
                  <a:pt x="862999" y="81932"/>
                </a:lnTo>
                <a:lnTo>
                  <a:pt x="465316" y="119806"/>
                </a:lnTo>
                <a:lnTo>
                  <a:pt x="392273" y="92753"/>
                </a:lnTo>
                <a:lnTo>
                  <a:pt x="0" y="184734"/>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6" name="Freeform 35"/>
          <p:cNvSpPr/>
          <p:nvPr/>
        </p:nvSpPr>
        <p:spPr>
          <a:xfrm>
            <a:off x="6686165" y="3668890"/>
            <a:ext cx="1277906" cy="677346"/>
          </a:xfrm>
          <a:custGeom>
            <a:avLst/>
            <a:gdLst>
              <a:gd name="connsiteX0" fmla="*/ 360608 w 1311069"/>
              <a:gd name="connsiteY0" fmla="*/ 293638 h 698035"/>
              <a:gd name="connsiteX1" fmla="*/ 360608 w 1311069"/>
              <a:gd name="connsiteY1" fmla="*/ 355457 h 698035"/>
              <a:gd name="connsiteX2" fmla="*/ 324547 w 1311069"/>
              <a:gd name="connsiteY2" fmla="*/ 381215 h 698035"/>
              <a:gd name="connsiteX3" fmla="*/ 285911 w 1311069"/>
              <a:gd name="connsiteY3" fmla="*/ 381215 h 698035"/>
              <a:gd name="connsiteX4" fmla="*/ 257577 w 1311069"/>
              <a:gd name="connsiteY4" fmla="*/ 435306 h 698035"/>
              <a:gd name="connsiteX5" fmla="*/ 198334 w 1311069"/>
              <a:gd name="connsiteY5" fmla="*/ 435306 h 698035"/>
              <a:gd name="connsiteX6" fmla="*/ 182880 w 1311069"/>
              <a:gd name="connsiteY6" fmla="*/ 489397 h 698035"/>
              <a:gd name="connsiteX7" fmla="*/ 154546 w 1311069"/>
              <a:gd name="connsiteY7" fmla="*/ 515155 h 698035"/>
              <a:gd name="connsiteX8" fmla="*/ 103031 w 1311069"/>
              <a:gd name="connsiteY8" fmla="*/ 543489 h 698035"/>
              <a:gd name="connsiteX9" fmla="*/ 43788 w 1311069"/>
              <a:gd name="connsiteY9" fmla="*/ 592428 h 698035"/>
              <a:gd name="connsiteX10" fmla="*/ 30909 w 1311069"/>
              <a:gd name="connsiteY10" fmla="*/ 638792 h 698035"/>
              <a:gd name="connsiteX11" fmla="*/ 0 w 1311069"/>
              <a:gd name="connsiteY11" fmla="*/ 664550 h 698035"/>
              <a:gd name="connsiteX12" fmla="*/ 15454 w 1311069"/>
              <a:gd name="connsiteY12" fmla="*/ 698035 h 698035"/>
              <a:gd name="connsiteX13" fmla="*/ 185455 w 1311069"/>
              <a:gd name="connsiteY13" fmla="*/ 664550 h 698035"/>
              <a:gd name="connsiteX14" fmla="*/ 370911 w 1311069"/>
              <a:gd name="connsiteY14" fmla="*/ 569246 h 698035"/>
              <a:gd name="connsiteX15" fmla="*/ 504852 w 1311069"/>
              <a:gd name="connsiteY15" fmla="*/ 558943 h 698035"/>
              <a:gd name="connsiteX16" fmla="*/ 589852 w 1311069"/>
              <a:gd name="connsiteY16" fmla="*/ 600156 h 698035"/>
              <a:gd name="connsiteX17" fmla="*/ 749550 w 1311069"/>
              <a:gd name="connsiteY17" fmla="*/ 546064 h 698035"/>
              <a:gd name="connsiteX18" fmla="*/ 945309 w 1311069"/>
              <a:gd name="connsiteY18" fmla="*/ 677429 h 698035"/>
              <a:gd name="connsiteX19" fmla="*/ 976218 w 1311069"/>
              <a:gd name="connsiteY19" fmla="*/ 651671 h 698035"/>
              <a:gd name="connsiteX20" fmla="*/ 1009703 w 1311069"/>
              <a:gd name="connsiteY20" fmla="*/ 631065 h 698035"/>
              <a:gd name="connsiteX21" fmla="*/ 1050916 w 1311069"/>
              <a:gd name="connsiteY21" fmla="*/ 582125 h 698035"/>
              <a:gd name="connsiteX22" fmla="*/ 1071522 w 1311069"/>
              <a:gd name="connsiteY22" fmla="*/ 530610 h 698035"/>
              <a:gd name="connsiteX23" fmla="*/ 1115310 w 1311069"/>
              <a:gd name="connsiteY23" fmla="*/ 463640 h 698035"/>
              <a:gd name="connsiteX24" fmla="*/ 1151371 w 1311069"/>
              <a:gd name="connsiteY24" fmla="*/ 422427 h 698035"/>
              <a:gd name="connsiteX25" fmla="*/ 1190008 w 1311069"/>
              <a:gd name="connsiteY25" fmla="*/ 412124 h 698035"/>
              <a:gd name="connsiteX26" fmla="*/ 1231220 w 1311069"/>
              <a:gd name="connsiteY26" fmla="*/ 381215 h 698035"/>
              <a:gd name="connsiteX27" fmla="*/ 1238947 w 1311069"/>
              <a:gd name="connsiteY27" fmla="*/ 340002 h 698035"/>
              <a:gd name="connsiteX28" fmla="*/ 1223493 w 1311069"/>
              <a:gd name="connsiteY28" fmla="*/ 337427 h 698035"/>
              <a:gd name="connsiteX29" fmla="*/ 1197735 w 1311069"/>
              <a:gd name="connsiteY29" fmla="*/ 352881 h 698035"/>
              <a:gd name="connsiteX30" fmla="*/ 1184856 w 1311069"/>
              <a:gd name="connsiteY30" fmla="*/ 370912 h 698035"/>
              <a:gd name="connsiteX31" fmla="*/ 1159098 w 1311069"/>
              <a:gd name="connsiteY31" fmla="*/ 378639 h 698035"/>
              <a:gd name="connsiteX32" fmla="*/ 1138492 w 1311069"/>
              <a:gd name="connsiteY32" fmla="*/ 370912 h 698035"/>
              <a:gd name="connsiteX33" fmla="*/ 1133341 w 1311069"/>
              <a:gd name="connsiteY33" fmla="*/ 358033 h 698035"/>
              <a:gd name="connsiteX34" fmla="*/ 1146219 w 1311069"/>
              <a:gd name="connsiteY34" fmla="*/ 350305 h 698035"/>
              <a:gd name="connsiteX35" fmla="*/ 1164250 w 1311069"/>
              <a:gd name="connsiteY35" fmla="*/ 352881 h 698035"/>
              <a:gd name="connsiteX36" fmla="*/ 1177129 w 1311069"/>
              <a:gd name="connsiteY36" fmla="*/ 352881 h 698035"/>
              <a:gd name="connsiteX37" fmla="*/ 1184856 w 1311069"/>
              <a:gd name="connsiteY37" fmla="*/ 332275 h 698035"/>
              <a:gd name="connsiteX38" fmla="*/ 1187432 w 1311069"/>
              <a:gd name="connsiteY38" fmla="*/ 306517 h 698035"/>
              <a:gd name="connsiteX39" fmla="*/ 1169401 w 1311069"/>
              <a:gd name="connsiteY39" fmla="*/ 303941 h 698035"/>
              <a:gd name="connsiteX40" fmla="*/ 1138492 w 1311069"/>
              <a:gd name="connsiteY40" fmla="*/ 301366 h 698035"/>
              <a:gd name="connsiteX41" fmla="*/ 1123037 w 1311069"/>
              <a:gd name="connsiteY41" fmla="*/ 293638 h 698035"/>
              <a:gd name="connsiteX42" fmla="*/ 1135916 w 1311069"/>
              <a:gd name="connsiteY42" fmla="*/ 273032 h 698035"/>
              <a:gd name="connsiteX43" fmla="*/ 1156523 w 1311069"/>
              <a:gd name="connsiteY43" fmla="*/ 273032 h 698035"/>
              <a:gd name="connsiteX44" fmla="*/ 1171977 w 1311069"/>
              <a:gd name="connsiteY44" fmla="*/ 260153 h 698035"/>
              <a:gd name="connsiteX45" fmla="*/ 1195159 w 1311069"/>
              <a:gd name="connsiteY45" fmla="*/ 244699 h 698035"/>
              <a:gd name="connsiteX46" fmla="*/ 1220917 w 1311069"/>
              <a:gd name="connsiteY46" fmla="*/ 262729 h 698035"/>
              <a:gd name="connsiteX47" fmla="*/ 1251826 w 1311069"/>
              <a:gd name="connsiteY47" fmla="*/ 252426 h 698035"/>
              <a:gd name="connsiteX48" fmla="*/ 1269857 w 1311069"/>
              <a:gd name="connsiteY48" fmla="*/ 226668 h 698035"/>
              <a:gd name="connsiteX49" fmla="*/ 1293039 w 1311069"/>
              <a:gd name="connsiteY49" fmla="*/ 190607 h 698035"/>
              <a:gd name="connsiteX50" fmla="*/ 1280160 w 1311069"/>
              <a:gd name="connsiteY50" fmla="*/ 136516 h 698035"/>
              <a:gd name="connsiteX51" fmla="*/ 1256978 w 1311069"/>
              <a:gd name="connsiteY51" fmla="*/ 123637 h 698035"/>
              <a:gd name="connsiteX52" fmla="*/ 1246675 w 1311069"/>
              <a:gd name="connsiteY52" fmla="*/ 149395 h 698035"/>
              <a:gd name="connsiteX53" fmla="*/ 1241523 w 1311069"/>
              <a:gd name="connsiteY53" fmla="*/ 167425 h 698035"/>
              <a:gd name="connsiteX54" fmla="*/ 1200311 w 1311069"/>
              <a:gd name="connsiteY54" fmla="*/ 154547 h 698035"/>
              <a:gd name="connsiteX55" fmla="*/ 1161674 w 1311069"/>
              <a:gd name="connsiteY55" fmla="*/ 162274 h 698035"/>
              <a:gd name="connsiteX56" fmla="*/ 1138492 w 1311069"/>
              <a:gd name="connsiteY56" fmla="*/ 177729 h 698035"/>
              <a:gd name="connsiteX57" fmla="*/ 1128189 w 1311069"/>
              <a:gd name="connsiteY57" fmla="*/ 151971 h 698035"/>
              <a:gd name="connsiteX58" fmla="*/ 1110159 w 1311069"/>
              <a:gd name="connsiteY58" fmla="*/ 123637 h 698035"/>
              <a:gd name="connsiteX59" fmla="*/ 1130765 w 1311069"/>
              <a:gd name="connsiteY59" fmla="*/ 110758 h 698035"/>
              <a:gd name="connsiteX60" fmla="*/ 1159098 w 1311069"/>
              <a:gd name="connsiteY60" fmla="*/ 131365 h 698035"/>
              <a:gd name="connsiteX61" fmla="*/ 1179704 w 1311069"/>
              <a:gd name="connsiteY61" fmla="*/ 121061 h 698035"/>
              <a:gd name="connsiteX62" fmla="*/ 1195159 w 1311069"/>
              <a:gd name="connsiteY62" fmla="*/ 118486 h 698035"/>
              <a:gd name="connsiteX63" fmla="*/ 1220917 w 1311069"/>
              <a:gd name="connsiteY63" fmla="*/ 95304 h 698035"/>
              <a:gd name="connsiteX64" fmla="*/ 1233796 w 1311069"/>
              <a:gd name="connsiteY64" fmla="*/ 95304 h 698035"/>
              <a:gd name="connsiteX65" fmla="*/ 1231220 w 1311069"/>
              <a:gd name="connsiteY65" fmla="*/ 74698 h 698035"/>
              <a:gd name="connsiteX66" fmla="*/ 1215765 w 1311069"/>
              <a:gd name="connsiteY66" fmla="*/ 28334 h 698035"/>
              <a:gd name="connsiteX67" fmla="*/ 1223493 w 1311069"/>
              <a:gd name="connsiteY67" fmla="*/ 25758 h 698035"/>
              <a:gd name="connsiteX68" fmla="*/ 1303342 w 1311069"/>
              <a:gd name="connsiteY68" fmla="*/ 121061 h 698035"/>
              <a:gd name="connsiteX69" fmla="*/ 1311069 w 1311069"/>
              <a:gd name="connsiteY69" fmla="*/ 115910 h 698035"/>
              <a:gd name="connsiteX70" fmla="*/ 1210614 w 1311069"/>
              <a:gd name="connsiteY70" fmla="*/ 0 h 698035"/>
              <a:gd name="connsiteX71" fmla="*/ 1156523 w 1311069"/>
              <a:gd name="connsiteY71" fmla="*/ 33485 h 698035"/>
              <a:gd name="connsiteX72" fmla="*/ 360608 w 1311069"/>
              <a:gd name="connsiteY72" fmla="*/ 293638 h 698035"/>
              <a:gd name="connsiteX0" fmla="*/ 360608 w 1311069"/>
              <a:gd name="connsiteY0" fmla="*/ 279360 h 698035"/>
              <a:gd name="connsiteX1" fmla="*/ 360608 w 1311069"/>
              <a:gd name="connsiteY1" fmla="*/ 355457 h 698035"/>
              <a:gd name="connsiteX2" fmla="*/ 324547 w 1311069"/>
              <a:gd name="connsiteY2" fmla="*/ 381215 h 698035"/>
              <a:gd name="connsiteX3" fmla="*/ 285911 w 1311069"/>
              <a:gd name="connsiteY3" fmla="*/ 381215 h 698035"/>
              <a:gd name="connsiteX4" fmla="*/ 257577 w 1311069"/>
              <a:gd name="connsiteY4" fmla="*/ 435306 h 698035"/>
              <a:gd name="connsiteX5" fmla="*/ 198334 w 1311069"/>
              <a:gd name="connsiteY5" fmla="*/ 435306 h 698035"/>
              <a:gd name="connsiteX6" fmla="*/ 182880 w 1311069"/>
              <a:gd name="connsiteY6" fmla="*/ 489397 h 698035"/>
              <a:gd name="connsiteX7" fmla="*/ 154546 w 1311069"/>
              <a:gd name="connsiteY7" fmla="*/ 515155 h 698035"/>
              <a:gd name="connsiteX8" fmla="*/ 103031 w 1311069"/>
              <a:gd name="connsiteY8" fmla="*/ 543489 h 698035"/>
              <a:gd name="connsiteX9" fmla="*/ 43788 w 1311069"/>
              <a:gd name="connsiteY9" fmla="*/ 592428 h 698035"/>
              <a:gd name="connsiteX10" fmla="*/ 30909 w 1311069"/>
              <a:gd name="connsiteY10" fmla="*/ 638792 h 698035"/>
              <a:gd name="connsiteX11" fmla="*/ 0 w 1311069"/>
              <a:gd name="connsiteY11" fmla="*/ 664550 h 698035"/>
              <a:gd name="connsiteX12" fmla="*/ 15454 w 1311069"/>
              <a:gd name="connsiteY12" fmla="*/ 698035 h 698035"/>
              <a:gd name="connsiteX13" fmla="*/ 185455 w 1311069"/>
              <a:gd name="connsiteY13" fmla="*/ 664550 h 698035"/>
              <a:gd name="connsiteX14" fmla="*/ 370911 w 1311069"/>
              <a:gd name="connsiteY14" fmla="*/ 569246 h 698035"/>
              <a:gd name="connsiteX15" fmla="*/ 504852 w 1311069"/>
              <a:gd name="connsiteY15" fmla="*/ 558943 h 698035"/>
              <a:gd name="connsiteX16" fmla="*/ 589852 w 1311069"/>
              <a:gd name="connsiteY16" fmla="*/ 600156 h 698035"/>
              <a:gd name="connsiteX17" fmla="*/ 749550 w 1311069"/>
              <a:gd name="connsiteY17" fmla="*/ 546064 h 698035"/>
              <a:gd name="connsiteX18" fmla="*/ 945309 w 1311069"/>
              <a:gd name="connsiteY18" fmla="*/ 677429 h 698035"/>
              <a:gd name="connsiteX19" fmla="*/ 976218 w 1311069"/>
              <a:gd name="connsiteY19" fmla="*/ 651671 h 698035"/>
              <a:gd name="connsiteX20" fmla="*/ 1009703 w 1311069"/>
              <a:gd name="connsiteY20" fmla="*/ 631065 h 698035"/>
              <a:gd name="connsiteX21" fmla="*/ 1050916 w 1311069"/>
              <a:gd name="connsiteY21" fmla="*/ 582125 h 698035"/>
              <a:gd name="connsiteX22" fmla="*/ 1071522 w 1311069"/>
              <a:gd name="connsiteY22" fmla="*/ 530610 h 698035"/>
              <a:gd name="connsiteX23" fmla="*/ 1115310 w 1311069"/>
              <a:gd name="connsiteY23" fmla="*/ 463640 h 698035"/>
              <a:gd name="connsiteX24" fmla="*/ 1151371 w 1311069"/>
              <a:gd name="connsiteY24" fmla="*/ 422427 h 698035"/>
              <a:gd name="connsiteX25" fmla="*/ 1190008 w 1311069"/>
              <a:gd name="connsiteY25" fmla="*/ 412124 h 698035"/>
              <a:gd name="connsiteX26" fmla="*/ 1231220 w 1311069"/>
              <a:gd name="connsiteY26" fmla="*/ 381215 h 698035"/>
              <a:gd name="connsiteX27" fmla="*/ 1238947 w 1311069"/>
              <a:gd name="connsiteY27" fmla="*/ 340002 h 698035"/>
              <a:gd name="connsiteX28" fmla="*/ 1223493 w 1311069"/>
              <a:gd name="connsiteY28" fmla="*/ 337427 h 698035"/>
              <a:gd name="connsiteX29" fmla="*/ 1197735 w 1311069"/>
              <a:gd name="connsiteY29" fmla="*/ 352881 h 698035"/>
              <a:gd name="connsiteX30" fmla="*/ 1184856 w 1311069"/>
              <a:gd name="connsiteY30" fmla="*/ 370912 h 698035"/>
              <a:gd name="connsiteX31" fmla="*/ 1159098 w 1311069"/>
              <a:gd name="connsiteY31" fmla="*/ 378639 h 698035"/>
              <a:gd name="connsiteX32" fmla="*/ 1138492 w 1311069"/>
              <a:gd name="connsiteY32" fmla="*/ 370912 h 698035"/>
              <a:gd name="connsiteX33" fmla="*/ 1133341 w 1311069"/>
              <a:gd name="connsiteY33" fmla="*/ 358033 h 698035"/>
              <a:gd name="connsiteX34" fmla="*/ 1146219 w 1311069"/>
              <a:gd name="connsiteY34" fmla="*/ 350305 h 698035"/>
              <a:gd name="connsiteX35" fmla="*/ 1164250 w 1311069"/>
              <a:gd name="connsiteY35" fmla="*/ 352881 h 698035"/>
              <a:gd name="connsiteX36" fmla="*/ 1177129 w 1311069"/>
              <a:gd name="connsiteY36" fmla="*/ 352881 h 698035"/>
              <a:gd name="connsiteX37" fmla="*/ 1184856 w 1311069"/>
              <a:gd name="connsiteY37" fmla="*/ 332275 h 698035"/>
              <a:gd name="connsiteX38" fmla="*/ 1187432 w 1311069"/>
              <a:gd name="connsiteY38" fmla="*/ 306517 h 698035"/>
              <a:gd name="connsiteX39" fmla="*/ 1169401 w 1311069"/>
              <a:gd name="connsiteY39" fmla="*/ 303941 h 698035"/>
              <a:gd name="connsiteX40" fmla="*/ 1138492 w 1311069"/>
              <a:gd name="connsiteY40" fmla="*/ 301366 h 698035"/>
              <a:gd name="connsiteX41" fmla="*/ 1123037 w 1311069"/>
              <a:gd name="connsiteY41" fmla="*/ 293638 h 698035"/>
              <a:gd name="connsiteX42" fmla="*/ 1135916 w 1311069"/>
              <a:gd name="connsiteY42" fmla="*/ 273032 h 698035"/>
              <a:gd name="connsiteX43" fmla="*/ 1156523 w 1311069"/>
              <a:gd name="connsiteY43" fmla="*/ 273032 h 698035"/>
              <a:gd name="connsiteX44" fmla="*/ 1171977 w 1311069"/>
              <a:gd name="connsiteY44" fmla="*/ 260153 h 698035"/>
              <a:gd name="connsiteX45" fmla="*/ 1195159 w 1311069"/>
              <a:gd name="connsiteY45" fmla="*/ 244699 h 698035"/>
              <a:gd name="connsiteX46" fmla="*/ 1220917 w 1311069"/>
              <a:gd name="connsiteY46" fmla="*/ 262729 h 698035"/>
              <a:gd name="connsiteX47" fmla="*/ 1251826 w 1311069"/>
              <a:gd name="connsiteY47" fmla="*/ 252426 h 698035"/>
              <a:gd name="connsiteX48" fmla="*/ 1269857 w 1311069"/>
              <a:gd name="connsiteY48" fmla="*/ 226668 h 698035"/>
              <a:gd name="connsiteX49" fmla="*/ 1293039 w 1311069"/>
              <a:gd name="connsiteY49" fmla="*/ 190607 h 698035"/>
              <a:gd name="connsiteX50" fmla="*/ 1280160 w 1311069"/>
              <a:gd name="connsiteY50" fmla="*/ 136516 h 698035"/>
              <a:gd name="connsiteX51" fmla="*/ 1256978 w 1311069"/>
              <a:gd name="connsiteY51" fmla="*/ 123637 h 698035"/>
              <a:gd name="connsiteX52" fmla="*/ 1246675 w 1311069"/>
              <a:gd name="connsiteY52" fmla="*/ 149395 h 698035"/>
              <a:gd name="connsiteX53" fmla="*/ 1241523 w 1311069"/>
              <a:gd name="connsiteY53" fmla="*/ 167425 h 698035"/>
              <a:gd name="connsiteX54" fmla="*/ 1200311 w 1311069"/>
              <a:gd name="connsiteY54" fmla="*/ 154547 h 698035"/>
              <a:gd name="connsiteX55" fmla="*/ 1161674 w 1311069"/>
              <a:gd name="connsiteY55" fmla="*/ 162274 h 698035"/>
              <a:gd name="connsiteX56" fmla="*/ 1138492 w 1311069"/>
              <a:gd name="connsiteY56" fmla="*/ 177729 h 698035"/>
              <a:gd name="connsiteX57" fmla="*/ 1128189 w 1311069"/>
              <a:gd name="connsiteY57" fmla="*/ 151971 h 698035"/>
              <a:gd name="connsiteX58" fmla="*/ 1110159 w 1311069"/>
              <a:gd name="connsiteY58" fmla="*/ 123637 h 698035"/>
              <a:gd name="connsiteX59" fmla="*/ 1130765 w 1311069"/>
              <a:gd name="connsiteY59" fmla="*/ 110758 h 698035"/>
              <a:gd name="connsiteX60" fmla="*/ 1159098 w 1311069"/>
              <a:gd name="connsiteY60" fmla="*/ 131365 h 698035"/>
              <a:gd name="connsiteX61" fmla="*/ 1179704 w 1311069"/>
              <a:gd name="connsiteY61" fmla="*/ 121061 h 698035"/>
              <a:gd name="connsiteX62" fmla="*/ 1195159 w 1311069"/>
              <a:gd name="connsiteY62" fmla="*/ 118486 h 698035"/>
              <a:gd name="connsiteX63" fmla="*/ 1220917 w 1311069"/>
              <a:gd name="connsiteY63" fmla="*/ 95304 h 698035"/>
              <a:gd name="connsiteX64" fmla="*/ 1233796 w 1311069"/>
              <a:gd name="connsiteY64" fmla="*/ 95304 h 698035"/>
              <a:gd name="connsiteX65" fmla="*/ 1231220 w 1311069"/>
              <a:gd name="connsiteY65" fmla="*/ 74698 h 698035"/>
              <a:gd name="connsiteX66" fmla="*/ 1215765 w 1311069"/>
              <a:gd name="connsiteY66" fmla="*/ 28334 h 698035"/>
              <a:gd name="connsiteX67" fmla="*/ 1223493 w 1311069"/>
              <a:gd name="connsiteY67" fmla="*/ 25758 h 698035"/>
              <a:gd name="connsiteX68" fmla="*/ 1303342 w 1311069"/>
              <a:gd name="connsiteY68" fmla="*/ 121061 h 698035"/>
              <a:gd name="connsiteX69" fmla="*/ 1311069 w 1311069"/>
              <a:gd name="connsiteY69" fmla="*/ 115910 h 698035"/>
              <a:gd name="connsiteX70" fmla="*/ 1210614 w 1311069"/>
              <a:gd name="connsiteY70" fmla="*/ 0 h 698035"/>
              <a:gd name="connsiteX71" fmla="*/ 1156523 w 1311069"/>
              <a:gd name="connsiteY71" fmla="*/ 33485 h 698035"/>
              <a:gd name="connsiteX72" fmla="*/ 360608 w 1311069"/>
              <a:gd name="connsiteY72" fmla="*/ 279360 h 698035"/>
              <a:gd name="connsiteX0" fmla="*/ 360608 w 1311069"/>
              <a:gd name="connsiteY0" fmla="*/ 279360 h 698035"/>
              <a:gd name="connsiteX1" fmla="*/ 360608 w 1311069"/>
              <a:gd name="connsiteY1" fmla="*/ 355457 h 698035"/>
              <a:gd name="connsiteX2" fmla="*/ 324547 w 1311069"/>
              <a:gd name="connsiteY2" fmla="*/ 381215 h 698035"/>
              <a:gd name="connsiteX3" fmla="*/ 285911 w 1311069"/>
              <a:gd name="connsiteY3" fmla="*/ 381215 h 698035"/>
              <a:gd name="connsiteX4" fmla="*/ 257577 w 1311069"/>
              <a:gd name="connsiteY4" fmla="*/ 435306 h 698035"/>
              <a:gd name="connsiteX5" fmla="*/ 198334 w 1311069"/>
              <a:gd name="connsiteY5" fmla="*/ 435306 h 698035"/>
              <a:gd name="connsiteX6" fmla="*/ 182880 w 1311069"/>
              <a:gd name="connsiteY6" fmla="*/ 489397 h 698035"/>
              <a:gd name="connsiteX7" fmla="*/ 154546 w 1311069"/>
              <a:gd name="connsiteY7" fmla="*/ 515155 h 698035"/>
              <a:gd name="connsiteX8" fmla="*/ 103031 w 1311069"/>
              <a:gd name="connsiteY8" fmla="*/ 543489 h 698035"/>
              <a:gd name="connsiteX9" fmla="*/ 43788 w 1311069"/>
              <a:gd name="connsiteY9" fmla="*/ 592428 h 698035"/>
              <a:gd name="connsiteX10" fmla="*/ 30909 w 1311069"/>
              <a:gd name="connsiteY10" fmla="*/ 638792 h 698035"/>
              <a:gd name="connsiteX11" fmla="*/ 0 w 1311069"/>
              <a:gd name="connsiteY11" fmla="*/ 664550 h 698035"/>
              <a:gd name="connsiteX12" fmla="*/ 15454 w 1311069"/>
              <a:gd name="connsiteY12" fmla="*/ 698035 h 698035"/>
              <a:gd name="connsiteX13" fmla="*/ 185455 w 1311069"/>
              <a:gd name="connsiteY13" fmla="*/ 664550 h 698035"/>
              <a:gd name="connsiteX14" fmla="*/ 370911 w 1311069"/>
              <a:gd name="connsiteY14" fmla="*/ 569246 h 698035"/>
              <a:gd name="connsiteX15" fmla="*/ 504852 w 1311069"/>
              <a:gd name="connsiteY15" fmla="*/ 558943 h 698035"/>
              <a:gd name="connsiteX16" fmla="*/ 589852 w 1311069"/>
              <a:gd name="connsiteY16" fmla="*/ 600156 h 698035"/>
              <a:gd name="connsiteX17" fmla="*/ 749550 w 1311069"/>
              <a:gd name="connsiteY17" fmla="*/ 546064 h 698035"/>
              <a:gd name="connsiteX18" fmla="*/ 945309 w 1311069"/>
              <a:gd name="connsiteY18" fmla="*/ 677429 h 698035"/>
              <a:gd name="connsiteX19" fmla="*/ 976218 w 1311069"/>
              <a:gd name="connsiteY19" fmla="*/ 651671 h 698035"/>
              <a:gd name="connsiteX20" fmla="*/ 1009703 w 1311069"/>
              <a:gd name="connsiteY20" fmla="*/ 631065 h 698035"/>
              <a:gd name="connsiteX21" fmla="*/ 1050916 w 1311069"/>
              <a:gd name="connsiteY21" fmla="*/ 582125 h 698035"/>
              <a:gd name="connsiteX22" fmla="*/ 1071522 w 1311069"/>
              <a:gd name="connsiteY22" fmla="*/ 530610 h 698035"/>
              <a:gd name="connsiteX23" fmla="*/ 1115310 w 1311069"/>
              <a:gd name="connsiteY23" fmla="*/ 463640 h 698035"/>
              <a:gd name="connsiteX24" fmla="*/ 1151371 w 1311069"/>
              <a:gd name="connsiteY24" fmla="*/ 422427 h 698035"/>
              <a:gd name="connsiteX25" fmla="*/ 1190008 w 1311069"/>
              <a:gd name="connsiteY25" fmla="*/ 412124 h 698035"/>
              <a:gd name="connsiteX26" fmla="*/ 1231220 w 1311069"/>
              <a:gd name="connsiteY26" fmla="*/ 381215 h 698035"/>
              <a:gd name="connsiteX27" fmla="*/ 1238947 w 1311069"/>
              <a:gd name="connsiteY27" fmla="*/ 340002 h 698035"/>
              <a:gd name="connsiteX28" fmla="*/ 1223493 w 1311069"/>
              <a:gd name="connsiteY28" fmla="*/ 337427 h 698035"/>
              <a:gd name="connsiteX29" fmla="*/ 1197735 w 1311069"/>
              <a:gd name="connsiteY29" fmla="*/ 352881 h 698035"/>
              <a:gd name="connsiteX30" fmla="*/ 1184856 w 1311069"/>
              <a:gd name="connsiteY30" fmla="*/ 370912 h 698035"/>
              <a:gd name="connsiteX31" fmla="*/ 1159098 w 1311069"/>
              <a:gd name="connsiteY31" fmla="*/ 378639 h 698035"/>
              <a:gd name="connsiteX32" fmla="*/ 1138492 w 1311069"/>
              <a:gd name="connsiteY32" fmla="*/ 370912 h 698035"/>
              <a:gd name="connsiteX33" fmla="*/ 1133341 w 1311069"/>
              <a:gd name="connsiteY33" fmla="*/ 358033 h 698035"/>
              <a:gd name="connsiteX34" fmla="*/ 1146219 w 1311069"/>
              <a:gd name="connsiteY34" fmla="*/ 350305 h 698035"/>
              <a:gd name="connsiteX35" fmla="*/ 1164250 w 1311069"/>
              <a:gd name="connsiteY35" fmla="*/ 352881 h 698035"/>
              <a:gd name="connsiteX36" fmla="*/ 1177129 w 1311069"/>
              <a:gd name="connsiteY36" fmla="*/ 352881 h 698035"/>
              <a:gd name="connsiteX37" fmla="*/ 1184856 w 1311069"/>
              <a:gd name="connsiteY37" fmla="*/ 332275 h 698035"/>
              <a:gd name="connsiteX38" fmla="*/ 1187432 w 1311069"/>
              <a:gd name="connsiteY38" fmla="*/ 306517 h 698035"/>
              <a:gd name="connsiteX39" fmla="*/ 1169401 w 1311069"/>
              <a:gd name="connsiteY39" fmla="*/ 303941 h 698035"/>
              <a:gd name="connsiteX40" fmla="*/ 1138492 w 1311069"/>
              <a:gd name="connsiteY40" fmla="*/ 301366 h 698035"/>
              <a:gd name="connsiteX41" fmla="*/ 1123037 w 1311069"/>
              <a:gd name="connsiteY41" fmla="*/ 293638 h 698035"/>
              <a:gd name="connsiteX42" fmla="*/ 1135916 w 1311069"/>
              <a:gd name="connsiteY42" fmla="*/ 273032 h 698035"/>
              <a:gd name="connsiteX43" fmla="*/ 1156523 w 1311069"/>
              <a:gd name="connsiteY43" fmla="*/ 273032 h 698035"/>
              <a:gd name="connsiteX44" fmla="*/ 1171977 w 1311069"/>
              <a:gd name="connsiteY44" fmla="*/ 260153 h 698035"/>
              <a:gd name="connsiteX45" fmla="*/ 1195159 w 1311069"/>
              <a:gd name="connsiteY45" fmla="*/ 244699 h 698035"/>
              <a:gd name="connsiteX46" fmla="*/ 1220917 w 1311069"/>
              <a:gd name="connsiteY46" fmla="*/ 262729 h 698035"/>
              <a:gd name="connsiteX47" fmla="*/ 1251826 w 1311069"/>
              <a:gd name="connsiteY47" fmla="*/ 252426 h 698035"/>
              <a:gd name="connsiteX48" fmla="*/ 1269857 w 1311069"/>
              <a:gd name="connsiteY48" fmla="*/ 226668 h 698035"/>
              <a:gd name="connsiteX49" fmla="*/ 1293039 w 1311069"/>
              <a:gd name="connsiteY49" fmla="*/ 190607 h 698035"/>
              <a:gd name="connsiteX50" fmla="*/ 1280160 w 1311069"/>
              <a:gd name="connsiteY50" fmla="*/ 136516 h 698035"/>
              <a:gd name="connsiteX51" fmla="*/ 1256978 w 1311069"/>
              <a:gd name="connsiteY51" fmla="*/ 123637 h 698035"/>
              <a:gd name="connsiteX52" fmla="*/ 1246675 w 1311069"/>
              <a:gd name="connsiteY52" fmla="*/ 149395 h 698035"/>
              <a:gd name="connsiteX53" fmla="*/ 1241523 w 1311069"/>
              <a:gd name="connsiteY53" fmla="*/ 167425 h 698035"/>
              <a:gd name="connsiteX54" fmla="*/ 1200311 w 1311069"/>
              <a:gd name="connsiteY54" fmla="*/ 154547 h 698035"/>
              <a:gd name="connsiteX55" fmla="*/ 1161674 w 1311069"/>
              <a:gd name="connsiteY55" fmla="*/ 162274 h 698035"/>
              <a:gd name="connsiteX56" fmla="*/ 1138492 w 1311069"/>
              <a:gd name="connsiteY56" fmla="*/ 177729 h 698035"/>
              <a:gd name="connsiteX57" fmla="*/ 1128189 w 1311069"/>
              <a:gd name="connsiteY57" fmla="*/ 151971 h 698035"/>
              <a:gd name="connsiteX58" fmla="*/ 1110159 w 1311069"/>
              <a:gd name="connsiteY58" fmla="*/ 123637 h 698035"/>
              <a:gd name="connsiteX59" fmla="*/ 1130765 w 1311069"/>
              <a:gd name="connsiteY59" fmla="*/ 110758 h 698035"/>
              <a:gd name="connsiteX60" fmla="*/ 1159098 w 1311069"/>
              <a:gd name="connsiteY60" fmla="*/ 131365 h 698035"/>
              <a:gd name="connsiteX61" fmla="*/ 1179704 w 1311069"/>
              <a:gd name="connsiteY61" fmla="*/ 121061 h 698035"/>
              <a:gd name="connsiteX62" fmla="*/ 1195159 w 1311069"/>
              <a:gd name="connsiteY62" fmla="*/ 118486 h 698035"/>
              <a:gd name="connsiteX63" fmla="*/ 1220917 w 1311069"/>
              <a:gd name="connsiteY63" fmla="*/ 95304 h 698035"/>
              <a:gd name="connsiteX64" fmla="*/ 1233796 w 1311069"/>
              <a:gd name="connsiteY64" fmla="*/ 95304 h 698035"/>
              <a:gd name="connsiteX65" fmla="*/ 1231220 w 1311069"/>
              <a:gd name="connsiteY65" fmla="*/ 74698 h 698035"/>
              <a:gd name="connsiteX66" fmla="*/ 1215765 w 1311069"/>
              <a:gd name="connsiteY66" fmla="*/ 28334 h 698035"/>
              <a:gd name="connsiteX67" fmla="*/ 1223493 w 1311069"/>
              <a:gd name="connsiteY67" fmla="*/ 25758 h 698035"/>
              <a:gd name="connsiteX68" fmla="*/ 1303342 w 1311069"/>
              <a:gd name="connsiteY68" fmla="*/ 121061 h 698035"/>
              <a:gd name="connsiteX69" fmla="*/ 1311069 w 1311069"/>
              <a:gd name="connsiteY69" fmla="*/ 115910 h 698035"/>
              <a:gd name="connsiteX70" fmla="*/ 1210614 w 1311069"/>
              <a:gd name="connsiteY70" fmla="*/ 0 h 698035"/>
              <a:gd name="connsiteX71" fmla="*/ 1151761 w 1311069"/>
              <a:gd name="connsiteY71" fmla="*/ 26346 h 698035"/>
              <a:gd name="connsiteX72" fmla="*/ 360608 w 1311069"/>
              <a:gd name="connsiteY72" fmla="*/ 279360 h 698035"/>
              <a:gd name="connsiteX0" fmla="*/ 360608 w 1311069"/>
              <a:gd name="connsiteY0" fmla="*/ 279360 h 698035"/>
              <a:gd name="connsiteX1" fmla="*/ 360608 w 1311069"/>
              <a:gd name="connsiteY1" fmla="*/ 355457 h 698035"/>
              <a:gd name="connsiteX2" fmla="*/ 324547 w 1311069"/>
              <a:gd name="connsiteY2" fmla="*/ 381215 h 698035"/>
              <a:gd name="connsiteX3" fmla="*/ 285911 w 1311069"/>
              <a:gd name="connsiteY3" fmla="*/ 381215 h 698035"/>
              <a:gd name="connsiteX4" fmla="*/ 257577 w 1311069"/>
              <a:gd name="connsiteY4" fmla="*/ 435306 h 698035"/>
              <a:gd name="connsiteX5" fmla="*/ 198334 w 1311069"/>
              <a:gd name="connsiteY5" fmla="*/ 435306 h 698035"/>
              <a:gd name="connsiteX6" fmla="*/ 182880 w 1311069"/>
              <a:gd name="connsiteY6" fmla="*/ 489397 h 698035"/>
              <a:gd name="connsiteX7" fmla="*/ 154546 w 1311069"/>
              <a:gd name="connsiteY7" fmla="*/ 515155 h 698035"/>
              <a:gd name="connsiteX8" fmla="*/ 103031 w 1311069"/>
              <a:gd name="connsiteY8" fmla="*/ 543489 h 698035"/>
              <a:gd name="connsiteX9" fmla="*/ 43788 w 1311069"/>
              <a:gd name="connsiteY9" fmla="*/ 592428 h 698035"/>
              <a:gd name="connsiteX10" fmla="*/ 30909 w 1311069"/>
              <a:gd name="connsiteY10" fmla="*/ 638792 h 698035"/>
              <a:gd name="connsiteX11" fmla="*/ 0 w 1311069"/>
              <a:gd name="connsiteY11" fmla="*/ 664550 h 698035"/>
              <a:gd name="connsiteX12" fmla="*/ 15454 w 1311069"/>
              <a:gd name="connsiteY12" fmla="*/ 698035 h 698035"/>
              <a:gd name="connsiteX13" fmla="*/ 185455 w 1311069"/>
              <a:gd name="connsiteY13" fmla="*/ 664550 h 698035"/>
              <a:gd name="connsiteX14" fmla="*/ 370911 w 1311069"/>
              <a:gd name="connsiteY14" fmla="*/ 569246 h 698035"/>
              <a:gd name="connsiteX15" fmla="*/ 504852 w 1311069"/>
              <a:gd name="connsiteY15" fmla="*/ 558943 h 698035"/>
              <a:gd name="connsiteX16" fmla="*/ 589852 w 1311069"/>
              <a:gd name="connsiteY16" fmla="*/ 600156 h 698035"/>
              <a:gd name="connsiteX17" fmla="*/ 749550 w 1311069"/>
              <a:gd name="connsiteY17" fmla="*/ 546064 h 698035"/>
              <a:gd name="connsiteX18" fmla="*/ 945309 w 1311069"/>
              <a:gd name="connsiteY18" fmla="*/ 677429 h 698035"/>
              <a:gd name="connsiteX19" fmla="*/ 976218 w 1311069"/>
              <a:gd name="connsiteY19" fmla="*/ 651671 h 698035"/>
              <a:gd name="connsiteX20" fmla="*/ 1009703 w 1311069"/>
              <a:gd name="connsiteY20" fmla="*/ 631065 h 698035"/>
              <a:gd name="connsiteX21" fmla="*/ 1050916 w 1311069"/>
              <a:gd name="connsiteY21" fmla="*/ 582125 h 698035"/>
              <a:gd name="connsiteX22" fmla="*/ 1071522 w 1311069"/>
              <a:gd name="connsiteY22" fmla="*/ 530610 h 698035"/>
              <a:gd name="connsiteX23" fmla="*/ 1115310 w 1311069"/>
              <a:gd name="connsiteY23" fmla="*/ 463640 h 698035"/>
              <a:gd name="connsiteX24" fmla="*/ 1151371 w 1311069"/>
              <a:gd name="connsiteY24" fmla="*/ 422427 h 698035"/>
              <a:gd name="connsiteX25" fmla="*/ 1190008 w 1311069"/>
              <a:gd name="connsiteY25" fmla="*/ 412124 h 698035"/>
              <a:gd name="connsiteX26" fmla="*/ 1231220 w 1311069"/>
              <a:gd name="connsiteY26" fmla="*/ 381215 h 698035"/>
              <a:gd name="connsiteX27" fmla="*/ 1238947 w 1311069"/>
              <a:gd name="connsiteY27" fmla="*/ 340002 h 698035"/>
              <a:gd name="connsiteX28" fmla="*/ 1223493 w 1311069"/>
              <a:gd name="connsiteY28" fmla="*/ 337427 h 698035"/>
              <a:gd name="connsiteX29" fmla="*/ 1197735 w 1311069"/>
              <a:gd name="connsiteY29" fmla="*/ 352881 h 698035"/>
              <a:gd name="connsiteX30" fmla="*/ 1184856 w 1311069"/>
              <a:gd name="connsiteY30" fmla="*/ 370912 h 698035"/>
              <a:gd name="connsiteX31" fmla="*/ 1159098 w 1311069"/>
              <a:gd name="connsiteY31" fmla="*/ 378639 h 698035"/>
              <a:gd name="connsiteX32" fmla="*/ 1138492 w 1311069"/>
              <a:gd name="connsiteY32" fmla="*/ 370912 h 698035"/>
              <a:gd name="connsiteX33" fmla="*/ 1133341 w 1311069"/>
              <a:gd name="connsiteY33" fmla="*/ 358033 h 698035"/>
              <a:gd name="connsiteX34" fmla="*/ 1146219 w 1311069"/>
              <a:gd name="connsiteY34" fmla="*/ 350305 h 698035"/>
              <a:gd name="connsiteX35" fmla="*/ 1164250 w 1311069"/>
              <a:gd name="connsiteY35" fmla="*/ 352881 h 698035"/>
              <a:gd name="connsiteX36" fmla="*/ 1177129 w 1311069"/>
              <a:gd name="connsiteY36" fmla="*/ 352881 h 698035"/>
              <a:gd name="connsiteX37" fmla="*/ 1184856 w 1311069"/>
              <a:gd name="connsiteY37" fmla="*/ 332275 h 698035"/>
              <a:gd name="connsiteX38" fmla="*/ 1187432 w 1311069"/>
              <a:gd name="connsiteY38" fmla="*/ 306517 h 698035"/>
              <a:gd name="connsiteX39" fmla="*/ 1169401 w 1311069"/>
              <a:gd name="connsiteY39" fmla="*/ 303941 h 698035"/>
              <a:gd name="connsiteX40" fmla="*/ 1138492 w 1311069"/>
              <a:gd name="connsiteY40" fmla="*/ 301366 h 698035"/>
              <a:gd name="connsiteX41" fmla="*/ 1123037 w 1311069"/>
              <a:gd name="connsiteY41" fmla="*/ 293638 h 698035"/>
              <a:gd name="connsiteX42" fmla="*/ 1135916 w 1311069"/>
              <a:gd name="connsiteY42" fmla="*/ 273032 h 698035"/>
              <a:gd name="connsiteX43" fmla="*/ 1156523 w 1311069"/>
              <a:gd name="connsiteY43" fmla="*/ 273032 h 698035"/>
              <a:gd name="connsiteX44" fmla="*/ 1171977 w 1311069"/>
              <a:gd name="connsiteY44" fmla="*/ 260153 h 698035"/>
              <a:gd name="connsiteX45" fmla="*/ 1195159 w 1311069"/>
              <a:gd name="connsiteY45" fmla="*/ 244699 h 698035"/>
              <a:gd name="connsiteX46" fmla="*/ 1220917 w 1311069"/>
              <a:gd name="connsiteY46" fmla="*/ 262729 h 698035"/>
              <a:gd name="connsiteX47" fmla="*/ 1251826 w 1311069"/>
              <a:gd name="connsiteY47" fmla="*/ 252426 h 698035"/>
              <a:gd name="connsiteX48" fmla="*/ 1269857 w 1311069"/>
              <a:gd name="connsiteY48" fmla="*/ 226668 h 698035"/>
              <a:gd name="connsiteX49" fmla="*/ 1293039 w 1311069"/>
              <a:gd name="connsiteY49" fmla="*/ 190607 h 698035"/>
              <a:gd name="connsiteX50" fmla="*/ 1280160 w 1311069"/>
              <a:gd name="connsiteY50" fmla="*/ 136516 h 698035"/>
              <a:gd name="connsiteX51" fmla="*/ 1256978 w 1311069"/>
              <a:gd name="connsiteY51" fmla="*/ 123637 h 698035"/>
              <a:gd name="connsiteX52" fmla="*/ 1246675 w 1311069"/>
              <a:gd name="connsiteY52" fmla="*/ 149395 h 698035"/>
              <a:gd name="connsiteX53" fmla="*/ 1241523 w 1311069"/>
              <a:gd name="connsiteY53" fmla="*/ 167425 h 698035"/>
              <a:gd name="connsiteX54" fmla="*/ 1200311 w 1311069"/>
              <a:gd name="connsiteY54" fmla="*/ 154547 h 698035"/>
              <a:gd name="connsiteX55" fmla="*/ 1161674 w 1311069"/>
              <a:gd name="connsiteY55" fmla="*/ 162274 h 698035"/>
              <a:gd name="connsiteX56" fmla="*/ 1138492 w 1311069"/>
              <a:gd name="connsiteY56" fmla="*/ 177729 h 698035"/>
              <a:gd name="connsiteX57" fmla="*/ 1128189 w 1311069"/>
              <a:gd name="connsiteY57" fmla="*/ 151971 h 698035"/>
              <a:gd name="connsiteX58" fmla="*/ 1110159 w 1311069"/>
              <a:gd name="connsiteY58" fmla="*/ 123637 h 698035"/>
              <a:gd name="connsiteX59" fmla="*/ 1130765 w 1311069"/>
              <a:gd name="connsiteY59" fmla="*/ 110758 h 698035"/>
              <a:gd name="connsiteX60" fmla="*/ 1159098 w 1311069"/>
              <a:gd name="connsiteY60" fmla="*/ 131365 h 698035"/>
              <a:gd name="connsiteX61" fmla="*/ 1179704 w 1311069"/>
              <a:gd name="connsiteY61" fmla="*/ 121061 h 698035"/>
              <a:gd name="connsiteX62" fmla="*/ 1195159 w 1311069"/>
              <a:gd name="connsiteY62" fmla="*/ 118486 h 698035"/>
              <a:gd name="connsiteX63" fmla="*/ 1220917 w 1311069"/>
              <a:gd name="connsiteY63" fmla="*/ 95304 h 698035"/>
              <a:gd name="connsiteX64" fmla="*/ 1233796 w 1311069"/>
              <a:gd name="connsiteY64" fmla="*/ 95304 h 698035"/>
              <a:gd name="connsiteX65" fmla="*/ 1231220 w 1311069"/>
              <a:gd name="connsiteY65" fmla="*/ 74698 h 698035"/>
              <a:gd name="connsiteX66" fmla="*/ 1215765 w 1311069"/>
              <a:gd name="connsiteY66" fmla="*/ 28334 h 698035"/>
              <a:gd name="connsiteX67" fmla="*/ 1223493 w 1311069"/>
              <a:gd name="connsiteY67" fmla="*/ 25758 h 698035"/>
              <a:gd name="connsiteX68" fmla="*/ 1303342 w 1311069"/>
              <a:gd name="connsiteY68" fmla="*/ 121061 h 698035"/>
              <a:gd name="connsiteX69" fmla="*/ 1311069 w 1311069"/>
              <a:gd name="connsiteY69" fmla="*/ 115910 h 698035"/>
              <a:gd name="connsiteX70" fmla="*/ 1210614 w 1311069"/>
              <a:gd name="connsiteY70" fmla="*/ 0 h 698035"/>
              <a:gd name="connsiteX71" fmla="*/ 935101 w 1311069"/>
              <a:gd name="connsiteY71" fmla="*/ 88218 h 698035"/>
              <a:gd name="connsiteX72" fmla="*/ 360608 w 1311069"/>
              <a:gd name="connsiteY72" fmla="*/ 279360 h 698035"/>
              <a:gd name="connsiteX0" fmla="*/ 372512 w 1322973"/>
              <a:gd name="connsiteY0" fmla="*/ 279360 h 698035"/>
              <a:gd name="connsiteX1" fmla="*/ 372512 w 1322973"/>
              <a:gd name="connsiteY1" fmla="*/ 355457 h 698035"/>
              <a:gd name="connsiteX2" fmla="*/ 336451 w 1322973"/>
              <a:gd name="connsiteY2" fmla="*/ 381215 h 698035"/>
              <a:gd name="connsiteX3" fmla="*/ 297815 w 1322973"/>
              <a:gd name="connsiteY3" fmla="*/ 381215 h 698035"/>
              <a:gd name="connsiteX4" fmla="*/ 269481 w 1322973"/>
              <a:gd name="connsiteY4" fmla="*/ 435306 h 698035"/>
              <a:gd name="connsiteX5" fmla="*/ 210238 w 1322973"/>
              <a:gd name="connsiteY5" fmla="*/ 435306 h 698035"/>
              <a:gd name="connsiteX6" fmla="*/ 194784 w 1322973"/>
              <a:gd name="connsiteY6" fmla="*/ 489397 h 698035"/>
              <a:gd name="connsiteX7" fmla="*/ 166450 w 1322973"/>
              <a:gd name="connsiteY7" fmla="*/ 515155 h 698035"/>
              <a:gd name="connsiteX8" fmla="*/ 114935 w 1322973"/>
              <a:gd name="connsiteY8" fmla="*/ 543489 h 698035"/>
              <a:gd name="connsiteX9" fmla="*/ 55692 w 1322973"/>
              <a:gd name="connsiteY9" fmla="*/ 592428 h 698035"/>
              <a:gd name="connsiteX10" fmla="*/ 42813 w 1322973"/>
              <a:gd name="connsiteY10" fmla="*/ 638792 h 698035"/>
              <a:gd name="connsiteX11" fmla="*/ 0 w 1322973"/>
              <a:gd name="connsiteY11" fmla="*/ 664550 h 698035"/>
              <a:gd name="connsiteX12" fmla="*/ 27358 w 1322973"/>
              <a:gd name="connsiteY12" fmla="*/ 698035 h 698035"/>
              <a:gd name="connsiteX13" fmla="*/ 197359 w 1322973"/>
              <a:gd name="connsiteY13" fmla="*/ 664550 h 698035"/>
              <a:gd name="connsiteX14" fmla="*/ 382815 w 1322973"/>
              <a:gd name="connsiteY14" fmla="*/ 569246 h 698035"/>
              <a:gd name="connsiteX15" fmla="*/ 516756 w 1322973"/>
              <a:gd name="connsiteY15" fmla="*/ 558943 h 698035"/>
              <a:gd name="connsiteX16" fmla="*/ 601756 w 1322973"/>
              <a:gd name="connsiteY16" fmla="*/ 600156 h 698035"/>
              <a:gd name="connsiteX17" fmla="*/ 761454 w 1322973"/>
              <a:gd name="connsiteY17" fmla="*/ 546064 h 698035"/>
              <a:gd name="connsiteX18" fmla="*/ 957213 w 1322973"/>
              <a:gd name="connsiteY18" fmla="*/ 677429 h 698035"/>
              <a:gd name="connsiteX19" fmla="*/ 988122 w 1322973"/>
              <a:gd name="connsiteY19" fmla="*/ 651671 h 698035"/>
              <a:gd name="connsiteX20" fmla="*/ 1021607 w 1322973"/>
              <a:gd name="connsiteY20" fmla="*/ 631065 h 698035"/>
              <a:gd name="connsiteX21" fmla="*/ 1062820 w 1322973"/>
              <a:gd name="connsiteY21" fmla="*/ 582125 h 698035"/>
              <a:gd name="connsiteX22" fmla="*/ 1083426 w 1322973"/>
              <a:gd name="connsiteY22" fmla="*/ 530610 h 698035"/>
              <a:gd name="connsiteX23" fmla="*/ 1127214 w 1322973"/>
              <a:gd name="connsiteY23" fmla="*/ 463640 h 698035"/>
              <a:gd name="connsiteX24" fmla="*/ 1163275 w 1322973"/>
              <a:gd name="connsiteY24" fmla="*/ 422427 h 698035"/>
              <a:gd name="connsiteX25" fmla="*/ 1201912 w 1322973"/>
              <a:gd name="connsiteY25" fmla="*/ 412124 h 698035"/>
              <a:gd name="connsiteX26" fmla="*/ 1243124 w 1322973"/>
              <a:gd name="connsiteY26" fmla="*/ 381215 h 698035"/>
              <a:gd name="connsiteX27" fmla="*/ 1250851 w 1322973"/>
              <a:gd name="connsiteY27" fmla="*/ 340002 h 698035"/>
              <a:gd name="connsiteX28" fmla="*/ 1235397 w 1322973"/>
              <a:gd name="connsiteY28" fmla="*/ 337427 h 698035"/>
              <a:gd name="connsiteX29" fmla="*/ 1209639 w 1322973"/>
              <a:gd name="connsiteY29" fmla="*/ 352881 h 698035"/>
              <a:gd name="connsiteX30" fmla="*/ 1196760 w 1322973"/>
              <a:gd name="connsiteY30" fmla="*/ 370912 h 698035"/>
              <a:gd name="connsiteX31" fmla="*/ 1171002 w 1322973"/>
              <a:gd name="connsiteY31" fmla="*/ 378639 h 698035"/>
              <a:gd name="connsiteX32" fmla="*/ 1150396 w 1322973"/>
              <a:gd name="connsiteY32" fmla="*/ 370912 h 698035"/>
              <a:gd name="connsiteX33" fmla="*/ 1145245 w 1322973"/>
              <a:gd name="connsiteY33" fmla="*/ 358033 h 698035"/>
              <a:gd name="connsiteX34" fmla="*/ 1158123 w 1322973"/>
              <a:gd name="connsiteY34" fmla="*/ 350305 h 698035"/>
              <a:gd name="connsiteX35" fmla="*/ 1176154 w 1322973"/>
              <a:gd name="connsiteY35" fmla="*/ 352881 h 698035"/>
              <a:gd name="connsiteX36" fmla="*/ 1189033 w 1322973"/>
              <a:gd name="connsiteY36" fmla="*/ 352881 h 698035"/>
              <a:gd name="connsiteX37" fmla="*/ 1196760 w 1322973"/>
              <a:gd name="connsiteY37" fmla="*/ 332275 h 698035"/>
              <a:gd name="connsiteX38" fmla="*/ 1199336 w 1322973"/>
              <a:gd name="connsiteY38" fmla="*/ 306517 h 698035"/>
              <a:gd name="connsiteX39" fmla="*/ 1181305 w 1322973"/>
              <a:gd name="connsiteY39" fmla="*/ 303941 h 698035"/>
              <a:gd name="connsiteX40" fmla="*/ 1150396 w 1322973"/>
              <a:gd name="connsiteY40" fmla="*/ 301366 h 698035"/>
              <a:gd name="connsiteX41" fmla="*/ 1134941 w 1322973"/>
              <a:gd name="connsiteY41" fmla="*/ 293638 h 698035"/>
              <a:gd name="connsiteX42" fmla="*/ 1147820 w 1322973"/>
              <a:gd name="connsiteY42" fmla="*/ 273032 h 698035"/>
              <a:gd name="connsiteX43" fmla="*/ 1168427 w 1322973"/>
              <a:gd name="connsiteY43" fmla="*/ 273032 h 698035"/>
              <a:gd name="connsiteX44" fmla="*/ 1183881 w 1322973"/>
              <a:gd name="connsiteY44" fmla="*/ 260153 h 698035"/>
              <a:gd name="connsiteX45" fmla="*/ 1207063 w 1322973"/>
              <a:gd name="connsiteY45" fmla="*/ 244699 h 698035"/>
              <a:gd name="connsiteX46" fmla="*/ 1232821 w 1322973"/>
              <a:gd name="connsiteY46" fmla="*/ 262729 h 698035"/>
              <a:gd name="connsiteX47" fmla="*/ 1263730 w 1322973"/>
              <a:gd name="connsiteY47" fmla="*/ 252426 h 698035"/>
              <a:gd name="connsiteX48" fmla="*/ 1281761 w 1322973"/>
              <a:gd name="connsiteY48" fmla="*/ 226668 h 698035"/>
              <a:gd name="connsiteX49" fmla="*/ 1304943 w 1322973"/>
              <a:gd name="connsiteY49" fmla="*/ 190607 h 698035"/>
              <a:gd name="connsiteX50" fmla="*/ 1292064 w 1322973"/>
              <a:gd name="connsiteY50" fmla="*/ 136516 h 698035"/>
              <a:gd name="connsiteX51" fmla="*/ 1268882 w 1322973"/>
              <a:gd name="connsiteY51" fmla="*/ 123637 h 698035"/>
              <a:gd name="connsiteX52" fmla="*/ 1258579 w 1322973"/>
              <a:gd name="connsiteY52" fmla="*/ 149395 h 698035"/>
              <a:gd name="connsiteX53" fmla="*/ 1253427 w 1322973"/>
              <a:gd name="connsiteY53" fmla="*/ 167425 h 698035"/>
              <a:gd name="connsiteX54" fmla="*/ 1212215 w 1322973"/>
              <a:gd name="connsiteY54" fmla="*/ 154547 h 698035"/>
              <a:gd name="connsiteX55" fmla="*/ 1173578 w 1322973"/>
              <a:gd name="connsiteY55" fmla="*/ 162274 h 698035"/>
              <a:gd name="connsiteX56" fmla="*/ 1150396 w 1322973"/>
              <a:gd name="connsiteY56" fmla="*/ 177729 h 698035"/>
              <a:gd name="connsiteX57" fmla="*/ 1140093 w 1322973"/>
              <a:gd name="connsiteY57" fmla="*/ 151971 h 698035"/>
              <a:gd name="connsiteX58" fmla="*/ 1122063 w 1322973"/>
              <a:gd name="connsiteY58" fmla="*/ 123637 h 698035"/>
              <a:gd name="connsiteX59" fmla="*/ 1142669 w 1322973"/>
              <a:gd name="connsiteY59" fmla="*/ 110758 h 698035"/>
              <a:gd name="connsiteX60" fmla="*/ 1171002 w 1322973"/>
              <a:gd name="connsiteY60" fmla="*/ 131365 h 698035"/>
              <a:gd name="connsiteX61" fmla="*/ 1191608 w 1322973"/>
              <a:gd name="connsiteY61" fmla="*/ 121061 h 698035"/>
              <a:gd name="connsiteX62" fmla="*/ 1207063 w 1322973"/>
              <a:gd name="connsiteY62" fmla="*/ 118486 h 698035"/>
              <a:gd name="connsiteX63" fmla="*/ 1232821 w 1322973"/>
              <a:gd name="connsiteY63" fmla="*/ 95304 h 698035"/>
              <a:gd name="connsiteX64" fmla="*/ 1245700 w 1322973"/>
              <a:gd name="connsiteY64" fmla="*/ 95304 h 698035"/>
              <a:gd name="connsiteX65" fmla="*/ 1243124 w 1322973"/>
              <a:gd name="connsiteY65" fmla="*/ 74698 h 698035"/>
              <a:gd name="connsiteX66" fmla="*/ 1227669 w 1322973"/>
              <a:gd name="connsiteY66" fmla="*/ 28334 h 698035"/>
              <a:gd name="connsiteX67" fmla="*/ 1235397 w 1322973"/>
              <a:gd name="connsiteY67" fmla="*/ 25758 h 698035"/>
              <a:gd name="connsiteX68" fmla="*/ 1315246 w 1322973"/>
              <a:gd name="connsiteY68" fmla="*/ 121061 h 698035"/>
              <a:gd name="connsiteX69" fmla="*/ 1322973 w 1322973"/>
              <a:gd name="connsiteY69" fmla="*/ 115910 h 698035"/>
              <a:gd name="connsiteX70" fmla="*/ 1222518 w 1322973"/>
              <a:gd name="connsiteY70" fmla="*/ 0 h 698035"/>
              <a:gd name="connsiteX71" fmla="*/ 947005 w 1322973"/>
              <a:gd name="connsiteY71" fmla="*/ 88218 h 698035"/>
              <a:gd name="connsiteX72" fmla="*/ 372512 w 1322973"/>
              <a:gd name="connsiteY72" fmla="*/ 279360 h 698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1322973" h="698035">
                <a:moveTo>
                  <a:pt x="372512" y="279360"/>
                </a:moveTo>
                <a:lnTo>
                  <a:pt x="372512" y="355457"/>
                </a:lnTo>
                <a:lnTo>
                  <a:pt x="336451" y="381215"/>
                </a:lnTo>
                <a:lnTo>
                  <a:pt x="297815" y="381215"/>
                </a:lnTo>
                <a:lnTo>
                  <a:pt x="269481" y="435306"/>
                </a:lnTo>
                <a:lnTo>
                  <a:pt x="210238" y="435306"/>
                </a:lnTo>
                <a:lnTo>
                  <a:pt x="194784" y="489397"/>
                </a:lnTo>
                <a:lnTo>
                  <a:pt x="166450" y="515155"/>
                </a:lnTo>
                <a:lnTo>
                  <a:pt x="114935" y="543489"/>
                </a:lnTo>
                <a:lnTo>
                  <a:pt x="55692" y="592428"/>
                </a:lnTo>
                <a:lnTo>
                  <a:pt x="42813" y="638792"/>
                </a:lnTo>
                <a:lnTo>
                  <a:pt x="0" y="664550"/>
                </a:lnTo>
                <a:lnTo>
                  <a:pt x="27358" y="698035"/>
                </a:lnTo>
                <a:lnTo>
                  <a:pt x="197359" y="664550"/>
                </a:lnTo>
                <a:lnTo>
                  <a:pt x="382815" y="569246"/>
                </a:lnTo>
                <a:lnTo>
                  <a:pt x="516756" y="558943"/>
                </a:lnTo>
                <a:lnTo>
                  <a:pt x="601756" y="600156"/>
                </a:lnTo>
                <a:lnTo>
                  <a:pt x="761454" y="546064"/>
                </a:lnTo>
                <a:lnTo>
                  <a:pt x="957213" y="677429"/>
                </a:lnTo>
                <a:lnTo>
                  <a:pt x="988122" y="651671"/>
                </a:lnTo>
                <a:lnTo>
                  <a:pt x="1021607" y="631065"/>
                </a:lnTo>
                <a:lnTo>
                  <a:pt x="1062820" y="582125"/>
                </a:lnTo>
                <a:lnTo>
                  <a:pt x="1083426" y="530610"/>
                </a:lnTo>
                <a:lnTo>
                  <a:pt x="1127214" y="463640"/>
                </a:lnTo>
                <a:lnTo>
                  <a:pt x="1163275" y="422427"/>
                </a:lnTo>
                <a:lnTo>
                  <a:pt x="1201912" y="412124"/>
                </a:lnTo>
                <a:lnTo>
                  <a:pt x="1243124" y="381215"/>
                </a:lnTo>
                <a:lnTo>
                  <a:pt x="1250851" y="340002"/>
                </a:lnTo>
                <a:lnTo>
                  <a:pt x="1235397" y="337427"/>
                </a:lnTo>
                <a:lnTo>
                  <a:pt x="1209639" y="352881"/>
                </a:lnTo>
                <a:lnTo>
                  <a:pt x="1196760" y="370912"/>
                </a:lnTo>
                <a:lnTo>
                  <a:pt x="1171002" y="378639"/>
                </a:lnTo>
                <a:lnTo>
                  <a:pt x="1150396" y="370912"/>
                </a:lnTo>
                <a:lnTo>
                  <a:pt x="1145245" y="358033"/>
                </a:lnTo>
                <a:lnTo>
                  <a:pt x="1158123" y="350305"/>
                </a:lnTo>
                <a:lnTo>
                  <a:pt x="1176154" y="352881"/>
                </a:lnTo>
                <a:lnTo>
                  <a:pt x="1189033" y="352881"/>
                </a:lnTo>
                <a:lnTo>
                  <a:pt x="1196760" y="332275"/>
                </a:lnTo>
                <a:lnTo>
                  <a:pt x="1199336" y="306517"/>
                </a:lnTo>
                <a:lnTo>
                  <a:pt x="1181305" y="303941"/>
                </a:lnTo>
                <a:lnTo>
                  <a:pt x="1150396" y="301366"/>
                </a:lnTo>
                <a:lnTo>
                  <a:pt x="1134941" y="293638"/>
                </a:lnTo>
                <a:lnTo>
                  <a:pt x="1147820" y="273032"/>
                </a:lnTo>
                <a:lnTo>
                  <a:pt x="1168427" y="273032"/>
                </a:lnTo>
                <a:lnTo>
                  <a:pt x="1183881" y="260153"/>
                </a:lnTo>
                <a:lnTo>
                  <a:pt x="1207063" y="244699"/>
                </a:lnTo>
                <a:lnTo>
                  <a:pt x="1232821" y="262729"/>
                </a:lnTo>
                <a:lnTo>
                  <a:pt x="1263730" y="252426"/>
                </a:lnTo>
                <a:lnTo>
                  <a:pt x="1281761" y="226668"/>
                </a:lnTo>
                <a:lnTo>
                  <a:pt x="1304943" y="190607"/>
                </a:lnTo>
                <a:lnTo>
                  <a:pt x="1292064" y="136516"/>
                </a:lnTo>
                <a:lnTo>
                  <a:pt x="1268882" y="123637"/>
                </a:lnTo>
                <a:lnTo>
                  <a:pt x="1258579" y="149395"/>
                </a:lnTo>
                <a:lnTo>
                  <a:pt x="1253427" y="167425"/>
                </a:lnTo>
                <a:lnTo>
                  <a:pt x="1212215" y="154547"/>
                </a:lnTo>
                <a:lnTo>
                  <a:pt x="1173578" y="162274"/>
                </a:lnTo>
                <a:lnTo>
                  <a:pt x="1150396" y="177729"/>
                </a:lnTo>
                <a:lnTo>
                  <a:pt x="1140093" y="151971"/>
                </a:lnTo>
                <a:lnTo>
                  <a:pt x="1122063" y="123637"/>
                </a:lnTo>
                <a:lnTo>
                  <a:pt x="1142669" y="110758"/>
                </a:lnTo>
                <a:lnTo>
                  <a:pt x="1171002" y="131365"/>
                </a:lnTo>
                <a:lnTo>
                  <a:pt x="1191608" y="121061"/>
                </a:lnTo>
                <a:lnTo>
                  <a:pt x="1207063" y="118486"/>
                </a:lnTo>
                <a:lnTo>
                  <a:pt x="1232821" y="95304"/>
                </a:lnTo>
                <a:lnTo>
                  <a:pt x="1245700" y="95304"/>
                </a:lnTo>
                <a:lnTo>
                  <a:pt x="1243124" y="74698"/>
                </a:lnTo>
                <a:lnTo>
                  <a:pt x="1227669" y="28334"/>
                </a:lnTo>
                <a:lnTo>
                  <a:pt x="1235397" y="25758"/>
                </a:lnTo>
                <a:lnTo>
                  <a:pt x="1315246" y="121061"/>
                </a:lnTo>
                <a:lnTo>
                  <a:pt x="1322973" y="115910"/>
                </a:lnTo>
                <a:lnTo>
                  <a:pt x="1222518" y="0"/>
                </a:lnTo>
                <a:lnTo>
                  <a:pt x="947005" y="88218"/>
                </a:lnTo>
                <a:lnTo>
                  <a:pt x="372512" y="27936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7" name="Freeform 36"/>
          <p:cNvSpPr/>
          <p:nvPr/>
        </p:nvSpPr>
        <p:spPr>
          <a:xfrm>
            <a:off x="7994754" y="1461358"/>
            <a:ext cx="532334" cy="829749"/>
          </a:xfrm>
          <a:custGeom>
            <a:avLst/>
            <a:gdLst>
              <a:gd name="connsiteX0" fmla="*/ 57620 w 541125"/>
              <a:gd name="connsiteY0" fmla="*/ 40084 h 856781"/>
              <a:gd name="connsiteX1" fmla="*/ 45094 w 541125"/>
              <a:gd name="connsiteY1" fmla="*/ 125261 h 856781"/>
              <a:gd name="connsiteX2" fmla="*/ 25053 w 541125"/>
              <a:gd name="connsiteY2" fmla="*/ 195406 h 856781"/>
              <a:gd name="connsiteX3" fmla="*/ 32568 w 541125"/>
              <a:gd name="connsiteY3" fmla="*/ 255531 h 856781"/>
              <a:gd name="connsiteX4" fmla="*/ 35073 w 541125"/>
              <a:gd name="connsiteY4" fmla="*/ 333193 h 856781"/>
              <a:gd name="connsiteX5" fmla="*/ 37579 w 541125"/>
              <a:gd name="connsiteY5" fmla="*/ 393318 h 856781"/>
              <a:gd name="connsiteX6" fmla="*/ 15032 w 541125"/>
              <a:gd name="connsiteY6" fmla="*/ 428391 h 856781"/>
              <a:gd name="connsiteX7" fmla="*/ 27558 w 541125"/>
              <a:gd name="connsiteY7" fmla="*/ 460958 h 856781"/>
              <a:gd name="connsiteX8" fmla="*/ 0 w 541125"/>
              <a:gd name="connsiteY8" fmla="*/ 506052 h 856781"/>
              <a:gd name="connsiteX9" fmla="*/ 135282 w 541125"/>
              <a:gd name="connsiteY9" fmla="*/ 809182 h 856781"/>
              <a:gd name="connsiteX10" fmla="*/ 160334 w 541125"/>
              <a:gd name="connsiteY10" fmla="*/ 844255 h 856781"/>
              <a:gd name="connsiteX11" fmla="*/ 182880 w 541125"/>
              <a:gd name="connsiteY11" fmla="*/ 856781 h 856781"/>
              <a:gd name="connsiteX12" fmla="*/ 202922 w 541125"/>
              <a:gd name="connsiteY12" fmla="*/ 794151 h 856781"/>
              <a:gd name="connsiteX13" fmla="*/ 207933 w 541125"/>
              <a:gd name="connsiteY13" fmla="*/ 761583 h 856781"/>
              <a:gd name="connsiteX14" fmla="*/ 237995 w 541125"/>
              <a:gd name="connsiteY14" fmla="*/ 721500 h 856781"/>
              <a:gd name="connsiteX15" fmla="*/ 225469 w 541125"/>
              <a:gd name="connsiteY15" fmla="*/ 701458 h 856781"/>
              <a:gd name="connsiteX16" fmla="*/ 258037 w 541125"/>
              <a:gd name="connsiteY16" fmla="*/ 673901 h 856781"/>
              <a:gd name="connsiteX17" fmla="*/ 288099 w 541125"/>
              <a:gd name="connsiteY17" fmla="*/ 666385 h 856781"/>
              <a:gd name="connsiteX18" fmla="*/ 293110 w 541125"/>
              <a:gd name="connsiteY18" fmla="*/ 628807 h 856781"/>
              <a:gd name="connsiteX19" fmla="*/ 323172 w 541125"/>
              <a:gd name="connsiteY19" fmla="*/ 606260 h 856781"/>
              <a:gd name="connsiteX20" fmla="*/ 338203 w 541125"/>
              <a:gd name="connsiteY20" fmla="*/ 563672 h 856781"/>
              <a:gd name="connsiteX21" fmla="*/ 328182 w 541125"/>
              <a:gd name="connsiteY21" fmla="*/ 513568 h 856781"/>
              <a:gd name="connsiteX22" fmla="*/ 343214 w 541125"/>
              <a:gd name="connsiteY22" fmla="*/ 498536 h 856781"/>
              <a:gd name="connsiteX23" fmla="*/ 365760 w 541125"/>
              <a:gd name="connsiteY23" fmla="*/ 528599 h 856781"/>
              <a:gd name="connsiteX24" fmla="*/ 385802 w 541125"/>
              <a:gd name="connsiteY24" fmla="*/ 543630 h 856781"/>
              <a:gd name="connsiteX25" fmla="*/ 388307 w 541125"/>
              <a:gd name="connsiteY25" fmla="*/ 493526 h 856781"/>
              <a:gd name="connsiteX26" fmla="*/ 420875 w 541125"/>
              <a:gd name="connsiteY26" fmla="*/ 468474 h 856781"/>
              <a:gd name="connsiteX27" fmla="*/ 430896 w 541125"/>
              <a:gd name="connsiteY27" fmla="*/ 465969 h 856781"/>
              <a:gd name="connsiteX28" fmla="*/ 523588 w 541125"/>
              <a:gd name="connsiteY28" fmla="*/ 368266 h 856781"/>
              <a:gd name="connsiteX29" fmla="*/ 526094 w 541125"/>
              <a:gd name="connsiteY29" fmla="*/ 348224 h 856781"/>
              <a:gd name="connsiteX30" fmla="*/ 541125 w 541125"/>
              <a:gd name="connsiteY30" fmla="*/ 330688 h 856781"/>
              <a:gd name="connsiteX31" fmla="*/ 493526 w 541125"/>
              <a:gd name="connsiteY31" fmla="*/ 285594 h 856781"/>
              <a:gd name="connsiteX32" fmla="*/ 460958 w 541125"/>
              <a:gd name="connsiteY32" fmla="*/ 278078 h 856781"/>
              <a:gd name="connsiteX33" fmla="*/ 443422 w 541125"/>
              <a:gd name="connsiteY33" fmla="*/ 275573 h 856781"/>
              <a:gd name="connsiteX34" fmla="*/ 420875 w 541125"/>
              <a:gd name="connsiteY34" fmla="*/ 265552 h 856781"/>
              <a:gd name="connsiteX35" fmla="*/ 405844 w 541125"/>
              <a:gd name="connsiteY35" fmla="*/ 237995 h 856781"/>
              <a:gd name="connsiteX36" fmla="*/ 393318 w 541125"/>
              <a:gd name="connsiteY36" fmla="*/ 230479 h 856781"/>
              <a:gd name="connsiteX37" fmla="*/ 365760 w 541125"/>
              <a:gd name="connsiteY37" fmla="*/ 237995 h 856781"/>
              <a:gd name="connsiteX38" fmla="*/ 353234 w 541125"/>
              <a:gd name="connsiteY38" fmla="*/ 222964 h 856781"/>
              <a:gd name="connsiteX39" fmla="*/ 315656 w 541125"/>
              <a:gd name="connsiteY39" fmla="*/ 117745 h 856781"/>
              <a:gd name="connsiteX40" fmla="*/ 293110 w 541125"/>
              <a:gd name="connsiteY40" fmla="*/ 87683 h 856781"/>
              <a:gd name="connsiteX41" fmla="*/ 268057 w 541125"/>
              <a:gd name="connsiteY41" fmla="*/ 35073 h 856781"/>
              <a:gd name="connsiteX42" fmla="*/ 248016 w 541125"/>
              <a:gd name="connsiteY42" fmla="*/ 2506 h 856781"/>
              <a:gd name="connsiteX43" fmla="*/ 195407 w 541125"/>
              <a:gd name="connsiteY43" fmla="*/ 0 h 856781"/>
              <a:gd name="connsiteX44" fmla="*/ 165344 w 541125"/>
              <a:gd name="connsiteY44" fmla="*/ 20042 h 856781"/>
              <a:gd name="connsiteX45" fmla="*/ 147808 w 541125"/>
              <a:gd name="connsiteY45" fmla="*/ 42589 h 856781"/>
              <a:gd name="connsiteX46" fmla="*/ 120250 w 541125"/>
              <a:gd name="connsiteY46" fmla="*/ 62631 h 856781"/>
              <a:gd name="connsiteX47" fmla="*/ 107724 w 541125"/>
              <a:gd name="connsiteY47" fmla="*/ 70146 h 856781"/>
              <a:gd name="connsiteX48" fmla="*/ 57620 w 541125"/>
              <a:gd name="connsiteY48" fmla="*/ 40084 h 856781"/>
              <a:gd name="connsiteX0" fmla="*/ 67141 w 550646"/>
              <a:gd name="connsiteY0" fmla="*/ 40084 h 856781"/>
              <a:gd name="connsiteX1" fmla="*/ 54615 w 550646"/>
              <a:gd name="connsiteY1" fmla="*/ 125261 h 856781"/>
              <a:gd name="connsiteX2" fmla="*/ 34574 w 550646"/>
              <a:gd name="connsiteY2" fmla="*/ 195406 h 856781"/>
              <a:gd name="connsiteX3" fmla="*/ 42089 w 550646"/>
              <a:gd name="connsiteY3" fmla="*/ 255531 h 856781"/>
              <a:gd name="connsiteX4" fmla="*/ 44594 w 550646"/>
              <a:gd name="connsiteY4" fmla="*/ 333193 h 856781"/>
              <a:gd name="connsiteX5" fmla="*/ 47100 w 550646"/>
              <a:gd name="connsiteY5" fmla="*/ 393318 h 856781"/>
              <a:gd name="connsiteX6" fmla="*/ 24553 w 550646"/>
              <a:gd name="connsiteY6" fmla="*/ 428391 h 856781"/>
              <a:gd name="connsiteX7" fmla="*/ 37079 w 550646"/>
              <a:gd name="connsiteY7" fmla="*/ 460958 h 856781"/>
              <a:gd name="connsiteX8" fmla="*/ 0 w 550646"/>
              <a:gd name="connsiteY8" fmla="*/ 510821 h 856781"/>
              <a:gd name="connsiteX9" fmla="*/ 144803 w 550646"/>
              <a:gd name="connsiteY9" fmla="*/ 809182 h 856781"/>
              <a:gd name="connsiteX10" fmla="*/ 169855 w 550646"/>
              <a:gd name="connsiteY10" fmla="*/ 844255 h 856781"/>
              <a:gd name="connsiteX11" fmla="*/ 192401 w 550646"/>
              <a:gd name="connsiteY11" fmla="*/ 856781 h 856781"/>
              <a:gd name="connsiteX12" fmla="*/ 212443 w 550646"/>
              <a:gd name="connsiteY12" fmla="*/ 794151 h 856781"/>
              <a:gd name="connsiteX13" fmla="*/ 217454 w 550646"/>
              <a:gd name="connsiteY13" fmla="*/ 761583 h 856781"/>
              <a:gd name="connsiteX14" fmla="*/ 247516 w 550646"/>
              <a:gd name="connsiteY14" fmla="*/ 721500 h 856781"/>
              <a:gd name="connsiteX15" fmla="*/ 234990 w 550646"/>
              <a:gd name="connsiteY15" fmla="*/ 701458 h 856781"/>
              <a:gd name="connsiteX16" fmla="*/ 267558 w 550646"/>
              <a:gd name="connsiteY16" fmla="*/ 673901 h 856781"/>
              <a:gd name="connsiteX17" fmla="*/ 297620 w 550646"/>
              <a:gd name="connsiteY17" fmla="*/ 666385 h 856781"/>
              <a:gd name="connsiteX18" fmla="*/ 302631 w 550646"/>
              <a:gd name="connsiteY18" fmla="*/ 628807 h 856781"/>
              <a:gd name="connsiteX19" fmla="*/ 332693 w 550646"/>
              <a:gd name="connsiteY19" fmla="*/ 606260 h 856781"/>
              <a:gd name="connsiteX20" fmla="*/ 347724 w 550646"/>
              <a:gd name="connsiteY20" fmla="*/ 563672 h 856781"/>
              <a:gd name="connsiteX21" fmla="*/ 337703 w 550646"/>
              <a:gd name="connsiteY21" fmla="*/ 513568 h 856781"/>
              <a:gd name="connsiteX22" fmla="*/ 352735 w 550646"/>
              <a:gd name="connsiteY22" fmla="*/ 498536 h 856781"/>
              <a:gd name="connsiteX23" fmla="*/ 375281 w 550646"/>
              <a:gd name="connsiteY23" fmla="*/ 528599 h 856781"/>
              <a:gd name="connsiteX24" fmla="*/ 395323 w 550646"/>
              <a:gd name="connsiteY24" fmla="*/ 543630 h 856781"/>
              <a:gd name="connsiteX25" fmla="*/ 397828 w 550646"/>
              <a:gd name="connsiteY25" fmla="*/ 493526 h 856781"/>
              <a:gd name="connsiteX26" fmla="*/ 430396 w 550646"/>
              <a:gd name="connsiteY26" fmla="*/ 468474 h 856781"/>
              <a:gd name="connsiteX27" fmla="*/ 440417 w 550646"/>
              <a:gd name="connsiteY27" fmla="*/ 465969 h 856781"/>
              <a:gd name="connsiteX28" fmla="*/ 533109 w 550646"/>
              <a:gd name="connsiteY28" fmla="*/ 368266 h 856781"/>
              <a:gd name="connsiteX29" fmla="*/ 535615 w 550646"/>
              <a:gd name="connsiteY29" fmla="*/ 348224 h 856781"/>
              <a:gd name="connsiteX30" fmla="*/ 550646 w 550646"/>
              <a:gd name="connsiteY30" fmla="*/ 330688 h 856781"/>
              <a:gd name="connsiteX31" fmla="*/ 503047 w 550646"/>
              <a:gd name="connsiteY31" fmla="*/ 285594 h 856781"/>
              <a:gd name="connsiteX32" fmla="*/ 470479 w 550646"/>
              <a:gd name="connsiteY32" fmla="*/ 278078 h 856781"/>
              <a:gd name="connsiteX33" fmla="*/ 452943 w 550646"/>
              <a:gd name="connsiteY33" fmla="*/ 275573 h 856781"/>
              <a:gd name="connsiteX34" fmla="*/ 430396 w 550646"/>
              <a:gd name="connsiteY34" fmla="*/ 265552 h 856781"/>
              <a:gd name="connsiteX35" fmla="*/ 415365 w 550646"/>
              <a:gd name="connsiteY35" fmla="*/ 237995 h 856781"/>
              <a:gd name="connsiteX36" fmla="*/ 402839 w 550646"/>
              <a:gd name="connsiteY36" fmla="*/ 230479 h 856781"/>
              <a:gd name="connsiteX37" fmla="*/ 375281 w 550646"/>
              <a:gd name="connsiteY37" fmla="*/ 237995 h 856781"/>
              <a:gd name="connsiteX38" fmla="*/ 362755 w 550646"/>
              <a:gd name="connsiteY38" fmla="*/ 222964 h 856781"/>
              <a:gd name="connsiteX39" fmla="*/ 325177 w 550646"/>
              <a:gd name="connsiteY39" fmla="*/ 117745 h 856781"/>
              <a:gd name="connsiteX40" fmla="*/ 302631 w 550646"/>
              <a:gd name="connsiteY40" fmla="*/ 87683 h 856781"/>
              <a:gd name="connsiteX41" fmla="*/ 277578 w 550646"/>
              <a:gd name="connsiteY41" fmla="*/ 35073 h 856781"/>
              <a:gd name="connsiteX42" fmla="*/ 257537 w 550646"/>
              <a:gd name="connsiteY42" fmla="*/ 2506 h 856781"/>
              <a:gd name="connsiteX43" fmla="*/ 204928 w 550646"/>
              <a:gd name="connsiteY43" fmla="*/ 0 h 856781"/>
              <a:gd name="connsiteX44" fmla="*/ 174865 w 550646"/>
              <a:gd name="connsiteY44" fmla="*/ 20042 h 856781"/>
              <a:gd name="connsiteX45" fmla="*/ 157329 w 550646"/>
              <a:gd name="connsiteY45" fmla="*/ 42589 h 856781"/>
              <a:gd name="connsiteX46" fmla="*/ 129771 w 550646"/>
              <a:gd name="connsiteY46" fmla="*/ 62631 h 856781"/>
              <a:gd name="connsiteX47" fmla="*/ 117245 w 550646"/>
              <a:gd name="connsiteY47" fmla="*/ 70146 h 856781"/>
              <a:gd name="connsiteX48" fmla="*/ 67141 w 550646"/>
              <a:gd name="connsiteY48" fmla="*/ 40084 h 856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550646" h="856781">
                <a:moveTo>
                  <a:pt x="67141" y="40084"/>
                </a:moveTo>
                <a:lnTo>
                  <a:pt x="54615" y="125261"/>
                </a:lnTo>
                <a:lnTo>
                  <a:pt x="34574" y="195406"/>
                </a:lnTo>
                <a:lnTo>
                  <a:pt x="42089" y="255531"/>
                </a:lnTo>
                <a:lnTo>
                  <a:pt x="44594" y="333193"/>
                </a:lnTo>
                <a:lnTo>
                  <a:pt x="47100" y="393318"/>
                </a:lnTo>
                <a:lnTo>
                  <a:pt x="24553" y="428391"/>
                </a:lnTo>
                <a:lnTo>
                  <a:pt x="37079" y="460958"/>
                </a:lnTo>
                <a:lnTo>
                  <a:pt x="0" y="510821"/>
                </a:lnTo>
                <a:lnTo>
                  <a:pt x="144803" y="809182"/>
                </a:lnTo>
                <a:lnTo>
                  <a:pt x="169855" y="844255"/>
                </a:lnTo>
                <a:lnTo>
                  <a:pt x="192401" y="856781"/>
                </a:lnTo>
                <a:lnTo>
                  <a:pt x="212443" y="794151"/>
                </a:lnTo>
                <a:lnTo>
                  <a:pt x="217454" y="761583"/>
                </a:lnTo>
                <a:lnTo>
                  <a:pt x="247516" y="721500"/>
                </a:lnTo>
                <a:lnTo>
                  <a:pt x="234990" y="701458"/>
                </a:lnTo>
                <a:lnTo>
                  <a:pt x="267558" y="673901"/>
                </a:lnTo>
                <a:lnTo>
                  <a:pt x="297620" y="666385"/>
                </a:lnTo>
                <a:lnTo>
                  <a:pt x="302631" y="628807"/>
                </a:lnTo>
                <a:lnTo>
                  <a:pt x="332693" y="606260"/>
                </a:lnTo>
                <a:lnTo>
                  <a:pt x="347724" y="563672"/>
                </a:lnTo>
                <a:lnTo>
                  <a:pt x="337703" y="513568"/>
                </a:lnTo>
                <a:lnTo>
                  <a:pt x="352735" y="498536"/>
                </a:lnTo>
                <a:lnTo>
                  <a:pt x="375281" y="528599"/>
                </a:lnTo>
                <a:lnTo>
                  <a:pt x="395323" y="543630"/>
                </a:lnTo>
                <a:lnTo>
                  <a:pt x="397828" y="493526"/>
                </a:lnTo>
                <a:lnTo>
                  <a:pt x="430396" y="468474"/>
                </a:lnTo>
                <a:lnTo>
                  <a:pt x="440417" y="465969"/>
                </a:lnTo>
                <a:lnTo>
                  <a:pt x="533109" y="368266"/>
                </a:lnTo>
                <a:lnTo>
                  <a:pt x="535615" y="348224"/>
                </a:lnTo>
                <a:lnTo>
                  <a:pt x="550646" y="330688"/>
                </a:lnTo>
                <a:lnTo>
                  <a:pt x="503047" y="285594"/>
                </a:lnTo>
                <a:lnTo>
                  <a:pt x="470479" y="278078"/>
                </a:lnTo>
                <a:lnTo>
                  <a:pt x="452943" y="275573"/>
                </a:lnTo>
                <a:lnTo>
                  <a:pt x="430396" y="265552"/>
                </a:lnTo>
                <a:lnTo>
                  <a:pt x="415365" y="237995"/>
                </a:lnTo>
                <a:lnTo>
                  <a:pt x="402839" y="230479"/>
                </a:lnTo>
                <a:lnTo>
                  <a:pt x="375281" y="237995"/>
                </a:lnTo>
                <a:lnTo>
                  <a:pt x="362755" y="222964"/>
                </a:lnTo>
                <a:lnTo>
                  <a:pt x="325177" y="117745"/>
                </a:lnTo>
                <a:lnTo>
                  <a:pt x="302631" y="87683"/>
                </a:lnTo>
                <a:lnTo>
                  <a:pt x="277578" y="35073"/>
                </a:lnTo>
                <a:lnTo>
                  <a:pt x="257537" y="2506"/>
                </a:lnTo>
                <a:lnTo>
                  <a:pt x="204928" y="0"/>
                </a:lnTo>
                <a:lnTo>
                  <a:pt x="174865" y="20042"/>
                </a:lnTo>
                <a:lnTo>
                  <a:pt x="157329" y="42589"/>
                </a:lnTo>
                <a:lnTo>
                  <a:pt x="129771" y="62631"/>
                </a:lnTo>
                <a:lnTo>
                  <a:pt x="117245" y="70146"/>
                </a:lnTo>
                <a:lnTo>
                  <a:pt x="67141" y="40084"/>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8" name="Freeform 37"/>
          <p:cNvSpPr/>
          <p:nvPr/>
        </p:nvSpPr>
        <p:spPr>
          <a:xfrm>
            <a:off x="7942592" y="1953973"/>
            <a:ext cx="239321" cy="497233"/>
          </a:xfrm>
          <a:custGeom>
            <a:avLst/>
            <a:gdLst>
              <a:gd name="connsiteX0" fmla="*/ 45093 w 240499"/>
              <a:gd name="connsiteY0" fmla="*/ 0 h 498536"/>
              <a:gd name="connsiteX1" fmla="*/ 17536 w 240499"/>
              <a:gd name="connsiteY1" fmla="*/ 25052 h 498536"/>
              <a:gd name="connsiteX2" fmla="*/ 27557 w 240499"/>
              <a:gd name="connsiteY2" fmla="*/ 95198 h 498536"/>
              <a:gd name="connsiteX3" fmla="*/ 45093 w 240499"/>
              <a:gd name="connsiteY3" fmla="*/ 120250 h 498536"/>
              <a:gd name="connsiteX4" fmla="*/ 47599 w 240499"/>
              <a:gd name="connsiteY4" fmla="*/ 130271 h 498536"/>
              <a:gd name="connsiteX5" fmla="*/ 47599 w 240499"/>
              <a:gd name="connsiteY5" fmla="*/ 142797 h 498536"/>
              <a:gd name="connsiteX6" fmla="*/ 17536 w 240499"/>
              <a:gd name="connsiteY6" fmla="*/ 187891 h 498536"/>
              <a:gd name="connsiteX7" fmla="*/ 17536 w 240499"/>
              <a:gd name="connsiteY7" fmla="*/ 200417 h 498536"/>
              <a:gd name="connsiteX8" fmla="*/ 20041 w 240499"/>
              <a:gd name="connsiteY8" fmla="*/ 217953 h 498536"/>
              <a:gd name="connsiteX9" fmla="*/ 5010 w 240499"/>
              <a:gd name="connsiteY9" fmla="*/ 255531 h 498536"/>
              <a:gd name="connsiteX10" fmla="*/ 20041 w 240499"/>
              <a:gd name="connsiteY10" fmla="*/ 280583 h 498536"/>
              <a:gd name="connsiteX11" fmla="*/ 5010 w 240499"/>
              <a:gd name="connsiteY11" fmla="*/ 308140 h 498536"/>
              <a:gd name="connsiteX12" fmla="*/ 0 w 240499"/>
              <a:gd name="connsiteY12" fmla="*/ 338203 h 498536"/>
              <a:gd name="connsiteX13" fmla="*/ 25052 w 240499"/>
              <a:gd name="connsiteY13" fmla="*/ 413359 h 498536"/>
              <a:gd name="connsiteX14" fmla="*/ 35073 w 240499"/>
              <a:gd name="connsiteY14" fmla="*/ 438411 h 498536"/>
              <a:gd name="connsiteX15" fmla="*/ 30062 w 240499"/>
              <a:gd name="connsiteY15" fmla="*/ 470979 h 498536"/>
              <a:gd name="connsiteX16" fmla="*/ 47599 w 240499"/>
              <a:gd name="connsiteY16" fmla="*/ 498536 h 498536"/>
              <a:gd name="connsiteX17" fmla="*/ 175364 w 240499"/>
              <a:gd name="connsiteY17" fmla="*/ 453442 h 498536"/>
              <a:gd name="connsiteX18" fmla="*/ 210437 w 240499"/>
              <a:gd name="connsiteY18" fmla="*/ 433401 h 498536"/>
              <a:gd name="connsiteX19" fmla="*/ 240499 w 240499"/>
              <a:gd name="connsiteY19" fmla="*/ 388307 h 498536"/>
              <a:gd name="connsiteX20" fmla="*/ 232984 w 240499"/>
              <a:gd name="connsiteY20" fmla="*/ 348224 h 498536"/>
              <a:gd name="connsiteX21" fmla="*/ 197911 w 240499"/>
              <a:gd name="connsiteY21" fmla="*/ 310646 h 498536"/>
              <a:gd name="connsiteX22" fmla="*/ 187890 w 240499"/>
              <a:gd name="connsiteY22" fmla="*/ 280583 h 498536"/>
              <a:gd name="connsiteX23" fmla="*/ 45093 w 240499"/>
              <a:gd name="connsiteY23" fmla="*/ 0 h 498536"/>
              <a:gd name="connsiteX0" fmla="*/ 45093 w 240499"/>
              <a:gd name="connsiteY0" fmla="*/ 0 h 498536"/>
              <a:gd name="connsiteX1" fmla="*/ 17536 w 240499"/>
              <a:gd name="connsiteY1" fmla="*/ 25052 h 498536"/>
              <a:gd name="connsiteX2" fmla="*/ 27557 w 240499"/>
              <a:gd name="connsiteY2" fmla="*/ 95198 h 498536"/>
              <a:gd name="connsiteX3" fmla="*/ 45093 w 240499"/>
              <a:gd name="connsiteY3" fmla="*/ 120250 h 498536"/>
              <a:gd name="connsiteX4" fmla="*/ 47599 w 240499"/>
              <a:gd name="connsiteY4" fmla="*/ 130271 h 498536"/>
              <a:gd name="connsiteX5" fmla="*/ 47599 w 240499"/>
              <a:gd name="connsiteY5" fmla="*/ 142797 h 498536"/>
              <a:gd name="connsiteX6" fmla="*/ 17536 w 240499"/>
              <a:gd name="connsiteY6" fmla="*/ 187891 h 498536"/>
              <a:gd name="connsiteX7" fmla="*/ 17536 w 240499"/>
              <a:gd name="connsiteY7" fmla="*/ 200417 h 498536"/>
              <a:gd name="connsiteX8" fmla="*/ 20041 w 240499"/>
              <a:gd name="connsiteY8" fmla="*/ 217953 h 498536"/>
              <a:gd name="connsiteX9" fmla="*/ 5010 w 240499"/>
              <a:gd name="connsiteY9" fmla="*/ 255531 h 498536"/>
              <a:gd name="connsiteX10" fmla="*/ 20041 w 240499"/>
              <a:gd name="connsiteY10" fmla="*/ 280583 h 498536"/>
              <a:gd name="connsiteX11" fmla="*/ 5010 w 240499"/>
              <a:gd name="connsiteY11" fmla="*/ 308140 h 498536"/>
              <a:gd name="connsiteX12" fmla="*/ 0 w 240499"/>
              <a:gd name="connsiteY12" fmla="*/ 338203 h 498536"/>
              <a:gd name="connsiteX13" fmla="*/ 25052 w 240499"/>
              <a:gd name="connsiteY13" fmla="*/ 413359 h 498536"/>
              <a:gd name="connsiteX14" fmla="*/ 30062 w 240499"/>
              <a:gd name="connsiteY14" fmla="*/ 470979 h 498536"/>
              <a:gd name="connsiteX15" fmla="*/ 47599 w 240499"/>
              <a:gd name="connsiteY15" fmla="*/ 498536 h 498536"/>
              <a:gd name="connsiteX16" fmla="*/ 175364 w 240499"/>
              <a:gd name="connsiteY16" fmla="*/ 453442 h 498536"/>
              <a:gd name="connsiteX17" fmla="*/ 210437 w 240499"/>
              <a:gd name="connsiteY17" fmla="*/ 433401 h 498536"/>
              <a:gd name="connsiteX18" fmla="*/ 240499 w 240499"/>
              <a:gd name="connsiteY18" fmla="*/ 388307 h 498536"/>
              <a:gd name="connsiteX19" fmla="*/ 232984 w 240499"/>
              <a:gd name="connsiteY19" fmla="*/ 348224 h 498536"/>
              <a:gd name="connsiteX20" fmla="*/ 197911 w 240499"/>
              <a:gd name="connsiteY20" fmla="*/ 310646 h 498536"/>
              <a:gd name="connsiteX21" fmla="*/ 187890 w 240499"/>
              <a:gd name="connsiteY21" fmla="*/ 280583 h 498536"/>
              <a:gd name="connsiteX22" fmla="*/ 45093 w 240499"/>
              <a:gd name="connsiteY22" fmla="*/ 0 h 498536"/>
              <a:gd name="connsiteX0" fmla="*/ 52213 w 247619"/>
              <a:gd name="connsiteY0" fmla="*/ 0 h 498536"/>
              <a:gd name="connsiteX1" fmla="*/ 24656 w 247619"/>
              <a:gd name="connsiteY1" fmla="*/ 25052 h 498536"/>
              <a:gd name="connsiteX2" fmla="*/ 34677 w 247619"/>
              <a:gd name="connsiteY2" fmla="*/ 95198 h 498536"/>
              <a:gd name="connsiteX3" fmla="*/ 52213 w 247619"/>
              <a:gd name="connsiteY3" fmla="*/ 120250 h 498536"/>
              <a:gd name="connsiteX4" fmla="*/ 54719 w 247619"/>
              <a:gd name="connsiteY4" fmla="*/ 130271 h 498536"/>
              <a:gd name="connsiteX5" fmla="*/ 54719 w 247619"/>
              <a:gd name="connsiteY5" fmla="*/ 142797 h 498536"/>
              <a:gd name="connsiteX6" fmla="*/ 24656 w 247619"/>
              <a:gd name="connsiteY6" fmla="*/ 187891 h 498536"/>
              <a:gd name="connsiteX7" fmla="*/ 24656 w 247619"/>
              <a:gd name="connsiteY7" fmla="*/ 200417 h 498536"/>
              <a:gd name="connsiteX8" fmla="*/ 27161 w 247619"/>
              <a:gd name="connsiteY8" fmla="*/ 217953 h 498536"/>
              <a:gd name="connsiteX9" fmla="*/ 12130 w 247619"/>
              <a:gd name="connsiteY9" fmla="*/ 255531 h 498536"/>
              <a:gd name="connsiteX10" fmla="*/ 27161 w 247619"/>
              <a:gd name="connsiteY10" fmla="*/ 280583 h 498536"/>
              <a:gd name="connsiteX11" fmla="*/ 12130 w 247619"/>
              <a:gd name="connsiteY11" fmla="*/ 308140 h 498536"/>
              <a:gd name="connsiteX12" fmla="*/ 0 w 247619"/>
              <a:gd name="connsiteY12" fmla="*/ 340585 h 498536"/>
              <a:gd name="connsiteX13" fmla="*/ 32172 w 247619"/>
              <a:gd name="connsiteY13" fmla="*/ 413359 h 498536"/>
              <a:gd name="connsiteX14" fmla="*/ 37182 w 247619"/>
              <a:gd name="connsiteY14" fmla="*/ 470979 h 498536"/>
              <a:gd name="connsiteX15" fmla="*/ 54719 w 247619"/>
              <a:gd name="connsiteY15" fmla="*/ 498536 h 498536"/>
              <a:gd name="connsiteX16" fmla="*/ 182484 w 247619"/>
              <a:gd name="connsiteY16" fmla="*/ 453442 h 498536"/>
              <a:gd name="connsiteX17" fmla="*/ 217557 w 247619"/>
              <a:gd name="connsiteY17" fmla="*/ 433401 h 498536"/>
              <a:gd name="connsiteX18" fmla="*/ 247619 w 247619"/>
              <a:gd name="connsiteY18" fmla="*/ 388307 h 498536"/>
              <a:gd name="connsiteX19" fmla="*/ 240104 w 247619"/>
              <a:gd name="connsiteY19" fmla="*/ 348224 h 498536"/>
              <a:gd name="connsiteX20" fmla="*/ 205031 w 247619"/>
              <a:gd name="connsiteY20" fmla="*/ 310646 h 498536"/>
              <a:gd name="connsiteX21" fmla="*/ 195010 w 247619"/>
              <a:gd name="connsiteY21" fmla="*/ 280583 h 498536"/>
              <a:gd name="connsiteX22" fmla="*/ 52213 w 247619"/>
              <a:gd name="connsiteY22" fmla="*/ 0 h 498536"/>
              <a:gd name="connsiteX0" fmla="*/ 52213 w 247619"/>
              <a:gd name="connsiteY0" fmla="*/ 0 h 498536"/>
              <a:gd name="connsiteX1" fmla="*/ 24656 w 247619"/>
              <a:gd name="connsiteY1" fmla="*/ 25052 h 498536"/>
              <a:gd name="connsiteX2" fmla="*/ 34677 w 247619"/>
              <a:gd name="connsiteY2" fmla="*/ 95198 h 498536"/>
              <a:gd name="connsiteX3" fmla="*/ 52213 w 247619"/>
              <a:gd name="connsiteY3" fmla="*/ 120250 h 498536"/>
              <a:gd name="connsiteX4" fmla="*/ 54719 w 247619"/>
              <a:gd name="connsiteY4" fmla="*/ 130271 h 498536"/>
              <a:gd name="connsiteX5" fmla="*/ 54719 w 247619"/>
              <a:gd name="connsiteY5" fmla="*/ 142797 h 498536"/>
              <a:gd name="connsiteX6" fmla="*/ 24656 w 247619"/>
              <a:gd name="connsiteY6" fmla="*/ 187891 h 498536"/>
              <a:gd name="connsiteX7" fmla="*/ 24656 w 247619"/>
              <a:gd name="connsiteY7" fmla="*/ 200417 h 498536"/>
              <a:gd name="connsiteX8" fmla="*/ 27161 w 247619"/>
              <a:gd name="connsiteY8" fmla="*/ 217953 h 498536"/>
              <a:gd name="connsiteX9" fmla="*/ 12130 w 247619"/>
              <a:gd name="connsiteY9" fmla="*/ 255531 h 498536"/>
              <a:gd name="connsiteX10" fmla="*/ 27161 w 247619"/>
              <a:gd name="connsiteY10" fmla="*/ 280583 h 498536"/>
              <a:gd name="connsiteX11" fmla="*/ 12130 w 247619"/>
              <a:gd name="connsiteY11" fmla="*/ 308140 h 498536"/>
              <a:gd name="connsiteX12" fmla="*/ 0 w 247619"/>
              <a:gd name="connsiteY12" fmla="*/ 340585 h 498536"/>
              <a:gd name="connsiteX13" fmla="*/ 25053 w 247619"/>
              <a:gd name="connsiteY13" fmla="*/ 413359 h 498536"/>
              <a:gd name="connsiteX14" fmla="*/ 37182 w 247619"/>
              <a:gd name="connsiteY14" fmla="*/ 470979 h 498536"/>
              <a:gd name="connsiteX15" fmla="*/ 54719 w 247619"/>
              <a:gd name="connsiteY15" fmla="*/ 498536 h 498536"/>
              <a:gd name="connsiteX16" fmla="*/ 182484 w 247619"/>
              <a:gd name="connsiteY16" fmla="*/ 453442 h 498536"/>
              <a:gd name="connsiteX17" fmla="*/ 217557 w 247619"/>
              <a:gd name="connsiteY17" fmla="*/ 433401 h 498536"/>
              <a:gd name="connsiteX18" fmla="*/ 247619 w 247619"/>
              <a:gd name="connsiteY18" fmla="*/ 388307 h 498536"/>
              <a:gd name="connsiteX19" fmla="*/ 240104 w 247619"/>
              <a:gd name="connsiteY19" fmla="*/ 348224 h 498536"/>
              <a:gd name="connsiteX20" fmla="*/ 205031 w 247619"/>
              <a:gd name="connsiteY20" fmla="*/ 310646 h 498536"/>
              <a:gd name="connsiteX21" fmla="*/ 195010 w 247619"/>
              <a:gd name="connsiteY21" fmla="*/ 280583 h 498536"/>
              <a:gd name="connsiteX22" fmla="*/ 52213 w 247619"/>
              <a:gd name="connsiteY22" fmla="*/ 0 h 498536"/>
              <a:gd name="connsiteX0" fmla="*/ 52213 w 247619"/>
              <a:gd name="connsiteY0" fmla="*/ 0 h 512826"/>
              <a:gd name="connsiteX1" fmla="*/ 24656 w 247619"/>
              <a:gd name="connsiteY1" fmla="*/ 25052 h 512826"/>
              <a:gd name="connsiteX2" fmla="*/ 34677 w 247619"/>
              <a:gd name="connsiteY2" fmla="*/ 95198 h 512826"/>
              <a:gd name="connsiteX3" fmla="*/ 52213 w 247619"/>
              <a:gd name="connsiteY3" fmla="*/ 120250 h 512826"/>
              <a:gd name="connsiteX4" fmla="*/ 54719 w 247619"/>
              <a:gd name="connsiteY4" fmla="*/ 130271 h 512826"/>
              <a:gd name="connsiteX5" fmla="*/ 54719 w 247619"/>
              <a:gd name="connsiteY5" fmla="*/ 142797 h 512826"/>
              <a:gd name="connsiteX6" fmla="*/ 24656 w 247619"/>
              <a:gd name="connsiteY6" fmla="*/ 187891 h 512826"/>
              <a:gd name="connsiteX7" fmla="*/ 24656 w 247619"/>
              <a:gd name="connsiteY7" fmla="*/ 200417 h 512826"/>
              <a:gd name="connsiteX8" fmla="*/ 27161 w 247619"/>
              <a:gd name="connsiteY8" fmla="*/ 217953 h 512826"/>
              <a:gd name="connsiteX9" fmla="*/ 12130 w 247619"/>
              <a:gd name="connsiteY9" fmla="*/ 255531 h 512826"/>
              <a:gd name="connsiteX10" fmla="*/ 27161 w 247619"/>
              <a:gd name="connsiteY10" fmla="*/ 280583 h 512826"/>
              <a:gd name="connsiteX11" fmla="*/ 12130 w 247619"/>
              <a:gd name="connsiteY11" fmla="*/ 308140 h 512826"/>
              <a:gd name="connsiteX12" fmla="*/ 0 w 247619"/>
              <a:gd name="connsiteY12" fmla="*/ 340585 h 512826"/>
              <a:gd name="connsiteX13" fmla="*/ 25053 w 247619"/>
              <a:gd name="connsiteY13" fmla="*/ 413359 h 512826"/>
              <a:gd name="connsiteX14" fmla="*/ 37182 w 247619"/>
              <a:gd name="connsiteY14" fmla="*/ 470979 h 512826"/>
              <a:gd name="connsiteX15" fmla="*/ 54719 w 247619"/>
              <a:gd name="connsiteY15" fmla="*/ 512826 h 512826"/>
              <a:gd name="connsiteX16" fmla="*/ 182484 w 247619"/>
              <a:gd name="connsiteY16" fmla="*/ 453442 h 512826"/>
              <a:gd name="connsiteX17" fmla="*/ 217557 w 247619"/>
              <a:gd name="connsiteY17" fmla="*/ 433401 h 512826"/>
              <a:gd name="connsiteX18" fmla="*/ 247619 w 247619"/>
              <a:gd name="connsiteY18" fmla="*/ 388307 h 512826"/>
              <a:gd name="connsiteX19" fmla="*/ 240104 w 247619"/>
              <a:gd name="connsiteY19" fmla="*/ 348224 h 512826"/>
              <a:gd name="connsiteX20" fmla="*/ 205031 w 247619"/>
              <a:gd name="connsiteY20" fmla="*/ 310646 h 512826"/>
              <a:gd name="connsiteX21" fmla="*/ 195010 w 247619"/>
              <a:gd name="connsiteY21" fmla="*/ 280583 h 512826"/>
              <a:gd name="connsiteX22" fmla="*/ 52213 w 247619"/>
              <a:gd name="connsiteY22" fmla="*/ 0 h 512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47619" h="512826">
                <a:moveTo>
                  <a:pt x="52213" y="0"/>
                </a:moveTo>
                <a:lnTo>
                  <a:pt x="24656" y="25052"/>
                </a:lnTo>
                <a:lnTo>
                  <a:pt x="34677" y="95198"/>
                </a:lnTo>
                <a:lnTo>
                  <a:pt x="52213" y="120250"/>
                </a:lnTo>
                <a:lnTo>
                  <a:pt x="54719" y="130271"/>
                </a:lnTo>
                <a:lnTo>
                  <a:pt x="54719" y="142797"/>
                </a:lnTo>
                <a:lnTo>
                  <a:pt x="24656" y="187891"/>
                </a:lnTo>
                <a:lnTo>
                  <a:pt x="24656" y="200417"/>
                </a:lnTo>
                <a:lnTo>
                  <a:pt x="27161" y="217953"/>
                </a:lnTo>
                <a:lnTo>
                  <a:pt x="12130" y="255531"/>
                </a:lnTo>
                <a:lnTo>
                  <a:pt x="27161" y="280583"/>
                </a:lnTo>
                <a:lnTo>
                  <a:pt x="12130" y="308140"/>
                </a:lnTo>
                <a:lnTo>
                  <a:pt x="0" y="340585"/>
                </a:lnTo>
                <a:lnTo>
                  <a:pt x="25053" y="413359"/>
                </a:lnTo>
                <a:lnTo>
                  <a:pt x="37182" y="470979"/>
                </a:lnTo>
                <a:lnTo>
                  <a:pt x="54719" y="512826"/>
                </a:lnTo>
                <a:lnTo>
                  <a:pt x="182484" y="453442"/>
                </a:lnTo>
                <a:lnTo>
                  <a:pt x="217557" y="433401"/>
                </a:lnTo>
                <a:lnTo>
                  <a:pt x="247619" y="388307"/>
                </a:lnTo>
                <a:lnTo>
                  <a:pt x="240104" y="348224"/>
                </a:lnTo>
                <a:lnTo>
                  <a:pt x="205031" y="310646"/>
                </a:lnTo>
                <a:lnTo>
                  <a:pt x="195010" y="280583"/>
                </a:lnTo>
                <a:lnTo>
                  <a:pt x="52213"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39" name="Freeform 38"/>
          <p:cNvSpPr/>
          <p:nvPr/>
        </p:nvSpPr>
        <p:spPr>
          <a:xfrm>
            <a:off x="7733954" y="1995538"/>
            <a:ext cx="263866" cy="475683"/>
          </a:xfrm>
          <a:custGeom>
            <a:avLst/>
            <a:gdLst>
              <a:gd name="connsiteX0" fmla="*/ 0 w 273068"/>
              <a:gd name="connsiteY0" fmla="*/ 92692 h 491020"/>
              <a:gd name="connsiteX1" fmla="*/ 32568 w 273068"/>
              <a:gd name="connsiteY1" fmla="*/ 147807 h 491020"/>
              <a:gd name="connsiteX2" fmla="*/ 50105 w 273068"/>
              <a:gd name="connsiteY2" fmla="*/ 215447 h 491020"/>
              <a:gd name="connsiteX3" fmla="*/ 75157 w 273068"/>
              <a:gd name="connsiteY3" fmla="*/ 270562 h 491020"/>
              <a:gd name="connsiteX4" fmla="*/ 102714 w 273068"/>
              <a:gd name="connsiteY4" fmla="*/ 303130 h 491020"/>
              <a:gd name="connsiteX5" fmla="*/ 127766 w 273068"/>
              <a:gd name="connsiteY5" fmla="*/ 373275 h 491020"/>
              <a:gd name="connsiteX6" fmla="*/ 157828 w 273068"/>
              <a:gd name="connsiteY6" fmla="*/ 491020 h 491020"/>
              <a:gd name="connsiteX7" fmla="*/ 270563 w 273068"/>
              <a:gd name="connsiteY7" fmla="*/ 465968 h 491020"/>
              <a:gd name="connsiteX8" fmla="*/ 255531 w 273068"/>
              <a:gd name="connsiteY8" fmla="*/ 428390 h 491020"/>
              <a:gd name="connsiteX9" fmla="*/ 248016 w 273068"/>
              <a:gd name="connsiteY9" fmla="*/ 390812 h 491020"/>
              <a:gd name="connsiteX10" fmla="*/ 217953 w 273068"/>
              <a:gd name="connsiteY10" fmla="*/ 293109 h 491020"/>
              <a:gd name="connsiteX11" fmla="*/ 245511 w 273068"/>
              <a:gd name="connsiteY11" fmla="*/ 232984 h 491020"/>
              <a:gd name="connsiteX12" fmla="*/ 230479 w 273068"/>
              <a:gd name="connsiteY12" fmla="*/ 215447 h 491020"/>
              <a:gd name="connsiteX13" fmla="*/ 245511 w 273068"/>
              <a:gd name="connsiteY13" fmla="*/ 182880 h 491020"/>
              <a:gd name="connsiteX14" fmla="*/ 245511 w 273068"/>
              <a:gd name="connsiteY14" fmla="*/ 137786 h 491020"/>
              <a:gd name="connsiteX15" fmla="*/ 273068 w 273068"/>
              <a:gd name="connsiteY15" fmla="*/ 97703 h 491020"/>
              <a:gd name="connsiteX16" fmla="*/ 255531 w 273068"/>
              <a:gd name="connsiteY16" fmla="*/ 60125 h 491020"/>
              <a:gd name="connsiteX17" fmla="*/ 245511 w 273068"/>
              <a:gd name="connsiteY17" fmla="*/ 0 h 491020"/>
              <a:gd name="connsiteX18" fmla="*/ 205427 w 273068"/>
              <a:gd name="connsiteY18" fmla="*/ 17536 h 491020"/>
              <a:gd name="connsiteX19" fmla="*/ 0 w 273068"/>
              <a:gd name="connsiteY19" fmla="*/ 92692 h 491020"/>
              <a:gd name="connsiteX0" fmla="*/ 0 w 273068"/>
              <a:gd name="connsiteY0" fmla="*/ 92692 h 491020"/>
              <a:gd name="connsiteX1" fmla="*/ 50105 w 273068"/>
              <a:gd name="connsiteY1" fmla="*/ 215447 h 491020"/>
              <a:gd name="connsiteX2" fmla="*/ 75157 w 273068"/>
              <a:gd name="connsiteY2" fmla="*/ 270562 h 491020"/>
              <a:gd name="connsiteX3" fmla="*/ 102714 w 273068"/>
              <a:gd name="connsiteY3" fmla="*/ 303130 h 491020"/>
              <a:gd name="connsiteX4" fmla="*/ 127766 w 273068"/>
              <a:gd name="connsiteY4" fmla="*/ 373275 h 491020"/>
              <a:gd name="connsiteX5" fmla="*/ 157828 w 273068"/>
              <a:gd name="connsiteY5" fmla="*/ 491020 h 491020"/>
              <a:gd name="connsiteX6" fmla="*/ 270563 w 273068"/>
              <a:gd name="connsiteY6" fmla="*/ 465968 h 491020"/>
              <a:gd name="connsiteX7" fmla="*/ 255531 w 273068"/>
              <a:gd name="connsiteY7" fmla="*/ 428390 h 491020"/>
              <a:gd name="connsiteX8" fmla="*/ 248016 w 273068"/>
              <a:gd name="connsiteY8" fmla="*/ 390812 h 491020"/>
              <a:gd name="connsiteX9" fmla="*/ 217953 w 273068"/>
              <a:gd name="connsiteY9" fmla="*/ 293109 h 491020"/>
              <a:gd name="connsiteX10" fmla="*/ 245511 w 273068"/>
              <a:gd name="connsiteY10" fmla="*/ 232984 h 491020"/>
              <a:gd name="connsiteX11" fmla="*/ 230479 w 273068"/>
              <a:gd name="connsiteY11" fmla="*/ 215447 h 491020"/>
              <a:gd name="connsiteX12" fmla="*/ 245511 w 273068"/>
              <a:gd name="connsiteY12" fmla="*/ 182880 h 491020"/>
              <a:gd name="connsiteX13" fmla="*/ 245511 w 273068"/>
              <a:gd name="connsiteY13" fmla="*/ 137786 h 491020"/>
              <a:gd name="connsiteX14" fmla="*/ 273068 w 273068"/>
              <a:gd name="connsiteY14" fmla="*/ 97703 h 491020"/>
              <a:gd name="connsiteX15" fmla="*/ 255531 w 273068"/>
              <a:gd name="connsiteY15" fmla="*/ 60125 h 491020"/>
              <a:gd name="connsiteX16" fmla="*/ 245511 w 273068"/>
              <a:gd name="connsiteY16" fmla="*/ 0 h 491020"/>
              <a:gd name="connsiteX17" fmla="*/ 205427 w 273068"/>
              <a:gd name="connsiteY17" fmla="*/ 17536 h 491020"/>
              <a:gd name="connsiteX18" fmla="*/ 0 w 273068"/>
              <a:gd name="connsiteY18" fmla="*/ 92692 h 491020"/>
              <a:gd name="connsiteX0" fmla="*/ 0 w 273068"/>
              <a:gd name="connsiteY0" fmla="*/ 92692 h 491020"/>
              <a:gd name="connsiteX1" fmla="*/ 50105 w 273068"/>
              <a:gd name="connsiteY1" fmla="*/ 215447 h 491020"/>
              <a:gd name="connsiteX2" fmla="*/ 65631 w 273068"/>
              <a:gd name="connsiteY2" fmla="*/ 268177 h 491020"/>
              <a:gd name="connsiteX3" fmla="*/ 102714 w 273068"/>
              <a:gd name="connsiteY3" fmla="*/ 303130 h 491020"/>
              <a:gd name="connsiteX4" fmla="*/ 127766 w 273068"/>
              <a:gd name="connsiteY4" fmla="*/ 373275 h 491020"/>
              <a:gd name="connsiteX5" fmla="*/ 157828 w 273068"/>
              <a:gd name="connsiteY5" fmla="*/ 491020 h 491020"/>
              <a:gd name="connsiteX6" fmla="*/ 270563 w 273068"/>
              <a:gd name="connsiteY6" fmla="*/ 465968 h 491020"/>
              <a:gd name="connsiteX7" fmla="*/ 255531 w 273068"/>
              <a:gd name="connsiteY7" fmla="*/ 428390 h 491020"/>
              <a:gd name="connsiteX8" fmla="*/ 248016 w 273068"/>
              <a:gd name="connsiteY8" fmla="*/ 390812 h 491020"/>
              <a:gd name="connsiteX9" fmla="*/ 217953 w 273068"/>
              <a:gd name="connsiteY9" fmla="*/ 293109 h 491020"/>
              <a:gd name="connsiteX10" fmla="*/ 245511 w 273068"/>
              <a:gd name="connsiteY10" fmla="*/ 232984 h 491020"/>
              <a:gd name="connsiteX11" fmla="*/ 230479 w 273068"/>
              <a:gd name="connsiteY11" fmla="*/ 215447 h 491020"/>
              <a:gd name="connsiteX12" fmla="*/ 245511 w 273068"/>
              <a:gd name="connsiteY12" fmla="*/ 182880 h 491020"/>
              <a:gd name="connsiteX13" fmla="*/ 245511 w 273068"/>
              <a:gd name="connsiteY13" fmla="*/ 137786 h 491020"/>
              <a:gd name="connsiteX14" fmla="*/ 273068 w 273068"/>
              <a:gd name="connsiteY14" fmla="*/ 97703 h 491020"/>
              <a:gd name="connsiteX15" fmla="*/ 255531 w 273068"/>
              <a:gd name="connsiteY15" fmla="*/ 60125 h 491020"/>
              <a:gd name="connsiteX16" fmla="*/ 245511 w 273068"/>
              <a:gd name="connsiteY16" fmla="*/ 0 h 491020"/>
              <a:gd name="connsiteX17" fmla="*/ 205427 w 273068"/>
              <a:gd name="connsiteY17" fmla="*/ 17536 h 491020"/>
              <a:gd name="connsiteX18" fmla="*/ 0 w 273068"/>
              <a:gd name="connsiteY18" fmla="*/ 92692 h 491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73068" h="491020">
                <a:moveTo>
                  <a:pt x="0" y="92692"/>
                </a:moveTo>
                <a:lnTo>
                  <a:pt x="50105" y="215447"/>
                </a:lnTo>
                <a:lnTo>
                  <a:pt x="65631" y="268177"/>
                </a:lnTo>
                <a:lnTo>
                  <a:pt x="102714" y="303130"/>
                </a:lnTo>
                <a:lnTo>
                  <a:pt x="127766" y="373275"/>
                </a:lnTo>
                <a:lnTo>
                  <a:pt x="157828" y="491020"/>
                </a:lnTo>
                <a:lnTo>
                  <a:pt x="270563" y="465968"/>
                </a:lnTo>
                <a:lnTo>
                  <a:pt x="255531" y="428390"/>
                </a:lnTo>
                <a:lnTo>
                  <a:pt x="248016" y="390812"/>
                </a:lnTo>
                <a:lnTo>
                  <a:pt x="217953" y="293109"/>
                </a:lnTo>
                <a:lnTo>
                  <a:pt x="245511" y="232984"/>
                </a:lnTo>
                <a:lnTo>
                  <a:pt x="230479" y="215447"/>
                </a:lnTo>
                <a:lnTo>
                  <a:pt x="245511" y="182880"/>
                </a:lnTo>
                <a:lnTo>
                  <a:pt x="245511" y="137786"/>
                </a:lnTo>
                <a:lnTo>
                  <a:pt x="273068" y="97703"/>
                </a:lnTo>
                <a:lnTo>
                  <a:pt x="255531" y="60125"/>
                </a:lnTo>
                <a:lnTo>
                  <a:pt x="245511" y="0"/>
                </a:lnTo>
                <a:lnTo>
                  <a:pt x="205427" y="17536"/>
                </a:lnTo>
                <a:lnTo>
                  <a:pt x="0" y="92692"/>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40" name="Freeform 39"/>
          <p:cNvSpPr/>
          <p:nvPr/>
        </p:nvSpPr>
        <p:spPr>
          <a:xfrm>
            <a:off x="7888901" y="2332671"/>
            <a:ext cx="504719" cy="281714"/>
          </a:xfrm>
          <a:custGeom>
            <a:avLst/>
            <a:gdLst>
              <a:gd name="connsiteX0" fmla="*/ 0 w 523588"/>
              <a:gd name="connsiteY0" fmla="*/ 137787 h 290604"/>
              <a:gd name="connsiteX1" fmla="*/ 5010 w 523588"/>
              <a:gd name="connsiteY1" fmla="*/ 217953 h 290604"/>
              <a:gd name="connsiteX2" fmla="*/ 17536 w 523588"/>
              <a:gd name="connsiteY2" fmla="*/ 250521 h 290604"/>
              <a:gd name="connsiteX3" fmla="*/ 20041 w 523588"/>
              <a:gd name="connsiteY3" fmla="*/ 290604 h 290604"/>
              <a:gd name="connsiteX4" fmla="*/ 303129 w 523588"/>
              <a:gd name="connsiteY4" fmla="*/ 170354 h 290604"/>
              <a:gd name="connsiteX5" fmla="*/ 360749 w 523588"/>
              <a:gd name="connsiteY5" fmla="*/ 237995 h 290604"/>
              <a:gd name="connsiteX6" fmla="*/ 383296 w 523588"/>
              <a:gd name="connsiteY6" fmla="*/ 253026 h 290604"/>
              <a:gd name="connsiteX7" fmla="*/ 383296 w 523588"/>
              <a:gd name="connsiteY7" fmla="*/ 253026 h 290604"/>
              <a:gd name="connsiteX8" fmla="*/ 403338 w 523588"/>
              <a:gd name="connsiteY8" fmla="*/ 210437 h 290604"/>
              <a:gd name="connsiteX9" fmla="*/ 408348 w 523588"/>
              <a:gd name="connsiteY9" fmla="*/ 190396 h 290604"/>
              <a:gd name="connsiteX10" fmla="*/ 428390 w 523588"/>
              <a:gd name="connsiteY10" fmla="*/ 195406 h 290604"/>
              <a:gd name="connsiteX11" fmla="*/ 455947 w 523588"/>
              <a:gd name="connsiteY11" fmla="*/ 202922 h 290604"/>
              <a:gd name="connsiteX12" fmla="*/ 470978 w 523588"/>
              <a:gd name="connsiteY12" fmla="*/ 190396 h 290604"/>
              <a:gd name="connsiteX13" fmla="*/ 478494 w 523588"/>
              <a:gd name="connsiteY13" fmla="*/ 177870 h 290604"/>
              <a:gd name="connsiteX14" fmla="*/ 523588 w 523588"/>
              <a:gd name="connsiteY14" fmla="*/ 140292 h 290604"/>
              <a:gd name="connsiteX15" fmla="*/ 523588 w 523588"/>
              <a:gd name="connsiteY15" fmla="*/ 115240 h 290604"/>
              <a:gd name="connsiteX16" fmla="*/ 503546 w 523588"/>
              <a:gd name="connsiteY16" fmla="*/ 97703 h 290604"/>
              <a:gd name="connsiteX17" fmla="*/ 478494 w 523588"/>
              <a:gd name="connsiteY17" fmla="*/ 87682 h 290604"/>
              <a:gd name="connsiteX18" fmla="*/ 455947 w 523588"/>
              <a:gd name="connsiteY18" fmla="*/ 87682 h 290604"/>
              <a:gd name="connsiteX19" fmla="*/ 465968 w 523588"/>
              <a:gd name="connsiteY19" fmla="*/ 102714 h 290604"/>
              <a:gd name="connsiteX20" fmla="*/ 480999 w 523588"/>
              <a:gd name="connsiteY20" fmla="*/ 120250 h 290604"/>
              <a:gd name="connsiteX21" fmla="*/ 488515 w 523588"/>
              <a:gd name="connsiteY21" fmla="*/ 130271 h 290604"/>
              <a:gd name="connsiteX22" fmla="*/ 478494 w 523588"/>
              <a:gd name="connsiteY22" fmla="*/ 162839 h 290604"/>
              <a:gd name="connsiteX23" fmla="*/ 445926 w 523588"/>
              <a:gd name="connsiteY23" fmla="*/ 170354 h 290604"/>
              <a:gd name="connsiteX24" fmla="*/ 425885 w 523588"/>
              <a:gd name="connsiteY24" fmla="*/ 160333 h 290604"/>
              <a:gd name="connsiteX25" fmla="*/ 408348 w 523588"/>
              <a:gd name="connsiteY25" fmla="*/ 137787 h 290604"/>
              <a:gd name="connsiteX26" fmla="*/ 395822 w 523588"/>
              <a:gd name="connsiteY26" fmla="*/ 117745 h 290604"/>
              <a:gd name="connsiteX27" fmla="*/ 340708 w 523588"/>
              <a:gd name="connsiteY27" fmla="*/ 75156 h 290604"/>
              <a:gd name="connsiteX28" fmla="*/ 343213 w 523588"/>
              <a:gd name="connsiteY28" fmla="*/ 45094 h 290604"/>
              <a:gd name="connsiteX29" fmla="*/ 335697 w 523588"/>
              <a:gd name="connsiteY29" fmla="*/ 22547 h 290604"/>
              <a:gd name="connsiteX30" fmla="*/ 303129 w 523588"/>
              <a:gd name="connsiteY30" fmla="*/ 0 h 290604"/>
              <a:gd name="connsiteX31" fmla="*/ 270562 w 523588"/>
              <a:gd name="connsiteY31" fmla="*/ 37578 h 290604"/>
              <a:gd name="connsiteX32" fmla="*/ 250520 w 523588"/>
              <a:gd name="connsiteY32" fmla="*/ 62630 h 290604"/>
              <a:gd name="connsiteX33" fmla="*/ 115239 w 523588"/>
              <a:gd name="connsiteY33" fmla="*/ 110229 h 290604"/>
              <a:gd name="connsiteX34" fmla="*/ 115239 w 523588"/>
              <a:gd name="connsiteY34" fmla="*/ 122755 h 290604"/>
              <a:gd name="connsiteX35" fmla="*/ 0 w 523588"/>
              <a:gd name="connsiteY35" fmla="*/ 137787 h 290604"/>
              <a:gd name="connsiteX0" fmla="*/ 0 w 523588"/>
              <a:gd name="connsiteY0" fmla="*/ 137787 h 290604"/>
              <a:gd name="connsiteX1" fmla="*/ 5010 w 523588"/>
              <a:gd name="connsiteY1" fmla="*/ 217953 h 290604"/>
              <a:gd name="connsiteX2" fmla="*/ 17536 w 523588"/>
              <a:gd name="connsiteY2" fmla="*/ 250521 h 290604"/>
              <a:gd name="connsiteX3" fmla="*/ 20041 w 523588"/>
              <a:gd name="connsiteY3" fmla="*/ 290604 h 290604"/>
              <a:gd name="connsiteX4" fmla="*/ 303129 w 523588"/>
              <a:gd name="connsiteY4" fmla="*/ 170354 h 290604"/>
              <a:gd name="connsiteX5" fmla="*/ 360749 w 523588"/>
              <a:gd name="connsiteY5" fmla="*/ 237995 h 290604"/>
              <a:gd name="connsiteX6" fmla="*/ 383296 w 523588"/>
              <a:gd name="connsiteY6" fmla="*/ 253026 h 290604"/>
              <a:gd name="connsiteX7" fmla="*/ 383296 w 523588"/>
              <a:gd name="connsiteY7" fmla="*/ 253026 h 290604"/>
              <a:gd name="connsiteX8" fmla="*/ 403338 w 523588"/>
              <a:gd name="connsiteY8" fmla="*/ 210437 h 290604"/>
              <a:gd name="connsiteX9" fmla="*/ 408348 w 523588"/>
              <a:gd name="connsiteY9" fmla="*/ 190396 h 290604"/>
              <a:gd name="connsiteX10" fmla="*/ 428390 w 523588"/>
              <a:gd name="connsiteY10" fmla="*/ 195406 h 290604"/>
              <a:gd name="connsiteX11" fmla="*/ 455947 w 523588"/>
              <a:gd name="connsiteY11" fmla="*/ 202922 h 290604"/>
              <a:gd name="connsiteX12" fmla="*/ 470978 w 523588"/>
              <a:gd name="connsiteY12" fmla="*/ 190396 h 290604"/>
              <a:gd name="connsiteX13" fmla="*/ 478494 w 523588"/>
              <a:gd name="connsiteY13" fmla="*/ 177870 h 290604"/>
              <a:gd name="connsiteX14" fmla="*/ 523588 w 523588"/>
              <a:gd name="connsiteY14" fmla="*/ 140292 h 290604"/>
              <a:gd name="connsiteX15" fmla="*/ 523588 w 523588"/>
              <a:gd name="connsiteY15" fmla="*/ 115240 h 290604"/>
              <a:gd name="connsiteX16" fmla="*/ 503546 w 523588"/>
              <a:gd name="connsiteY16" fmla="*/ 97703 h 290604"/>
              <a:gd name="connsiteX17" fmla="*/ 478494 w 523588"/>
              <a:gd name="connsiteY17" fmla="*/ 87682 h 290604"/>
              <a:gd name="connsiteX18" fmla="*/ 455947 w 523588"/>
              <a:gd name="connsiteY18" fmla="*/ 87682 h 290604"/>
              <a:gd name="connsiteX19" fmla="*/ 465968 w 523588"/>
              <a:gd name="connsiteY19" fmla="*/ 102714 h 290604"/>
              <a:gd name="connsiteX20" fmla="*/ 480999 w 523588"/>
              <a:gd name="connsiteY20" fmla="*/ 120250 h 290604"/>
              <a:gd name="connsiteX21" fmla="*/ 488515 w 523588"/>
              <a:gd name="connsiteY21" fmla="*/ 130271 h 290604"/>
              <a:gd name="connsiteX22" fmla="*/ 478494 w 523588"/>
              <a:gd name="connsiteY22" fmla="*/ 162839 h 290604"/>
              <a:gd name="connsiteX23" fmla="*/ 445926 w 523588"/>
              <a:gd name="connsiteY23" fmla="*/ 170354 h 290604"/>
              <a:gd name="connsiteX24" fmla="*/ 425885 w 523588"/>
              <a:gd name="connsiteY24" fmla="*/ 160333 h 290604"/>
              <a:gd name="connsiteX25" fmla="*/ 408348 w 523588"/>
              <a:gd name="connsiteY25" fmla="*/ 137787 h 290604"/>
              <a:gd name="connsiteX26" fmla="*/ 395822 w 523588"/>
              <a:gd name="connsiteY26" fmla="*/ 117745 h 290604"/>
              <a:gd name="connsiteX27" fmla="*/ 340708 w 523588"/>
              <a:gd name="connsiteY27" fmla="*/ 75156 h 290604"/>
              <a:gd name="connsiteX28" fmla="*/ 343213 w 523588"/>
              <a:gd name="connsiteY28" fmla="*/ 45094 h 290604"/>
              <a:gd name="connsiteX29" fmla="*/ 335697 w 523588"/>
              <a:gd name="connsiteY29" fmla="*/ 22547 h 290604"/>
              <a:gd name="connsiteX30" fmla="*/ 303129 w 523588"/>
              <a:gd name="connsiteY30" fmla="*/ 0 h 290604"/>
              <a:gd name="connsiteX31" fmla="*/ 270562 w 523588"/>
              <a:gd name="connsiteY31" fmla="*/ 37578 h 290604"/>
              <a:gd name="connsiteX32" fmla="*/ 115239 w 523588"/>
              <a:gd name="connsiteY32" fmla="*/ 110229 h 290604"/>
              <a:gd name="connsiteX33" fmla="*/ 115239 w 523588"/>
              <a:gd name="connsiteY33" fmla="*/ 122755 h 290604"/>
              <a:gd name="connsiteX34" fmla="*/ 0 w 523588"/>
              <a:gd name="connsiteY34" fmla="*/ 137787 h 290604"/>
              <a:gd name="connsiteX0" fmla="*/ 0 w 523588"/>
              <a:gd name="connsiteY0" fmla="*/ 137787 h 290604"/>
              <a:gd name="connsiteX1" fmla="*/ 5010 w 523588"/>
              <a:gd name="connsiteY1" fmla="*/ 217953 h 290604"/>
              <a:gd name="connsiteX2" fmla="*/ 17536 w 523588"/>
              <a:gd name="connsiteY2" fmla="*/ 250521 h 290604"/>
              <a:gd name="connsiteX3" fmla="*/ 20041 w 523588"/>
              <a:gd name="connsiteY3" fmla="*/ 290604 h 290604"/>
              <a:gd name="connsiteX4" fmla="*/ 303129 w 523588"/>
              <a:gd name="connsiteY4" fmla="*/ 170354 h 290604"/>
              <a:gd name="connsiteX5" fmla="*/ 360749 w 523588"/>
              <a:gd name="connsiteY5" fmla="*/ 237995 h 290604"/>
              <a:gd name="connsiteX6" fmla="*/ 383296 w 523588"/>
              <a:gd name="connsiteY6" fmla="*/ 253026 h 290604"/>
              <a:gd name="connsiteX7" fmla="*/ 383296 w 523588"/>
              <a:gd name="connsiteY7" fmla="*/ 253026 h 290604"/>
              <a:gd name="connsiteX8" fmla="*/ 403338 w 523588"/>
              <a:gd name="connsiteY8" fmla="*/ 210437 h 290604"/>
              <a:gd name="connsiteX9" fmla="*/ 408348 w 523588"/>
              <a:gd name="connsiteY9" fmla="*/ 190396 h 290604"/>
              <a:gd name="connsiteX10" fmla="*/ 428390 w 523588"/>
              <a:gd name="connsiteY10" fmla="*/ 195406 h 290604"/>
              <a:gd name="connsiteX11" fmla="*/ 455947 w 523588"/>
              <a:gd name="connsiteY11" fmla="*/ 202922 h 290604"/>
              <a:gd name="connsiteX12" fmla="*/ 470978 w 523588"/>
              <a:gd name="connsiteY12" fmla="*/ 190396 h 290604"/>
              <a:gd name="connsiteX13" fmla="*/ 478494 w 523588"/>
              <a:gd name="connsiteY13" fmla="*/ 177870 h 290604"/>
              <a:gd name="connsiteX14" fmla="*/ 523588 w 523588"/>
              <a:gd name="connsiteY14" fmla="*/ 140292 h 290604"/>
              <a:gd name="connsiteX15" fmla="*/ 523588 w 523588"/>
              <a:gd name="connsiteY15" fmla="*/ 115240 h 290604"/>
              <a:gd name="connsiteX16" fmla="*/ 503546 w 523588"/>
              <a:gd name="connsiteY16" fmla="*/ 97703 h 290604"/>
              <a:gd name="connsiteX17" fmla="*/ 478494 w 523588"/>
              <a:gd name="connsiteY17" fmla="*/ 87682 h 290604"/>
              <a:gd name="connsiteX18" fmla="*/ 455947 w 523588"/>
              <a:gd name="connsiteY18" fmla="*/ 87682 h 290604"/>
              <a:gd name="connsiteX19" fmla="*/ 465968 w 523588"/>
              <a:gd name="connsiteY19" fmla="*/ 102714 h 290604"/>
              <a:gd name="connsiteX20" fmla="*/ 480999 w 523588"/>
              <a:gd name="connsiteY20" fmla="*/ 120250 h 290604"/>
              <a:gd name="connsiteX21" fmla="*/ 488515 w 523588"/>
              <a:gd name="connsiteY21" fmla="*/ 130271 h 290604"/>
              <a:gd name="connsiteX22" fmla="*/ 478494 w 523588"/>
              <a:gd name="connsiteY22" fmla="*/ 162839 h 290604"/>
              <a:gd name="connsiteX23" fmla="*/ 445926 w 523588"/>
              <a:gd name="connsiteY23" fmla="*/ 170354 h 290604"/>
              <a:gd name="connsiteX24" fmla="*/ 425885 w 523588"/>
              <a:gd name="connsiteY24" fmla="*/ 160333 h 290604"/>
              <a:gd name="connsiteX25" fmla="*/ 408348 w 523588"/>
              <a:gd name="connsiteY25" fmla="*/ 137787 h 290604"/>
              <a:gd name="connsiteX26" fmla="*/ 395822 w 523588"/>
              <a:gd name="connsiteY26" fmla="*/ 117745 h 290604"/>
              <a:gd name="connsiteX27" fmla="*/ 340708 w 523588"/>
              <a:gd name="connsiteY27" fmla="*/ 75156 h 290604"/>
              <a:gd name="connsiteX28" fmla="*/ 343213 w 523588"/>
              <a:gd name="connsiteY28" fmla="*/ 45094 h 290604"/>
              <a:gd name="connsiteX29" fmla="*/ 335697 w 523588"/>
              <a:gd name="connsiteY29" fmla="*/ 22547 h 290604"/>
              <a:gd name="connsiteX30" fmla="*/ 303129 w 523588"/>
              <a:gd name="connsiteY30" fmla="*/ 0 h 290604"/>
              <a:gd name="connsiteX31" fmla="*/ 270562 w 523588"/>
              <a:gd name="connsiteY31" fmla="*/ 37578 h 290604"/>
              <a:gd name="connsiteX32" fmla="*/ 115239 w 523588"/>
              <a:gd name="connsiteY32" fmla="*/ 110229 h 290604"/>
              <a:gd name="connsiteX33" fmla="*/ 98529 w 523588"/>
              <a:gd name="connsiteY33" fmla="*/ 117990 h 290604"/>
              <a:gd name="connsiteX34" fmla="*/ 0 w 523588"/>
              <a:gd name="connsiteY34" fmla="*/ 137787 h 2906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3588" h="290604">
                <a:moveTo>
                  <a:pt x="0" y="137787"/>
                </a:moveTo>
                <a:lnTo>
                  <a:pt x="5010" y="217953"/>
                </a:lnTo>
                <a:lnTo>
                  <a:pt x="17536" y="250521"/>
                </a:lnTo>
                <a:lnTo>
                  <a:pt x="20041" y="290604"/>
                </a:lnTo>
                <a:lnTo>
                  <a:pt x="303129" y="170354"/>
                </a:lnTo>
                <a:lnTo>
                  <a:pt x="360749" y="237995"/>
                </a:lnTo>
                <a:lnTo>
                  <a:pt x="383296" y="253026"/>
                </a:lnTo>
                <a:lnTo>
                  <a:pt x="383296" y="253026"/>
                </a:lnTo>
                <a:lnTo>
                  <a:pt x="403338" y="210437"/>
                </a:lnTo>
                <a:lnTo>
                  <a:pt x="408348" y="190396"/>
                </a:lnTo>
                <a:lnTo>
                  <a:pt x="428390" y="195406"/>
                </a:lnTo>
                <a:lnTo>
                  <a:pt x="455947" y="202922"/>
                </a:lnTo>
                <a:lnTo>
                  <a:pt x="470978" y="190396"/>
                </a:lnTo>
                <a:lnTo>
                  <a:pt x="478494" y="177870"/>
                </a:lnTo>
                <a:lnTo>
                  <a:pt x="523588" y="140292"/>
                </a:lnTo>
                <a:lnTo>
                  <a:pt x="523588" y="115240"/>
                </a:lnTo>
                <a:lnTo>
                  <a:pt x="503546" y="97703"/>
                </a:lnTo>
                <a:lnTo>
                  <a:pt x="478494" y="87682"/>
                </a:lnTo>
                <a:lnTo>
                  <a:pt x="455947" y="87682"/>
                </a:lnTo>
                <a:lnTo>
                  <a:pt x="465968" y="102714"/>
                </a:lnTo>
                <a:lnTo>
                  <a:pt x="480999" y="120250"/>
                </a:lnTo>
                <a:lnTo>
                  <a:pt x="488515" y="130271"/>
                </a:lnTo>
                <a:lnTo>
                  <a:pt x="478494" y="162839"/>
                </a:lnTo>
                <a:lnTo>
                  <a:pt x="445926" y="170354"/>
                </a:lnTo>
                <a:lnTo>
                  <a:pt x="425885" y="160333"/>
                </a:lnTo>
                <a:lnTo>
                  <a:pt x="408348" y="137787"/>
                </a:lnTo>
                <a:lnTo>
                  <a:pt x="395822" y="117745"/>
                </a:lnTo>
                <a:lnTo>
                  <a:pt x="340708" y="75156"/>
                </a:lnTo>
                <a:lnTo>
                  <a:pt x="343213" y="45094"/>
                </a:lnTo>
                <a:lnTo>
                  <a:pt x="335697" y="22547"/>
                </a:lnTo>
                <a:lnTo>
                  <a:pt x="303129" y="0"/>
                </a:lnTo>
                <a:lnTo>
                  <a:pt x="270562" y="37578"/>
                </a:lnTo>
                <a:lnTo>
                  <a:pt x="115239" y="110229"/>
                </a:lnTo>
                <a:lnTo>
                  <a:pt x="98529" y="117990"/>
                </a:lnTo>
                <a:lnTo>
                  <a:pt x="0" y="137787"/>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41" name="Freeform 40"/>
          <p:cNvSpPr/>
          <p:nvPr/>
        </p:nvSpPr>
        <p:spPr>
          <a:xfrm>
            <a:off x="8129755" y="2497391"/>
            <a:ext cx="78239" cy="127772"/>
          </a:xfrm>
          <a:custGeom>
            <a:avLst/>
            <a:gdLst>
              <a:gd name="connsiteX0" fmla="*/ 0 w 71437"/>
              <a:gd name="connsiteY0" fmla="*/ 21431 h 123825"/>
              <a:gd name="connsiteX1" fmla="*/ 26193 w 71437"/>
              <a:gd name="connsiteY1" fmla="*/ 69056 h 123825"/>
              <a:gd name="connsiteX2" fmla="*/ 23812 w 71437"/>
              <a:gd name="connsiteY2" fmla="*/ 95250 h 123825"/>
              <a:gd name="connsiteX3" fmla="*/ 42862 w 71437"/>
              <a:gd name="connsiteY3" fmla="*/ 123825 h 123825"/>
              <a:gd name="connsiteX4" fmla="*/ 66675 w 71437"/>
              <a:gd name="connsiteY4" fmla="*/ 100013 h 123825"/>
              <a:gd name="connsiteX5" fmla="*/ 71437 w 71437"/>
              <a:gd name="connsiteY5" fmla="*/ 76200 h 123825"/>
              <a:gd name="connsiteX6" fmla="*/ 66675 w 71437"/>
              <a:gd name="connsiteY6" fmla="*/ 57150 h 123825"/>
              <a:gd name="connsiteX7" fmla="*/ 71437 w 71437"/>
              <a:gd name="connsiteY7" fmla="*/ 38100 h 123825"/>
              <a:gd name="connsiteX8" fmla="*/ 50006 w 71437"/>
              <a:gd name="connsiteY8" fmla="*/ 0 h 123825"/>
              <a:gd name="connsiteX9" fmla="*/ 0 w 71437"/>
              <a:gd name="connsiteY9" fmla="*/ 21431 h 123825"/>
              <a:gd name="connsiteX0" fmla="*/ 0 w 71437"/>
              <a:gd name="connsiteY0" fmla="*/ 28575 h 130969"/>
              <a:gd name="connsiteX1" fmla="*/ 26193 w 71437"/>
              <a:gd name="connsiteY1" fmla="*/ 76200 h 130969"/>
              <a:gd name="connsiteX2" fmla="*/ 23812 w 71437"/>
              <a:gd name="connsiteY2" fmla="*/ 102394 h 130969"/>
              <a:gd name="connsiteX3" fmla="*/ 42862 w 71437"/>
              <a:gd name="connsiteY3" fmla="*/ 130969 h 130969"/>
              <a:gd name="connsiteX4" fmla="*/ 66675 w 71437"/>
              <a:gd name="connsiteY4" fmla="*/ 107157 h 130969"/>
              <a:gd name="connsiteX5" fmla="*/ 71437 w 71437"/>
              <a:gd name="connsiteY5" fmla="*/ 83344 h 130969"/>
              <a:gd name="connsiteX6" fmla="*/ 66675 w 71437"/>
              <a:gd name="connsiteY6" fmla="*/ 64294 h 130969"/>
              <a:gd name="connsiteX7" fmla="*/ 71437 w 71437"/>
              <a:gd name="connsiteY7" fmla="*/ 45244 h 130969"/>
              <a:gd name="connsiteX8" fmla="*/ 42862 w 71437"/>
              <a:gd name="connsiteY8" fmla="*/ 0 h 130969"/>
              <a:gd name="connsiteX9" fmla="*/ 0 w 71437"/>
              <a:gd name="connsiteY9" fmla="*/ 28575 h 130969"/>
              <a:gd name="connsiteX0" fmla="*/ 0 w 80962"/>
              <a:gd name="connsiteY0" fmla="*/ 26194 h 130969"/>
              <a:gd name="connsiteX1" fmla="*/ 35718 w 80962"/>
              <a:gd name="connsiteY1" fmla="*/ 76200 h 130969"/>
              <a:gd name="connsiteX2" fmla="*/ 33337 w 80962"/>
              <a:gd name="connsiteY2" fmla="*/ 102394 h 130969"/>
              <a:gd name="connsiteX3" fmla="*/ 52387 w 80962"/>
              <a:gd name="connsiteY3" fmla="*/ 130969 h 130969"/>
              <a:gd name="connsiteX4" fmla="*/ 76200 w 80962"/>
              <a:gd name="connsiteY4" fmla="*/ 107157 h 130969"/>
              <a:gd name="connsiteX5" fmla="*/ 80962 w 80962"/>
              <a:gd name="connsiteY5" fmla="*/ 83344 h 130969"/>
              <a:gd name="connsiteX6" fmla="*/ 76200 w 80962"/>
              <a:gd name="connsiteY6" fmla="*/ 64294 h 130969"/>
              <a:gd name="connsiteX7" fmla="*/ 80962 w 80962"/>
              <a:gd name="connsiteY7" fmla="*/ 45244 h 130969"/>
              <a:gd name="connsiteX8" fmla="*/ 52387 w 80962"/>
              <a:gd name="connsiteY8" fmla="*/ 0 h 130969"/>
              <a:gd name="connsiteX9" fmla="*/ 0 w 80962"/>
              <a:gd name="connsiteY9" fmla="*/ 26194 h 130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0962" h="130969">
                <a:moveTo>
                  <a:pt x="0" y="26194"/>
                </a:moveTo>
                <a:lnTo>
                  <a:pt x="35718" y="76200"/>
                </a:lnTo>
                <a:lnTo>
                  <a:pt x="33337" y="102394"/>
                </a:lnTo>
                <a:lnTo>
                  <a:pt x="52387" y="130969"/>
                </a:lnTo>
                <a:lnTo>
                  <a:pt x="76200" y="107157"/>
                </a:lnTo>
                <a:lnTo>
                  <a:pt x="80962" y="83344"/>
                </a:lnTo>
                <a:lnTo>
                  <a:pt x="76200" y="64294"/>
                </a:lnTo>
                <a:lnTo>
                  <a:pt x="80962" y="45244"/>
                </a:lnTo>
                <a:lnTo>
                  <a:pt x="52387" y="0"/>
                </a:lnTo>
                <a:lnTo>
                  <a:pt x="0" y="26194"/>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42" name="Freeform 41"/>
          <p:cNvSpPr/>
          <p:nvPr/>
        </p:nvSpPr>
        <p:spPr>
          <a:xfrm>
            <a:off x="7911909" y="2523560"/>
            <a:ext cx="265401" cy="233992"/>
          </a:xfrm>
          <a:custGeom>
            <a:avLst/>
            <a:gdLst>
              <a:gd name="connsiteX0" fmla="*/ 0 w 273844"/>
              <a:gd name="connsiteY0" fmla="*/ 85725 h 235743"/>
              <a:gd name="connsiteX1" fmla="*/ 11906 w 273844"/>
              <a:gd name="connsiteY1" fmla="*/ 142875 h 235743"/>
              <a:gd name="connsiteX2" fmla="*/ 64294 w 273844"/>
              <a:gd name="connsiteY2" fmla="*/ 235743 h 235743"/>
              <a:gd name="connsiteX3" fmla="*/ 109538 w 273844"/>
              <a:gd name="connsiteY3" fmla="*/ 214312 h 235743"/>
              <a:gd name="connsiteX4" fmla="*/ 121444 w 273844"/>
              <a:gd name="connsiteY4" fmla="*/ 192881 h 235743"/>
              <a:gd name="connsiteX5" fmla="*/ 145256 w 273844"/>
              <a:gd name="connsiteY5" fmla="*/ 164306 h 235743"/>
              <a:gd name="connsiteX6" fmla="*/ 188119 w 273844"/>
              <a:gd name="connsiteY6" fmla="*/ 161925 h 235743"/>
              <a:gd name="connsiteX7" fmla="*/ 207169 w 273844"/>
              <a:gd name="connsiteY7" fmla="*/ 152400 h 235743"/>
              <a:gd name="connsiteX8" fmla="*/ 216694 w 273844"/>
              <a:gd name="connsiteY8" fmla="*/ 126206 h 235743"/>
              <a:gd name="connsiteX9" fmla="*/ 269081 w 273844"/>
              <a:gd name="connsiteY9" fmla="*/ 111918 h 235743"/>
              <a:gd name="connsiteX10" fmla="*/ 273844 w 273844"/>
              <a:gd name="connsiteY10" fmla="*/ 102393 h 235743"/>
              <a:gd name="connsiteX11" fmla="*/ 259556 w 273844"/>
              <a:gd name="connsiteY11" fmla="*/ 69056 h 235743"/>
              <a:gd name="connsiteX12" fmla="*/ 259556 w 273844"/>
              <a:gd name="connsiteY12" fmla="*/ 30956 h 235743"/>
              <a:gd name="connsiteX13" fmla="*/ 223838 w 273844"/>
              <a:gd name="connsiteY13" fmla="*/ 0 h 235743"/>
              <a:gd name="connsiteX14" fmla="*/ 0 w 273844"/>
              <a:gd name="connsiteY14" fmla="*/ 85725 h 235743"/>
              <a:gd name="connsiteX0" fmla="*/ 0 w 273844"/>
              <a:gd name="connsiteY0" fmla="*/ 92893 h 242911"/>
              <a:gd name="connsiteX1" fmla="*/ 11906 w 273844"/>
              <a:gd name="connsiteY1" fmla="*/ 150043 h 242911"/>
              <a:gd name="connsiteX2" fmla="*/ 64294 w 273844"/>
              <a:gd name="connsiteY2" fmla="*/ 242911 h 242911"/>
              <a:gd name="connsiteX3" fmla="*/ 109538 w 273844"/>
              <a:gd name="connsiteY3" fmla="*/ 221480 h 242911"/>
              <a:gd name="connsiteX4" fmla="*/ 121444 w 273844"/>
              <a:gd name="connsiteY4" fmla="*/ 200049 h 242911"/>
              <a:gd name="connsiteX5" fmla="*/ 145256 w 273844"/>
              <a:gd name="connsiteY5" fmla="*/ 171474 h 242911"/>
              <a:gd name="connsiteX6" fmla="*/ 188119 w 273844"/>
              <a:gd name="connsiteY6" fmla="*/ 169093 h 242911"/>
              <a:gd name="connsiteX7" fmla="*/ 207169 w 273844"/>
              <a:gd name="connsiteY7" fmla="*/ 159568 h 242911"/>
              <a:gd name="connsiteX8" fmla="*/ 216694 w 273844"/>
              <a:gd name="connsiteY8" fmla="*/ 133374 h 242911"/>
              <a:gd name="connsiteX9" fmla="*/ 269081 w 273844"/>
              <a:gd name="connsiteY9" fmla="*/ 119086 h 242911"/>
              <a:gd name="connsiteX10" fmla="*/ 273844 w 273844"/>
              <a:gd name="connsiteY10" fmla="*/ 109561 h 242911"/>
              <a:gd name="connsiteX11" fmla="*/ 259556 w 273844"/>
              <a:gd name="connsiteY11" fmla="*/ 76224 h 242911"/>
              <a:gd name="connsiteX12" fmla="*/ 259556 w 273844"/>
              <a:gd name="connsiteY12" fmla="*/ 38124 h 242911"/>
              <a:gd name="connsiteX13" fmla="*/ 219089 w 273844"/>
              <a:gd name="connsiteY13" fmla="*/ 0 h 242911"/>
              <a:gd name="connsiteX14" fmla="*/ 0 w 273844"/>
              <a:gd name="connsiteY14" fmla="*/ 92893 h 242911"/>
              <a:gd name="connsiteX0" fmla="*/ 0 w 273844"/>
              <a:gd name="connsiteY0" fmla="*/ 92893 h 242911"/>
              <a:gd name="connsiteX1" fmla="*/ 2409 w 273844"/>
              <a:gd name="connsiteY1" fmla="*/ 150043 h 242911"/>
              <a:gd name="connsiteX2" fmla="*/ 64294 w 273844"/>
              <a:gd name="connsiteY2" fmla="*/ 242911 h 242911"/>
              <a:gd name="connsiteX3" fmla="*/ 109538 w 273844"/>
              <a:gd name="connsiteY3" fmla="*/ 221480 h 242911"/>
              <a:gd name="connsiteX4" fmla="*/ 121444 w 273844"/>
              <a:gd name="connsiteY4" fmla="*/ 200049 h 242911"/>
              <a:gd name="connsiteX5" fmla="*/ 145256 w 273844"/>
              <a:gd name="connsiteY5" fmla="*/ 171474 h 242911"/>
              <a:gd name="connsiteX6" fmla="*/ 188119 w 273844"/>
              <a:gd name="connsiteY6" fmla="*/ 169093 h 242911"/>
              <a:gd name="connsiteX7" fmla="*/ 207169 w 273844"/>
              <a:gd name="connsiteY7" fmla="*/ 159568 h 242911"/>
              <a:gd name="connsiteX8" fmla="*/ 216694 w 273844"/>
              <a:gd name="connsiteY8" fmla="*/ 133374 h 242911"/>
              <a:gd name="connsiteX9" fmla="*/ 269081 w 273844"/>
              <a:gd name="connsiteY9" fmla="*/ 119086 h 242911"/>
              <a:gd name="connsiteX10" fmla="*/ 273844 w 273844"/>
              <a:gd name="connsiteY10" fmla="*/ 109561 h 242911"/>
              <a:gd name="connsiteX11" fmla="*/ 259556 w 273844"/>
              <a:gd name="connsiteY11" fmla="*/ 76224 h 242911"/>
              <a:gd name="connsiteX12" fmla="*/ 259556 w 273844"/>
              <a:gd name="connsiteY12" fmla="*/ 38124 h 242911"/>
              <a:gd name="connsiteX13" fmla="*/ 219089 w 273844"/>
              <a:gd name="connsiteY13" fmla="*/ 0 h 242911"/>
              <a:gd name="connsiteX14" fmla="*/ 0 w 273844"/>
              <a:gd name="connsiteY14" fmla="*/ 92893 h 24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73844" h="242911">
                <a:moveTo>
                  <a:pt x="0" y="92893"/>
                </a:moveTo>
                <a:lnTo>
                  <a:pt x="2409" y="150043"/>
                </a:lnTo>
                <a:lnTo>
                  <a:pt x="64294" y="242911"/>
                </a:lnTo>
                <a:lnTo>
                  <a:pt x="109538" y="221480"/>
                </a:lnTo>
                <a:lnTo>
                  <a:pt x="121444" y="200049"/>
                </a:lnTo>
                <a:lnTo>
                  <a:pt x="145256" y="171474"/>
                </a:lnTo>
                <a:lnTo>
                  <a:pt x="188119" y="169093"/>
                </a:lnTo>
                <a:lnTo>
                  <a:pt x="207169" y="159568"/>
                </a:lnTo>
                <a:lnTo>
                  <a:pt x="216694" y="133374"/>
                </a:lnTo>
                <a:lnTo>
                  <a:pt x="269081" y="119086"/>
                </a:lnTo>
                <a:lnTo>
                  <a:pt x="273844" y="109561"/>
                </a:lnTo>
                <a:lnTo>
                  <a:pt x="259556" y="76224"/>
                </a:lnTo>
                <a:lnTo>
                  <a:pt x="259556" y="38124"/>
                </a:lnTo>
                <a:lnTo>
                  <a:pt x="219089" y="0"/>
                </a:lnTo>
                <a:lnTo>
                  <a:pt x="0" y="92893"/>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43" name="Freeform 42"/>
          <p:cNvSpPr/>
          <p:nvPr/>
        </p:nvSpPr>
        <p:spPr>
          <a:xfrm>
            <a:off x="7746228" y="2783722"/>
            <a:ext cx="211706" cy="443354"/>
          </a:xfrm>
          <a:custGeom>
            <a:avLst/>
            <a:gdLst>
              <a:gd name="connsiteX0" fmla="*/ 21431 w 219075"/>
              <a:gd name="connsiteY0" fmla="*/ 0 h 457200"/>
              <a:gd name="connsiteX1" fmla="*/ 7144 w 219075"/>
              <a:gd name="connsiteY1" fmla="*/ 64294 h 457200"/>
              <a:gd name="connsiteX2" fmla="*/ 0 w 219075"/>
              <a:gd name="connsiteY2" fmla="*/ 97631 h 457200"/>
              <a:gd name="connsiteX3" fmla="*/ 14288 w 219075"/>
              <a:gd name="connsiteY3" fmla="*/ 138113 h 457200"/>
              <a:gd name="connsiteX4" fmla="*/ 16669 w 219075"/>
              <a:gd name="connsiteY4" fmla="*/ 176213 h 457200"/>
              <a:gd name="connsiteX5" fmla="*/ 45244 w 219075"/>
              <a:gd name="connsiteY5" fmla="*/ 185738 h 457200"/>
              <a:gd name="connsiteX6" fmla="*/ 88106 w 219075"/>
              <a:gd name="connsiteY6" fmla="*/ 200025 h 457200"/>
              <a:gd name="connsiteX7" fmla="*/ 90488 w 219075"/>
              <a:gd name="connsiteY7" fmla="*/ 242888 h 457200"/>
              <a:gd name="connsiteX8" fmla="*/ 52388 w 219075"/>
              <a:gd name="connsiteY8" fmla="*/ 302419 h 457200"/>
              <a:gd name="connsiteX9" fmla="*/ 30956 w 219075"/>
              <a:gd name="connsiteY9" fmla="*/ 350044 h 457200"/>
              <a:gd name="connsiteX10" fmla="*/ 42863 w 219075"/>
              <a:gd name="connsiteY10" fmla="*/ 383381 h 457200"/>
              <a:gd name="connsiteX11" fmla="*/ 83344 w 219075"/>
              <a:gd name="connsiteY11" fmla="*/ 400050 h 457200"/>
              <a:gd name="connsiteX12" fmla="*/ 126206 w 219075"/>
              <a:gd name="connsiteY12" fmla="*/ 407194 h 457200"/>
              <a:gd name="connsiteX13" fmla="*/ 130969 w 219075"/>
              <a:gd name="connsiteY13" fmla="*/ 435769 h 457200"/>
              <a:gd name="connsiteX14" fmla="*/ 150019 w 219075"/>
              <a:gd name="connsiteY14" fmla="*/ 457200 h 457200"/>
              <a:gd name="connsiteX15" fmla="*/ 161925 w 219075"/>
              <a:gd name="connsiteY15" fmla="*/ 438150 h 457200"/>
              <a:gd name="connsiteX16" fmla="*/ 166688 w 219075"/>
              <a:gd name="connsiteY16" fmla="*/ 397669 h 457200"/>
              <a:gd name="connsiteX17" fmla="*/ 171450 w 219075"/>
              <a:gd name="connsiteY17" fmla="*/ 383381 h 457200"/>
              <a:gd name="connsiteX18" fmla="*/ 183356 w 219075"/>
              <a:gd name="connsiteY18" fmla="*/ 354806 h 457200"/>
              <a:gd name="connsiteX19" fmla="*/ 185738 w 219075"/>
              <a:gd name="connsiteY19" fmla="*/ 311944 h 457200"/>
              <a:gd name="connsiteX20" fmla="*/ 202406 w 219075"/>
              <a:gd name="connsiteY20" fmla="*/ 283369 h 457200"/>
              <a:gd name="connsiteX21" fmla="*/ 200025 w 219075"/>
              <a:gd name="connsiteY21" fmla="*/ 264319 h 457200"/>
              <a:gd name="connsiteX22" fmla="*/ 216694 w 219075"/>
              <a:gd name="connsiteY22" fmla="*/ 207169 h 457200"/>
              <a:gd name="connsiteX23" fmla="*/ 219075 w 219075"/>
              <a:gd name="connsiteY23" fmla="*/ 169069 h 457200"/>
              <a:gd name="connsiteX24" fmla="*/ 192881 w 219075"/>
              <a:gd name="connsiteY24" fmla="*/ 145256 h 457200"/>
              <a:gd name="connsiteX25" fmla="*/ 171450 w 219075"/>
              <a:gd name="connsiteY25" fmla="*/ 147638 h 457200"/>
              <a:gd name="connsiteX26" fmla="*/ 166688 w 219075"/>
              <a:gd name="connsiteY26" fmla="*/ 138113 h 457200"/>
              <a:gd name="connsiteX27" fmla="*/ 159544 w 219075"/>
              <a:gd name="connsiteY27" fmla="*/ 119063 h 457200"/>
              <a:gd name="connsiteX28" fmla="*/ 171450 w 219075"/>
              <a:gd name="connsiteY28" fmla="*/ 73819 h 457200"/>
              <a:gd name="connsiteX29" fmla="*/ 192881 w 219075"/>
              <a:gd name="connsiteY29" fmla="*/ 38100 h 457200"/>
              <a:gd name="connsiteX30" fmla="*/ 164306 w 219075"/>
              <a:gd name="connsiteY30" fmla="*/ 16669 h 457200"/>
              <a:gd name="connsiteX31" fmla="*/ 111919 w 219075"/>
              <a:gd name="connsiteY31" fmla="*/ 21431 h 457200"/>
              <a:gd name="connsiteX32" fmla="*/ 21431 w 219075"/>
              <a:gd name="connsiteY32" fmla="*/ 0 h 457200"/>
              <a:gd name="connsiteX0" fmla="*/ 11906 w 219075"/>
              <a:gd name="connsiteY0" fmla="*/ 0 h 457200"/>
              <a:gd name="connsiteX1" fmla="*/ 7144 w 219075"/>
              <a:gd name="connsiteY1" fmla="*/ 64294 h 457200"/>
              <a:gd name="connsiteX2" fmla="*/ 0 w 219075"/>
              <a:gd name="connsiteY2" fmla="*/ 97631 h 457200"/>
              <a:gd name="connsiteX3" fmla="*/ 14288 w 219075"/>
              <a:gd name="connsiteY3" fmla="*/ 138113 h 457200"/>
              <a:gd name="connsiteX4" fmla="*/ 16669 w 219075"/>
              <a:gd name="connsiteY4" fmla="*/ 176213 h 457200"/>
              <a:gd name="connsiteX5" fmla="*/ 45244 w 219075"/>
              <a:gd name="connsiteY5" fmla="*/ 185738 h 457200"/>
              <a:gd name="connsiteX6" fmla="*/ 88106 w 219075"/>
              <a:gd name="connsiteY6" fmla="*/ 200025 h 457200"/>
              <a:gd name="connsiteX7" fmla="*/ 90488 w 219075"/>
              <a:gd name="connsiteY7" fmla="*/ 242888 h 457200"/>
              <a:gd name="connsiteX8" fmla="*/ 52388 w 219075"/>
              <a:gd name="connsiteY8" fmla="*/ 302419 h 457200"/>
              <a:gd name="connsiteX9" fmla="*/ 30956 w 219075"/>
              <a:gd name="connsiteY9" fmla="*/ 350044 h 457200"/>
              <a:gd name="connsiteX10" fmla="*/ 42863 w 219075"/>
              <a:gd name="connsiteY10" fmla="*/ 383381 h 457200"/>
              <a:gd name="connsiteX11" fmla="*/ 83344 w 219075"/>
              <a:gd name="connsiteY11" fmla="*/ 400050 h 457200"/>
              <a:gd name="connsiteX12" fmla="*/ 126206 w 219075"/>
              <a:gd name="connsiteY12" fmla="*/ 407194 h 457200"/>
              <a:gd name="connsiteX13" fmla="*/ 130969 w 219075"/>
              <a:gd name="connsiteY13" fmla="*/ 435769 h 457200"/>
              <a:gd name="connsiteX14" fmla="*/ 150019 w 219075"/>
              <a:gd name="connsiteY14" fmla="*/ 457200 h 457200"/>
              <a:gd name="connsiteX15" fmla="*/ 161925 w 219075"/>
              <a:gd name="connsiteY15" fmla="*/ 438150 h 457200"/>
              <a:gd name="connsiteX16" fmla="*/ 166688 w 219075"/>
              <a:gd name="connsiteY16" fmla="*/ 397669 h 457200"/>
              <a:gd name="connsiteX17" fmla="*/ 171450 w 219075"/>
              <a:gd name="connsiteY17" fmla="*/ 383381 h 457200"/>
              <a:gd name="connsiteX18" fmla="*/ 183356 w 219075"/>
              <a:gd name="connsiteY18" fmla="*/ 354806 h 457200"/>
              <a:gd name="connsiteX19" fmla="*/ 185738 w 219075"/>
              <a:gd name="connsiteY19" fmla="*/ 311944 h 457200"/>
              <a:gd name="connsiteX20" fmla="*/ 202406 w 219075"/>
              <a:gd name="connsiteY20" fmla="*/ 283369 h 457200"/>
              <a:gd name="connsiteX21" fmla="*/ 200025 w 219075"/>
              <a:gd name="connsiteY21" fmla="*/ 264319 h 457200"/>
              <a:gd name="connsiteX22" fmla="*/ 216694 w 219075"/>
              <a:gd name="connsiteY22" fmla="*/ 207169 h 457200"/>
              <a:gd name="connsiteX23" fmla="*/ 219075 w 219075"/>
              <a:gd name="connsiteY23" fmla="*/ 169069 h 457200"/>
              <a:gd name="connsiteX24" fmla="*/ 192881 w 219075"/>
              <a:gd name="connsiteY24" fmla="*/ 145256 h 457200"/>
              <a:gd name="connsiteX25" fmla="*/ 171450 w 219075"/>
              <a:gd name="connsiteY25" fmla="*/ 147638 h 457200"/>
              <a:gd name="connsiteX26" fmla="*/ 166688 w 219075"/>
              <a:gd name="connsiteY26" fmla="*/ 138113 h 457200"/>
              <a:gd name="connsiteX27" fmla="*/ 159544 w 219075"/>
              <a:gd name="connsiteY27" fmla="*/ 119063 h 457200"/>
              <a:gd name="connsiteX28" fmla="*/ 171450 w 219075"/>
              <a:gd name="connsiteY28" fmla="*/ 73819 h 457200"/>
              <a:gd name="connsiteX29" fmla="*/ 192881 w 219075"/>
              <a:gd name="connsiteY29" fmla="*/ 38100 h 457200"/>
              <a:gd name="connsiteX30" fmla="*/ 164306 w 219075"/>
              <a:gd name="connsiteY30" fmla="*/ 16669 h 457200"/>
              <a:gd name="connsiteX31" fmla="*/ 111919 w 219075"/>
              <a:gd name="connsiteY31" fmla="*/ 21431 h 457200"/>
              <a:gd name="connsiteX32" fmla="*/ 11906 w 219075"/>
              <a:gd name="connsiteY32" fmla="*/ 0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19075" h="457200">
                <a:moveTo>
                  <a:pt x="11906" y="0"/>
                </a:moveTo>
                <a:lnTo>
                  <a:pt x="7144" y="64294"/>
                </a:lnTo>
                <a:lnTo>
                  <a:pt x="0" y="97631"/>
                </a:lnTo>
                <a:lnTo>
                  <a:pt x="14288" y="138113"/>
                </a:lnTo>
                <a:lnTo>
                  <a:pt x="16669" y="176213"/>
                </a:lnTo>
                <a:lnTo>
                  <a:pt x="45244" y="185738"/>
                </a:lnTo>
                <a:lnTo>
                  <a:pt x="88106" y="200025"/>
                </a:lnTo>
                <a:lnTo>
                  <a:pt x="90488" y="242888"/>
                </a:lnTo>
                <a:lnTo>
                  <a:pt x="52388" y="302419"/>
                </a:lnTo>
                <a:lnTo>
                  <a:pt x="30956" y="350044"/>
                </a:lnTo>
                <a:lnTo>
                  <a:pt x="42863" y="383381"/>
                </a:lnTo>
                <a:lnTo>
                  <a:pt x="83344" y="400050"/>
                </a:lnTo>
                <a:lnTo>
                  <a:pt x="126206" y="407194"/>
                </a:lnTo>
                <a:lnTo>
                  <a:pt x="130969" y="435769"/>
                </a:lnTo>
                <a:lnTo>
                  <a:pt x="150019" y="457200"/>
                </a:lnTo>
                <a:lnTo>
                  <a:pt x="161925" y="438150"/>
                </a:lnTo>
                <a:lnTo>
                  <a:pt x="166688" y="397669"/>
                </a:lnTo>
                <a:lnTo>
                  <a:pt x="171450" y="383381"/>
                </a:lnTo>
                <a:lnTo>
                  <a:pt x="183356" y="354806"/>
                </a:lnTo>
                <a:lnTo>
                  <a:pt x="185738" y="311944"/>
                </a:lnTo>
                <a:lnTo>
                  <a:pt x="202406" y="283369"/>
                </a:lnTo>
                <a:lnTo>
                  <a:pt x="200025" y="264319"/>
                </a:lnTo>
                <a:lnTo>
                  <a:pt x="216694" y="207169"/>
                </a:lnTo>
                <a:lnTo>
                  <a:pt x="219075" y="169069"/>
                </a:lnTo>
                <a:lnTo>
                  <a:pt x="192881" y="145256"/>
                </a:lnTo>
                <a:lnTo>
                  <a:pt x="171450" y="147638"/>
                </a:lnTo>
                <a:lnTo>
                  <a:pt x="166688" y="138113"/>
                </a:lnTo>
                <a:lnTo>
                  <a:pt x="159544" y="119063"/>
                </a:lnTo>
                <a:lnTo>
                  <a:pt x="171450" y="73819"/>
                </a:lnTo>
                <a:lnTo>
                  <a:pt x="192881" y="38100"/>
                </a:lnTo>
                <a:lnTo>
                  <a:pt x="164306" y="16669"/>
                </a:lnTo>
                <a:lnTo>
                  <a:pt x="111919" y="21431"/>
                </a:lnTo>
                <a:lnTo>
                  <a:pt x="11906" y="0"/>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44" name="Freeform 43"/>
          <p:cNvSpPr/>
          <p:nvPr/>
        </p:nvSpPr>
        <p:spPr>
          <a:xfrm>
            <a:off x="7735490" y="3117778"/>
            <a:ext cx="148807" cy="243229"/>
          </a:xfrm>
          <a:custGeom>
            <a:avLst/>
            <a:gdLst>
              <a:gd name="connsiteX0" fmla="*/ 0 w 154781"/>
              <a:gd name="connsiteY0" fmla="*/ 0 h 235744"/>
              <a:gd name="connsiteX1" fmla="*/ 30956 w 154781"/>
              <a:gd name="connsiteY1" fmla="*/ 66675 h 235744"/>
              <a:gd name="connsiteX2" fmla="*/ 28575 w 154781"/>
              <a:gd name="connsiteY2" fmla="*/ 85725 h 235744"/>
              <a:gd name="connsiteX3" fmla="*/ 52387 w 154781"/>
              <a:gd name="connsiteY3" fmla="*/ 126206 h 235744"/>
              <a:gd name="connsiteX4" fmla="*/ 47625 w 154781"/>
              <a:gd name="connsiteY4" fmla="*/ 142875 h 235744"/>
              <a:gd name="connsiteX5" fmla="*/ 66675 w 154781"/>
              <a:gd name="connsiteY5" fmla="*/ 183356 h 235744"/>
              <a:gd name="connsiteX6" fmla="*/ 69056 w 154781"/>
              <a:gd name="connsiteY6" fmla="*/ 207169 h 235744"/>
              <a:gd name="connsiteX7" fmla="*/ 78581 w 154781"/>
              <a:gd name="connsiteY7" fmla="*/ 235744 h 235744"/>
              <a:gd name="connsiteX8" fmla="*/ 92869 w 154781"/>
              <a:gd name="connsiteY8" fmla="*/ 221456 h 235744"/>
              <a:gd name="connsiteX9" fmla="*/ 114300 w 154781"/>
              <a:gd name="connsiteY9" fmla="*/ 214312 h 235744"/>
              <a:gd name="connsiteX10" fmla="*/ 114300 w 154781"/>
              <a:gd name="connsiteY10" fmla="*/ 214312 h 235744"/>
              <a:gd name="connsiteX11" fmla="*/ 152400 w 154781"/>
              <a:gd name="connsiteY11" fmla="*/ 195262 h 235744"/>
              <a:gd name="connsiteX12" fmla="*/ 154781 w 154781"/>
              <a:gd name="connsiteY12" fmla="*/ 159544 h 235744"/>
              <a:gd name="connsiteX13" fmla="*/ 147637 w 154781"/>
              <a:gd name="connsiteY13" fmla="*/ 135731 h 235744"/>
              <a:gd name="connsiteX14" fmla="*/ 128587 w 154781"/>
              <a:gd name="connsiteY14" fmla="*/ 119062 h 235744"/>
              <a:gd name="connsiteX15" fmla="*/ 121444 w 154781"/>
              <a:gd name="connsiteY15" fmla="*/ 126206 h 235744"/>
              <a:gd name="connsiteX16" fmla="*/ 102394 w 154781"/>
              <a:gd name="connsiteY16" fmla="*/ 116681 h 235744"/>
              <a:gd name="connsiteX17" fmla="*/ 83344 w 154781"/>
              <a:gd name="connsiteY17" fmla="*/ 95250 h 235744"/>
              <a:gd name="connsiteX18" fmla="*/ 71437 w 154781"/>
              <a:gd name="connsiteY18" fmla="*/ 76200 h 235744"/>
              <a:gd name="connsiteX19" fmla="*/ 45244 w 154781"/>
              <a:gd name="connsiteY19" fmla="*/ 33337 h 235744"/>
              <a:gd name="connsiteX20" fmla="*/ 0 w 154781"/>
              <a:gd name="connsiteY20" fmla="*/ 0 h 235744"/>
              <a:gd name="connsiteX0" fmla="*/ 0 w 154781"/>
              <a:gd name="connsiteY0" fmla="*/ 14288 h 250032"/>
              <a:gd name="connsiteX1" fmla="*/ 30956 w 154781"/>
              <a:gd name="connsiteY1" fmla="*/ 80963 h 250032"/>
              <a:gd name="connsiteX2" fmla="*/ 28575 w 154781"/>
              <a:gd name="connsiteY2" fmla="*/ 100013 h 250032"/>
              <a:gd name="connsiteX3" fmla="*/ 52387 w 154781"/>
              <a:gd name="connsiteY3" fmla="*/ 140494 h 250032"/>
              <a:gd name="connsiteX4" fmla="*/ 47625 w 154781"/>
              <a:gd name="connsiteY4" fmla="*/ 157163 h 250032"/>
              <a:gd name="connsiteX5" fmla="*/ 66675 w 154781"/>
              <a:gd name="connsiteY5" fmla="*/ 197644 h 250032"/>
              <a:gd name="connsiteX6" fmla="*/ 69056 w 154781"/>
              <a:gd name="connsiteY6" fmla="*/ 221457 h 250032"/>
              <a:gd name="connsiteX7" fmla="*/ 78581 w 154781"/>
              <a:gd name="connsiteY7" fmla="*/ 250032 h 250032"/>
              <a:gd name="connsiteX8" fmla="*/ 92869 w 154781"/>
              <a:gd name="connsiteY8" fmla="*/ 235744 h 250032"/>
              <a:gd name="connsiteX9" fmla="*/ 114300 w 154781"/>
              <a:gd name="connsiteY9" fmla="*/ 228600 h 250032"/>
              <a:gd name="connsiteX10" fmla="*/ 114300 w 154781"/>
              <a:gd name="connsiteY10" fmla="*/ 228600 h 250032"/>
              <a:gd name="connsiteX11" fmla="*/ 152400 w 154781"/>
              <a:gd name="connsiteY11" fmla="*/ 209550 h 250032"/>
              <a:gd name="connsiteX12" fmla="*/ 154781 w 154781"/>
              <a:gd name="connsiteY12" fmla="*/ 173832 h 250032"/>
              <a:gd name="connsiteX13" fmla="*/ 147637 w 154781"/>
              <a:gd name="connsiteY13" fmla="*/ 150019 h 250032"/>
              <a:gd name="connsiteX14" fmla="*/ 128587 w 154781"/>
              <a:gd name="connsiteY14" fmla="*/ 133350 h 250032"/>
              <a:gd name="connsiteX15" fmla="*/ 121444 w 154781"/>
              <a:gd name="connsiteY15" fmla="*/ 140494 h 250032"/>
              <a:gd name="connsiteX16" fmla="*/ 102394 w 154781"/>
              <a:gd name="connsiteY16" fmla="*/ 130969 h 250032"/>
              <a:gd name="connsiteX17" fmla="*/ 83344 w 154781"/>
              <a:gd name="connsiteY17" fmla="*/ 109538 h 250032"/>
              <a:gd name="connsiteX18" fmla="*/ 71437 w 154781"/>
              <a:gd name="connsiteY18" fmla="*/ 90488 h 250032"/>
              <a:gd name="connsiteX19" fmla="*/ 30957 w 154781"/>
              <a:gd name="connsiteY19" fmla="*/ 0 h 250032"/>
              <a:gd name="connsiteX20" fmla="*/ 0 w 154781"/>
              <a:gd name="connsiteY20" fmla="*/ 14288 h 250032"/>
              <a:gd name="connsiteX0" fmla="*/ 0 w 154793"/>
              <a:gd name="connsiteY0" fmla="*/ 14288 h 250032"/>
              <a:gd name="connsiteX1" fmla="*/ 30956 w 154793"/>
              <a:gd name="connsiteY1" fmla="*/ 80963 h 250032"/>
              <a:gd name="connsiteX2" fmla="*/ 28575 w 154793"/>
              <a:gd name="connsiteY2" fmla="*/ 100013 h 250032"/>
              <a:gd name="connsiteX3" fmla="*/ 52387 w 154793"/>
              <a:gd name="connsiteY3" fmla="*/ 140494 h 250032"/>
              <a:gd name="connsiteX4" fmla="*/ 47625 w 154793"/>
              <a:gd name="connsiteY4" fmla="*/ 157163 h 250032"/>
              <a:gd name="connsiteX5" fmla="*/ 66675 w 154793"/>
              <a:gd name="connsiteY5" fmla="*/ 197644 h 250032"/>
              <a:gd name="connsiteX6" fmla="*/ 69056 w 154793"/>
              <a:gd name="connsiteY6" fmla="*/ 221457 h 250032"/>
              <a:gd name="connsiteX7" fmla="*/ 78581 w 154793"/>
              <a:gd name="connsiteY7" fmla="*/ 250032 h 250032"/>
              <a:gd name="connsiteX8" fmla="*/ 92869 w 154793"/>
              <a:gd name="connsiteY8" fmla="*/ 235744 h 250032"/>
              <a:gd name="connsiteX9" fmla="*/ 114300 w 154793"/>
              <a:gd name="connsiteY9" fmla="*/ 228600 h 250032"/>
              <a:gd name="connsiteX10" fmla="*/ 114300 w 154793"/>
              <a:gd name="connsiteY10" fmla="*/ 228600 h 250032"/>
              <a:gd name="connsiteX11" fmla="*/ 154793 w 154793"/>
              <a:gd name="connsiteY11" fmla="*/ 230914 h 250032"/>
              <a:gd name="connsiteX12" fmla="*/ 154781 w 154793"/>
              <a:gd name="connsiteY12" fmla="*/ 173832 h 250032"/>
              <a:gd name="connsiteX13" fmla="*/ 147637 w 154793"/>
              <a:gd name="connsiteY13" fmla="*/ 150019 h 250032"/>
              <a:gd name="connsiteX14" fmla="*/ 128587 w 154793"/>
              <a:gd name="connsiteY14" fmla="*/ 133350 h 250032"/>
              <a:gd name="connsiteX15" fmla="*/ 121444 w 154793"/>
              <a:gd name="connsiteY15" fmla="*/ 140494 h 250032"/>
              <a:gd name="connsiteX16" fmla="*/ 102394 w 154793"/>
              <a:gd name="connsiteY16" fmla="*/ 130969 h 250032"/>
              <a:gd name="connsiteX17" fmla="*/ 83344 w 154793"/>
              <a:gd name="connsiteY17" fmla="*/ 109538 h 250032"/>
              <a:gd name="connsiteX18" fmla="*/ 71437 w 154793"/>
              <a:gd name="connsiteY18" fmla="*/ 90488 h 250032"/>
              <a:gd name="connsiteX19" fmla="*/ 30957 w 154793"/>
              <a:gd name="connsiteY19" fmla="*/ 0 h 250032"/>
              <a:gd name="connsiteX20" fmla="*/ 0 w 154793"/>
              <a:gd name="connsiteY20" fmla="*/ 14288 h 250032"/>
              <a:gd name="connsiteX0" fmla="*/ 0 w 154793"/>
              <a:gd name="connsiteY0" fmla="*/ 14288 h 250032"/>
              <a:gd name="connsiteX1" fmla="*/ 30956 w 154793"/>
              <a:gd name="connsiteY1" fmla="*/ 80963 h 250032"/>
              <a:gd name="connsiteX2" fmla="*/ 28575 w 154793"/>
              <a:gd name="connsiteY2" fmla="*/ 100013 h 250032"/>
              <a:gd name="connsiteX3" fmla="*/ 52387 w 154793"/>
              <a:gd name="connsiteY3" fmla="*/ 140494 h 250032"/>
              <a:gd name="connsiteX4" fmla="*/ 47625 w 154793"/>
              <a:gd name="connsiteY4" fmla="*/ 157163 h 250032"/>
              <a:gd name="connsiteX5" fmla="*/ 66675 w 154793"/>
              <a:gd name="connsiteY5" fmla="*/ 197644 h 250032"/>
              <a:gd name="connsiteX6" fmla="*/ 69056 w 154793"/>
              <a:gd name="connsiteY6" fmla="*/ 221457 h 250032"/>
              <a:gd name="connsiteX7" fmla="*/ 78581 w 154793"/>
              <a:gd name="connsiteY7" fmla="*/ 250032 h 250032"/>
              <a:gd name="connsiteX8" fmla="*/ 92869 w 154793"/>
              <a:gd name="connsiteY8" fmla="*/ 235744 h 250032"/>
              <a:gd name="connsiteX9" fmla="*/ 114300 w 154793"/>
              <a:gd name="connsiteY9" fmla="*/ 228600 h 250032"/>
              <a:gd name="connsiteX10" fmla="*/ 116694 w 154793"/>
              <a:gd name="connsiteY10" fmla="*/ 242843 h 250032"/>
              <a:gd name="connsiteX11" fmla="*/ 154793 w 154793"/>
              <a:gd name="connsiteY11" fmla="*/ 230914 h 250032"/>
              <a:gd name="connsiteX12" fmla="*/ 154781 w 154793"/>
              <a:gd name="connsiteY12" fmla="*/ 173832 h 250032"/>
              <a:gd name="connsiteX13" fmla="*/ 147637 w 154793"/>
              <a:gd name="connsiteY13" fmla="*/ 150019 h 250032"/>
              <a:gd name="connsiteX14" fmla="*/ 128587 w 154793"/>
              <a:gd name="connsiteY14" fmla="*/ 133350 h 250032"/>
              <a:gd name="connsiteX15" fmla="*/ 121444 w 154793"/>
              <a:gd name="connsiteY15" fmla="*/ 140494 h 250032"/>
              <a:gd name="connsiteX16" fmla="*/ 102394 w 154793"/>
              <a:gd name="connsiteY16" fmla="*/ 130969 h 250032"/>
              <a:gd name="connsiteX17" fmla="*/ 83344 w 154793"/>
              <a:gd name="connsiteY17" fmla="*/ 109538 h 250032"/>
              <a:gd name="connsiteX18" fmla="*/ 71437 w 154793"/>
              <a:gd name="connsiteY18" fmla="*/ 90488 h 250032"/>
              <a:gd name="connsiteX19" fmla="*/ 30957 w 154793"/>
              <a:gd name="connsiteY19" fmla="*/ 0 h 250032"/>
              <a:gd name="connsiteX20" fmla="*/ 0 w 154793"/>
              <a:gd name="connsiteY20" fmla="*/ 14288 h 25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4793" h="250032">
                <a:moveTo>
                  <a:pt x="0" y="14288"/>
                </a:moveTo>
                <a:lnTo>
                  <a:pt x="30956" y="80963"/>
                </a:lnTo>
                <a:lnTo>
                  <a:pt x="28575" y="100013"/>
                </a:lnTo>
                <a:lnTo>
                  <a:pt x="52387" y="140494"/>
                </a:lnTo>
                <a:lnTo>
                  <a:pt x="47625" y="157163"/>
                </a:lnTo>
                <a:lnTo>
                  <a:pt x="66675" y="197644"/>
                </a:lnTo>
                <a:lnTo>
                  <a:pt x="69056" y="221457"/>
                </a:lnTo>
                <a:lnTo>
                  <a:pt x="78581" y="250032"/>
                </a:lnTo>
                <a:lnTo>
                  <a:pt x="92869" y="235744"/>
                </a:lnTo>
                <a:lnTo>
                  <a:pt x="114300" y="228600"/>
                </a:lnTo>
                <a:lnTo>
                  <a:pt x="116694" y="242843"/>
                </a:lnTo>
                <a:lnTo>
                  <a:pt x="154793" y="230914"/>
                </a:lnTo>
                <a:cubicBezTo>
                  <a:pt x="154789" y="211887"/>
                  <a:pt x="154785" y="192859"/>
                  <a:pt x="154781" y="173832"/>
                </a:cubicBezTo>
                <a:lnTo>
                  <a:pt x="147637" y="150019"/>
                </a:lnTo>
                <a:lnTo>
                  <a:pt x="128587" y="133350"/>
                </a:lnTo>
                <a:lnTo>
                  <a:pt x="121444" y="140494"/>
                </a:lnTo>
                <a:lnTo>
                  <a:pt x="102394" y="130969"/>
                </a:lnTo>
                <a:lnTo>
                  <a:pt x="83344" y="109538"/>
                </a:lnTo>
                <a:lnTo>
                  <a:pt x="71437" y="90488"/>
                </a:lnTo>
                <a:lnTo>
                  <a:pt x="30957" y="0"/>
                </a:lnTo>
                <a:lnTo>
                  <a:pt x="0" y="14288"/>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45" name="Freeform 44"/>
          <p:cNvSpPr/>
          <p:nvPr/>
        </p:nvSpPr>
        <p:spPr>
          <a:xfrm>
            <a:off x="6844177" y="3160883"/>
            <a:ext cx="642789" cy="705055"/>
          </a:xfrm>
          <a:custGeom>
            <a:avLst/>
            <a:gdLst>
              <a:gd name="connsiteX0" fmla="*/ 190500 w 664369"/>
              <a:gd name="connsiteY0" fmla="*/ 0 h 704850"/>
              <a:gd name="connsiteX1" fmla="*/ 195263 w 664369"/>
              <a:gd name="connsiteY1" fmla="*/ 73819 h 704850"/>
              <a:gd name="connsiteX2" fmla="*/ 195263 w 664369"/>
              <a:gd name="connsiteY2" fmla="*/ 178594 h 704850"/>
              <a:gd name="connsiteX3" fmla="*/ 147638 w 664369"/>
              <a:gd name="connsiteY3" fmla="*/ 264319 h 704850"/>
              <a:gd name="connsiteX4" fmla="*/ 111919 w 664369"/>
              <a:gd name="connsiteY4" fmla="*/ 285750 h 704850"/>
              <a:gd name="connsiteX5" fmla="*/ 92869 w 664369"/>
              <a:gd name="connsiteY5" fmla="*/ 297657 h 704850"/>
              <a:gd name="connsiteX6" fmla="*/ 90488 w 664369"/>
              <a:gd name="connsiteY6" fmla="*/ 326232 h 704850"/>
              <a:gd name="connsiteX7" fmla="*/ 102394 w 664369"/>
              <a:gd name="connsiteY7" fmla="*/ 330994 h 704850"/>
              <a:gd name="connsiteX8" fmla="*/ 100013 w 664369"/>
              <a:gd name="connsiteY8" fmla="*/ 354807 h 704850"/>
              <a:gd name="connsiteX9" fmla="*/ 104775 w 664369"/>
              <a:gd name="connsiteY9" fmla="*/ 369094 h 704850"/>
              <a:gd name="connsiteX10" fmla="*/ 83344 w 664369"/>
              <a:gd name="connsiteY10" fmla="*/ 388144 h 704850"/>
              <a:gd name="connsiteX11" fmla="*/ 80963 w 664369"/>
              <a:gd name="connsiteY11" fmla="*/ 392907 h 704850"/>
              <a:gd name="connsiteX12" fmla="*/ 69056 w 664369"/>
              <a:gd name="connsiteY12" fmla="*/ 369094 h 704850"/>
              <a:gd name="connsiteX13" fmla="*/ 45244 w 664369"/>
              <a:gd name="connsiteY13" fmla="*/ 381000 h 704850"/>
              <a:gd name="connsiteX14" fmla="*/ 45244 w 664369"/>
              <a:gd name="connsiteY14" fmla="*/ 421482 h 704850"/>
              <a:gd name="connsiteX15" fmla="*/ 52388 w 664369"/>
              <a:gd name="connsiteY15" fmla="*/ 438150 h 704850"/>
              <a:gd name="connsiteX16" fmla="*/ 0 w 664369"/>
              <a:gd name="connsiteY16" fmla="*/ 502444 h 704850"/>
              <a:gd name="connsiteX17" fmla="*/ 33338 w 664369"/>
              <a:gd name="connsiteY17" fmla="*/ 607219 h 704850"/>
              <a:gd name="connsiteX18" fmla="*/ 88106 w 664369"/>
              <a:gd name="connsiteY18" fmla="*/ 642938 h 704850"/>
              <a:gd name="connsiteX19" fmla="*/ 104775 w 664369"/>
              <a:gd name="connsiteY19" fmla="*/ 638175 h 704850"/>
              <a:gd name="connsiteX20" fmla="*/ 152400 w 664369"/>
              <a:gd name="connsiteY20" fmla="*/ 685800 h 704850"/>
              <a:gd name="connsiteX21" fmla="*/ 169069 w 664369"/>
              <a:gd name="connsiteY21" fmla="*/ 685800 h 704850"/>
              <a:gd name="connsiteX22" fmla="*/ 214313 w 664369"/>
              <a:gd name="connsiteY22" fmla="*/ 704850 h 704850"/>
              <a:gd name="connsiteX23" fmla="*/ 230981 w 664369"/>
              <a:gd name="connsiteY23" fmla="*/ 666750 h 704850"/>
              <a:gd name="connsiteX24" fmla="*/ 264319 w 664369"/>
              <a:gd name="connsiteY24" fmla="*/ 647700 h 704850"/>
              <a:gd name="connsiteX25" fmla="*/ 285750 w 664369"/>
              <a:gd name="connsiteY25" fmla="*/ 645319 h 704850"/>
              <a:gd name="connsiteX26" fmla="*/ 352425 w 664369"/>
              <a:gd name="connsiteY26" fmla="*/ 604838 h 704850"/>
              <a:gd name="connsiteX27" fmla="*/ 369094 w 664369"/>
              <a:gd name="connsiteY27" fmla="*/ 597694 h 704850"/>
              <a:gd name="connsiteX28" fmla="*/ 366713 w 664369"/>
              <a:gd name="connsiteY28" fmla="*/ 559594 h 704850"/>
              <a:gd name="connsiteX29" fmla="*/ 369094 w 664369"/>
              <a:gd name="connsiteY29" fmla="*/ 528638 h 704850"/>
              <a:gd name="connsiteX30" fmla="*/ 373856 w 664369"/>
              <a:gd name="connsiteY30" fmla="*/ 497682 h 704850"/>
              <a:gd name="connsiteX31" fmla="*/ 381000 w 664369"/>
              <a:gd name="connsiteY31" fmla="*/ 473869 h 704850"/>
              <a:gd name="connsiteX32" fmla="*/ 407194 w 664369"/>
              <a:gd name="connsiteY32" fmla="*/ 435769 h 704850"/>
              <a:gd name="connsiteX33" fmla="*/ 428625 w 664369"/>
              <a:gd name="connsiteY33" fmla="*/ 385763 h 704850"/>
              <a:gd name="connsiteX34" fmla="*/ 428625 w 664369"/>
              <a:gd name="connsiteY34" fmla="*/ 385763 h 704850"/>
              <a:gd name="connsiteX35" fmla="*/ 476250 w 664369"/>
              <a:gd name="connsiteY35" fmla="*/ 354807 h 704850"/>
              <a:gd name="connsiteX36" fmla="*/ 502444 w 664369"/>
              <a:gd name="connsiteY36" fmla="*/ 330994 h 704850"/>
              <a:gd name="connsiteX37" fmla="*/ 507206 w 664369"/>
              <a:gd name="connsiteY37" fmla="*/ 292894 h 704850"/>
              <a:gd name="connsiteX38" fmla="*/ 573881 w 664369"/>
              <a:gd name="connsiteY38" fmla="*/ 188119 h 704850"/>
              <a:gd name="connsiteX39" fmla="*/ 571500 w 664369"/>
              <a:gd name="connsiteY39" fmla="*/ 169069 h 704850"/>
              <a:gd name="connsiteX40" fmla="*/ 573881 w 664369"/>
              <a:gd name="connsiteY40" fmla="*/ 159544 h 704850"/>
              <a:gd name="connsiteX41" fmla="*/ 614363 w 664369"/>
              <a:gd name="connsiteY41" fmla="*/ 150019 h 704850"/>
              <a:gd name="connsiteX42" fmla="*/ 628650 w 664369"/>
              <a:gd name="connsiteY42" fmla="*/ 159544 h 704850"/>
              <a:gd name="connsiteX43" fmla="*/ 647700 w 664369"/>
              <a:gd name="connsiteY43" fmla="*/ 161925 h 704850"/>
              <a:gd name="connsiteX44" fmla="*/ 659606 w 664369"/>
              <a:gd name="connsiteY44" fmla="*/ 133350 h 704850"/>
              <a:gd name="connsiteX45" fmla="*/ 664369 w 664369"/>
              <a:gd name="connsiteY45" fmla="*/ 119063 h 704850"/>
              <a:gd name="connsiteX46" fmla="*/ 645319 w 664369"/>
              <a:gd name="connsiteY46" fmla="*/ 104775 h 704850"/>
              <a:gd name="connsiteX47" fmla="*/ 642938 w 664369"/>
              <a:gd name="connsiteY47" fmla="*/ 92869 h 704850"/>
              <a:gd name="connsiteX48" fmla="*/ 621506 w 664369"/>
              <a:gd name="connsiteY48" fmla="*/ 83344 h 704850"/>
              <a:gd name="connsiteX49" fmla="*/ 590550 w 664369"/>
              <a:gd name="connsiteY49" fmla="*/ 88107 h 704850"/>
              <a:gd name="connsiteX50" fmla="*/ 573881 w 664369"/>
              <a:gd name="connsiteY50" fmla="*/ 104775 h 704850"/>
              <a:gd name="connsiteX51" fmla="*/ 564356 w 664369"/>
              <a:gd name="connsiteY51" fmla="*/ 116682 h 704850"/>
              <a:gd name="connsiteX52" fmla="*/ 547688 w 664369"/>
              <a:gd name="connsiteY52" fmla="*/ 126207 h 704850"/>
              <a:gd name="connsiteX53" fmla="*/ 528638 w 664369"/>
              <a:gd name="connsiteY53" fmla="*/ 133350 h 704850"/>
              <a:gd name="connsiteX54" fmla="*/ 516731 w 664369"/>
              <a:gd name="connsiteY54" fmla="*/ 128588 h 704850"/>
              <a:gd name="connsiteX55" fmla="*/ 502444 w 664369"/>
              <a:gd name="connsiteY55" fmla="*/ 128588 h 704850"/>
              <a:gd name="connsiteX56" fmla="*/ 495300 w 664369"/>
              <a:gd name="connsiteY56" fmla="*/ 121444 h 704850"/>
              <a:gd name="connsiteX57" fmla="*/ 478631 w 664369"/>
              <a:gd name="connsiteY57" fmla="*/ 164307 h 704850"/>
              <a:gd name="connsiteX58" fmla="*/ 469106 w 664369"/>
              <a:gd name="connsiteY58" fmla="*/ 173832 h 704850"/>
              <a:gd name="connsiteX59" fmla="*/ 459581 w 664369"/>
              <a:gd name="connsiteY59" fmla="*/ 173832 h 704850"/>
              <a:gd name="connsiteX60" fmla="*/ 459581 w 664369"/>
              <a:gd name="connsiteY60" fmla="*/ 173832 h 704850"/>
              <a:gd name="connsiteX61" fmla="*/ 445294 w 664369"/>
              <a:gd name="connsiteY61" fmla="*/ 188119 h 704850"/>
              <a:gd name="connsiteX62" fmla="*/ 431006 w 664369"/>
              <a:gd name="connsiteY62" fmla="*/ 200025 h 704850"/>
              <a:gd name="connsiteX63" fmla="*/ 421481 w 664369"/>
              <a:gd name="connsiteY63" fmla="*/ 207169 h 704850"/>
              <a:gd name="connsiteX64" fmla="*/ 411956 w 664369"/>
              <a:gd name="connsiteY64" fmla="*/ 185738 h 704850"/>
              <a:gd name="connsiteX65" fmla="*/ 397669 w 664369"/>
              <a:gd name="connsiteY65" fmla="*/ 164307 h 704850"/>
              <a:gd name="connsiteX66" fmla="*/ 385763 w 664369"/>
              <a:gd name="connsiteY66" fmla="*/ 145257 h 704850"/>
              <a:gd name="connsiteX67" fmla="*/ 247650 w 664369"/>
              <a:gd name="connsiteY67" fmla="*/ 180975 h 704850"/>
              <a:gd name="connsiteX68" fmla="*/ 190500 w 664369"/>
              <a:gd name="connsiteY68" fmla="*/ 0 h 704850"/>
              <a:gd name="connsiteX0" fmla="*/ 190500 w 664369"/>
              <a:gd name="connsiteY0" fmla="*/ 0 h 704850"/>
              <a:gd name="connsiteX1" fmla="*/ 195263 w 664369"/>
              <a:gd name="connsiteY1" fmla="*/ 73819 h 704850"/>
              <a:gd name="connsiteX2" fmla="*/ 195263 w 664369"/>
              <a:gd name="connsiteY2" fmla="*/ 178594 h 704850"/>
              <a:gd name="connsiteX3" fmla="*/ 147638 w 664369"/>
              <a:gd name="connsiteY3" fmla="*/ 264319 h 704850"/>
              <a:gd name="connsiteX4" fmla="*/ 111919 w 664369"/>
              <a:gd name="connsiteY4" fmla="*/ 285750 h 704850"/>
              <a:gd name="connsiteX5" fmla="*/ 92869 w 664369"/>
              <a:gd name="connsiteY5" fmla="*/ 297657 h 704850"/>
              <a:gd name="connsiteX6" fmla="*/ 90488 w 664369"/>
              <a:gd name="connsiteY6" fmla="*/ 326232 h 704850"/>
              <a:gd name="connsiteX7" fmla="*/ 102394 w 664369"/>
              <a:gd name="connsiteY7" fmla="*/ 330994 h 704850"/>
              <a:gd name="connsiteX8" fmla="*/ 100013 w 664369"/>
              <a:gd name="connsiteY8" fmla="*/ 354807 h 704850"/>
              <a:gd name="connsiteX9" fmla="*/ 104775 w 664369"/>
              <a:gd name="connsiteY9" fmla="*/ 369094 h 704850"/>
              <a:gd name="connsiteX10" fmla="*/ 83344 w 664369"/>
              <a:gd name="connsiteY10" fmla="*/ 388144 h 704850"/>
              <a:gd name="connsiteX11" fmla="*/ 80963 w 664369"/>
              <a:gd name="connsiteY11" fmla="*/ 392907 h 704850"/>
              <a:gd name="connsiteX12" fmla="*/ 69056 w 664369"/>
              <a:gd name="connsiteY12" fmla="*/ 369094 h 704850"/>
              <a:gd name="connsiteX13" fmla="*/ 45244 w 664369"/>
              <a:gd name="connsiteY13" fmla="*/ 381000 h 704850"/>
              <a:gd name="connsiteX14" fmla="*/ 45244 w 664369"/>
              <a:gd name="connsiteY14" fmla="*/ 421482 h 704850"/>
              <a:gd name="connsiteX15" fmla="*/ 52388 w 664369"/>
              <a:gd name="connsiteY15" fmla="*/ 438150 h 704850"/>
              <a:gd name="connsiteX16" fmla="*/ 0 w 664369"/>
              <a:gd name="connsiteY16" fmla="*/ 502444 h 704850"/>
              <a:gd name="connsiteX17" fmla="*/ 33338 w 664369"/>
              <a:gd name="connsiteY17" fmla="*/ 607219 h 704850"/>
              <a:gd name="connsiteX18" fmla="*/ 88106 w 664369"/>
              <a:gd name="connsiteY18" fmla="*/ 642938 h 704850"/>
              <a:gd name="connsiteX19" fmla="*/ 104775 w 664369"/>
              <a:gd name="connsiteY19" fmla="*/ 638175 h 704850"/>
              <a:gd name="connsiteX20" fmla="*/ 152400 w 664369"/>
              <a:gd name="connsiteY20" fmla="*/ 685800 h 704850"/>
              <a:gd name="connsiteX21" fmla="*/ 169069 w 664369"/>
              <a:gd name="connsiteY21" fmla="*/ 685800 h 704850"/>
              <a:gd name="connsiteX22" fmla="*/ 214313 w 664369"/>
              <a:gd name="connsiteY22" fmla="*/ 704850 h 704850"/>
              <a:gd name="connsiteX23" fmla="*/ 230981 w 664369"/>
              <a:gd name="connsiteY23" fmla="*/ 666750 h 704850"/>
              <a:gd name="connsiteX24" fmla="*/ 264319 w 664369"/>
              <a:gd name="connsiteY24" fmla="*/ 647700 h 704850"/>
              <a:gd name="connsiteX25" fmla="*/ 285750 w 664369"/>
              <a:gd name="connsiteY25" fmla="*/ 645319 h 704850"/>
              <a:gd name="connsiteX26" fmla="*/ 352425 w 664369"/>
              <a:gd name="connsiteY26" fmla="*/ 604838 h 704850"/>
              <a:gd name="connsiteX27" fmla="*/ 369094 w 664369"/>
              <a:gd name="connsiteY27" fmla="*/ 597694 h 704850"/>
              <a:gd name="connsiteX28" fmla="*/ 366713 w 664369"/>
              <a:gd name="connsiteY28" fmla="*/ 559594 h 704850"/>
              <a:gd name="connsiteX29" fmla="*/ 369094 w 664369"/>
              <a:gd name="connsiteY29" fmla="*/ 528638 h 704850"/>
              <a:gd name="connsiteX30" fmla="*/ 373856 w 664369"/>
              <a:gd name="connsiteY30" fmla="*/ 497682 h 704850"/>
              <a:gd name="connsiteX31" fmla="*/ 381000 w 664369"/>
              <a:gd name="connsiteY31" fmla="*/ 473869 h 704850"/>
              <a:gd name="connsiteX32" fmla="*/ 407194 w 664369"/>
              <a:gd name="connsiteY32" fmla="*/ 435769 h 704850"/>
              <a:gd name="connsiteX33" fmla="*/ 428625 w 664369"/>
              <a:gd name="connsiteY33" fmla="*/ 385763 h 704850"/>
              <a:gd name="connsiteX34" fmla="*/ 428625 w 664369"/>
              <a:gd name="connsiteY34" fmla="*/ 385763 h 704850"/>
              <a:gd name="connsiteX35" fmla="*/ 476250 w 664369"/>
              <a:gd name="connsiteY35" fmla="*/ 354807 h 704850"/>
              <a:gd name="connsiteX36" fmla="*/ 502444 w 664369"/>
              <a:gd name="connsiteY36" fmla="*/ 330994 h 704850"/>
              <a:gd name="connsiteX37" fmla="*/ 507206 w 664369"/>
              <a:gd name="connsiteY37" fmla="*/ 292894 h 704850"/>
              <a:gd name="connsiteX38" fmla="*/ 573881 w 664369"/>
              <a:gd name="connsiteY38" fmla="*/ 188119 h 704850"/>
              <a:gd name="connsiteX39" fmla="*/ 571500 w 664369"/>
              <a:gd name="connsiteY39" fmla="*/ 169069 h 704850"/>
              <a:gd name="connsiteX40" fmla="*/ 573881 w 664369"/>
              <a:gd name="connsiteY40" fmla="*/ 159544 h 704850"/>
              <a:gd name="connsiteX41" fmla="*/ 614363 w 664369"/>
              <a:gd name="connsiteY41" fmla="*/ 150019 h 704850"/>
              <a:gd name="connsiteX42" fmla="*/ 628650 w 664369"/>
              <a:gd name="connsiteY42" fmla="*/ 159544 h 704850"/>
              <a:gd name="connsiteX43" fmla="*/ 647700 w 664369"/>
              <a:gd name="connsiteY43" fmla="*/ 161925 h 704850"/>
              <a:gd name="connsiteX44" fmla="*/ 659606 w 664369"/>
              <a:gd name="connsiteY44" fmla="*/ 133350 h 704850"/>
              <a:gd name="connsiteX45" fmla="*/ 664369 w 664369"/>
              <a:gd name="connsiteY45" fmla="*/ 119063 h 704850"/>
              <a:gd name="connsiteX46" fmla="*/ 645319 w 664369"/>
              <a:gd name="connsiteY46" fmla="*/ 104775 h 704850"/>
              <a:gd name="connsiteX47" fmla="*/ 642938 w 664369"/>
              <a:gd name="connsiteY47" fmla="*/ 92869 h 704850"/>
              <a:gd name="connsiteX48" fmla="*/ 621506 w 664369"/>
              <a:gd name="connsiteY48" fmla="*/ 83344 h 704850"/>
              <a:gd name="connsiteX49" fmla="*/ 590550 w 664369"/>
              <a:gd name="connsiteY49" fmla="*/ 88107 h 704850"/>
              <a:gd name="connsiteX50" fmla="*/ 573881 w 664369"/>
              <a:gd name="connsiteY50" fmla="*/ 104775 h 704850"/>
              <a:gd name="connsiteX51" fmla="*/ 564356 w 664369"/>
              <a:gd name="connsiteY51" fmla="*/ 116682 h 704850"/>
              <a:gd name="connsiteX52" fmla="*/ 547688 w 664369"/>
              <a:gd name="connsiteY52" fmla="*/ 126207 h 704850"/>
              <a:gd name="connsiteX53" fmla="*/ 528638 w 664369"/>
              <a:gd name="connsiteY53" fmla="*/ 133350 h 704850"/>
              <a:gd name="connsiteX54" fmla="*/ 516731 w 664369"/>
              <a:gd name="connsiteY54" fmla="*/ 128588 h 704850"/>
              <a:gd name="connsiteX55" fmla="*/ 502444 w 664369"/>
              <a:gd name="connsiteY55" fmla="*/ 128588 h 704850"/>
              <a:gd name="connsiteX56" fmla="*/ 495300 w 664369"/>
              <a:gd name="connsiteY56" fmla="*/ 121444 h 704850"/>
              <a:gd name="connsiteX57" fmla="*/ 478631 w 664369"/>
              <a:gd name="connsiteY57" fmla="*/ 164307 h 704850"/>
              <a:gd name="connsiteX58" fmla="*/ 469106 w 664369"/>
              <a:gd name="connsiteY58" fmla="*/ 173832 h 704850"/>
              <a:gd name="connsiteX59" fmla="*/ 459581 w 664369"/>
              <a:gd name="connsiteY59" fmla="*/ 173832 h 704850"/>
              <a:gd name="connsiteX60" fmla="*/ 459581 w 664369"/>
              <a:gd name="connsiteY60" fmla="*/ 173832 h 704850"/>
              <a:gd name="connsiteX61" fmla="*/ 445294 w 664369"/>
              <a:gd name="connsiteY61" fmla="*/ 188119 h 704850"/>
              <a:gd name="connsiteX62" fmla="*/ 431006 w 664369"/>
              <a:gd name="connsiteY62" fmla="*/ 200025 h 704850"/>
              <a:gd name="connsiteX63" fmla="*/ 421481 w 664369"/>
              <a:gd name="connsiteY63" fmla="*/ 207169 h 704850"/>
              <a:gd name="connsiteX64" fmla="*/ 411956 w 664369"/>
              <a:gd name="connsiteY64" fmla="*/ 185738 h 704850"/>
              <a:gd name="connsiteX65" fmla="*/ 397669 w 664369"/>
              <a:gd name="connsiteY65" fmla="*/ 164307 h 704850"/>
              <a:gd name="connsiteX66" fmla="*/ 385763 w 664369"/>
              <a:gd name="connsiteY66" fmla="*/ 145257 h 704850"/>
              <a:gd name="connsiteX67" fmla="*/ 247650 w 664369"/>
              <a:gd name="connsiteY67" fmla="*/ 180975 h 704850"/>
              <a:gd name="connsiteX68" fmla="*/ 204788 w 664369"/>
              <a:gd name="connsiteY68" fmla="*/ 54769 h 704850"/>
              <a:gd name="connsiteX69" fmla="*/ 190500 w 664369"/>
              <a:gd name="connsiteY69" fmla="*/ 0 h 704850"/>
              <a:gd name="connsiteX0" fmla="*/ 190500 w 664369"/>
              <a:gd name="connsiteY0" fmla="*/ 4762 h 709612"/>
              <a:gd name="connsiteX1" fmla="*/ 195263 w 664369"/>
              <a:gd name="connsiteY1" fmla="*/ 78581 h 709612"/>
              <a:gd name="connsiteX2" fmla="*/ 195263 w 664369"/>
              <a:gd name="connsiteY2" fmla="*/ 183356 h 709612"/>
              <a:gd name="connsiteX3" fmla="*/ 147638 w 664369"/>
              <a:gd name="connsiteY3" fmla="*/ 269081 h 709612"/>
              <a:gd name="connsiteX4" fmla="*/ 111919 w 664369"/>
              <a:gd name="connsiteY4" fmla="*/ 290512 h 709612"/>
              <a:gd name="connsiteX5" fmla="*/ 92869 w 664369"/>
              <a:gd name="connsiteY5" fmla="*/ 302419 h 709612"/>
              <a:gd name="connsiteX6" fmla="*/ 90488 w 664369"/>
              <a:gd name="connsiteY6" fmla="*/ 330994 h 709612"/>
              <a:gd name="connsiteX7" fmla="*/ 102394 w 664369"/>
              <a:gd name="connsiteY7" fmla="*/ 335756 h 709612"/>
              <a:gd name="connsiteX8" fmla="*/ 100013 w 664369"/>
              <a:gd name="connsiteY8" fmla="*/ 359569 h 709612"/>
              <a:gd name="connsiteX9" fmla="*/ 104775 w 664369"/>
              <a:gd name="connsiteY9" fmla="*/ 373856 h 709612"/>
              <a:gd name="connsiteX10" fmla="*/ 83344 w 664369"/>
              <a:gd name="connsiteY10" fmla="*/ 392906 h 709612"/>
              <a:gd name="connsiteX11" fmla="*/ 80963 w 664369"/>
              <a:gd name="connsiteY11" fmla="*/ 397669 h 709612"/>
              <a:gd name="connsiteX12" fmla="*/ 69056 w 664369"/>
              <a:gd name="connsiteY12" fmla="*/ 373856 h 709612"/>
              <a:gd name="connsiteX13" fmla="*/ 45244 w 664369"/>
              <a:gd name="connsiteY13" fmla="*/ 385762 h 709612"/>
              <a:gd name="connsiteX14" fmla="*/ 45244 w 664369"/>
              <a:gd name="connsiteY14" fmla="*/ 426244 h 709612"/>
              <a:gd name="connsiteX15" fmla="*/ 52388 w 664369"/>
              <a:gd name="connsiteY15" fmla="*/ 442912 h 709612"/>
              <a:gd name="connsiteX16" fmla="*/ 0 w 664369"/>
              <a:gd name="connsiteY16" fmla="*/ 507206 h 709612"/>
              <a:gd name="connsiteX17" fmla="*/ 33338 w 664369"/>
              <a:gd name="connsiteY17" fmla="*/ 611981 h 709612"/>
              <a:gd name="connsiteX18" fmla="*/ 88106 w 664369"/>
              <a:gd name="connsiteY18" fmla="*/ 647700 h 709612"/>
              <a:gd name="connsiteX19" fmla="*/ 104775 w 664369"/>
              <a:gd name="connsiteY19" fmla="*/ 642937 h 709612"/>
              <a:gd name="connsiteX20" fmla="*/ 152400 w 664369"/>
              <a:gd name="connsiteY20" fmla="*/ 690562 h 709612"/>
              <a:gd name="connsiteX21" fmla="*/ 169069 w 664369"/>
              <a:gd name="connsiteY21" fmla="*/ 690562 h 709612"/>
              <a:gd name="connsiteX22" fmla="*/ 214313 w 664369"/>
              <a:gd name="connsiteY22" fmla="*/ 709612 h 709612"/>
              <a:gd name="connsiteX23" fmla="*/ 230981 w 664369"/>
              <a:gd name="connsiteY23" fmla="*/ 671512 h 709612"/>
              <a:gd name="connsiteX24" fmla="*/ 264319 w 664369"/>
              <a:gd name="connsiteY24" fmla="*/ 652462 h 709612"/>
              <a:gd name="connsiteX25" fmla="*/ 285750 w 664369"/>
              <a:gd name="connsiteY25" fmla="*/ 650081 h 709612"/>
              <a:gd name="connsiteX26" fmla="*/ 352425 w 664369"/>
              <a:gd name="connsiteY26" fmla="*/ 609600 h 709612"/>
              <a:gd name="connsiteX27" fmla="*/ 369094 w 664369"/>
              <a:gd name="connsiteY27" fmla="*/ 602456 h 709612"/>
              <a:gd name="connsiteX28" fmla="*/ 366713 w 664369"/>
              <a:gd name="connsiteY28" fmla="*/ 564356 h 709612"/>
              <a:gd name="connsiteX29" fmla="*/ 369094 w 664369"/>
              <a:gd name="connsiteY29" fmla="*/ 533400 h 709612"/>
              <a:gd name="connsiteX30" fmla="*/ 373856 w 664369"/>
              <a:gd name="connsiteY30" fmla="*/ 502444 h 709612"/>
              <a:gd name="connsiteX31" fmla="*/ 381000 w 664369"/>
              <a:gd name="connsiteY31" fmla="*/ 478631 h 709612"/>
              <a:gd name="connsiteX32" fmla="*/ 407194 w 664369"/>
              <a:gd name="connsiteY32" fmla="*/ 440531 h 709612"/>
              <a:gd name="connsiteX33" fmla="*/ 428625 w 664369"/>
              <a:gd name="connsiteY33" fmla="*/ 390525 h 709612"/>
              <a:gd name="connsiteX34" fmla="*/ 428625 w 664369"/>
              <a:gd name="connsiteY34" fmla="*/ 390525 h 709612"/>
              <a:gd name="connsiteX35" fmla="*/ 476250 w 664369"/>
              <a:gd name="connsiteY35" fmla="*/ 359569 h 709612"/>
              <a:gd name="connsiteX36" fmla="*/ 502444 w 664369"/>
              <a:gd name="connsiteY36" fmla="*/ 335756 h 709612"/>
              <a:gd name="connsiteX37" fmla="*/ 507206 w 664369"/>
              <a:gd name="connsiteY37" fmla="*/ 297656 h 709612"/>
              <a:gd name="connsiteX38" fmla="*/ 573881 w 664369"/>
              <a:gd name="connsiteY38" fmla="*/ 192881 h 709612"/>
              <a:gd name="connsiteX39" fmla="*/ 571500 w 664369"/>
              <a:gd name="connsiteY39" fmla="*/ 173831 h 709612"/>
              <a:gd name="connsiteX40" fmla="*/ 573881 w 664369"/>
              <a:gd name="connsiteY40" fmla="*/ 164306 h 709612"/>
              <a:gd name="connsiteX41" fmla="*/ 614363 w 664369"/>
              <a:gd name="connsiteY41" fmla="*/ 154781 h 709612"/>
              <a:gd name="connsiteX42" fmla="*/ 628650 w 664369"/>
              <a:gd name="connsiteY42" fmla="*/ 164306 h 709612"/>
              <a:gd name="connsiteX43" fmla="*/ 647700 w 664369"/>
              <a:gd name="connsiteY43" fmla="*/ 166687 h 709612"/>
              <a:gd name="connsiteX44" fmla="*/ 659606 w 664369"/>
              <a:gd name="connsiteY44" fmla="*/ 138112 h 709612"/>
              <a:gd name="connsiteX45" fmla="*/ 664369 w 664369"/>
              <a:gd name="connsiteY45" fmla="*/ 123825 h 709612"/>
              <a:gd name="connsiteX46" fmla="*/ 645319 w 664369"/>
              <a:gd name="connsiteY46" fmla="*/ 109537 h 709612"/>
              <a:gd name="connsiteX47" fmla="*/ 642938 w 664369"/>
              <a:gd name="connsiteY47" fmla="*/ 97631 h 709612"/>
              <a:gd name="connsiteX48" fmla="*/ 621506 w 664369"/>
              <a:gd name="connsiteY48" fmla="*/ 88106 h 709612"/>
              <a:gd name="connsiteX49" fmla="*/ 590550 w 664369"/>
              <a:gd name="connsiteY49" fmla="*/ 92869 h 709612"/>
              <a:gd name="connsiteX50" fmla="*/ 573881 w 664369"/>
              <a:gd name="connsiteY50" fmla="*/ 109537 h 709612"/>
              <a:gd name="connsiteX51" fmla="*/ 564356 w 664369"/>
              <a:gd name="connsiteY51" fmla="*/ 121444 h 709612"/>
              <a:gd name="connsiteX52" fmla="*/ 547688 w 664369"/>
              <a:gd name="connsiteY52" fmla="*/ 130969 h 709612"/>
              <a:gd name="connsiteX53" fmla="*/ 528638 w 664369"/>
              <a:gd name="connsiteY53" fmla="*/ 138112 h 709612"/>
              <a:gd name="connsiteX54" fmla="*/ 516731 w 664369"/>
              <a:gd name="connsiteY54" fmla="*/ 133350 h 709612"/>
              <a:gd name="connsiteX55" fmla="*/ 502444 w 664369"/>
              <a:gd name="connsiteY55" fmla="*/ 133350 h 709612"/>
              <a:gd name="connsiteX56" fmla="*/ 495300 w 664369"/>
              <a:gd name="connsiteY56" fmla="*/ 126206 h 709612"/>
              <a:gd name="connsiteX57" fmla="*/ 478631 w 664369"/>
              <a:gd name="connsiteY57" fmla="*/ 169069 h 709612"/>
              <a:gd name="connsiteX58" fmla="*/ 469106 w 664369"/>
              <a:gd name="connsiteY58" fmla="*/ 178594 h 709612"/>
              <a:gd name="connsiteX59" fmla="*/ 459581 w 664369"/>
              <a:gd name="connsiteY59" fmla="*/ 178594 h 709612"/>
              <a:gd name="connsiteX60" fmla="*/ 459581 w 664369"/>
              <a:gd name="connsiteY60" fmla="*/ 178594 h 709612"/>
              <a:gd name="connsiteX61" fmla="*/ 445294 w 664369"/>
              <a:gd name="connsiteY61" fmla="*/ 192881 h 709612"/>
              <a:gd name="connsiteX62" fmla="*/ 431006 w 664369"/>
              <a:gd name="connsiteY62" fmla="*/ 204787 h 709612"/>
              <a:gd name="connsiteX63" fmla="*/ 421481 w 664369"/>
              <a:gd name="connsiteY63" fmla="*/ 211931 h 709612"/>
              <a:gd name="connsiteX64" fmla="*/ 411956 w 664369"/>
              <a:gd name="connsiteY64" fmla="*/ 190500 h 709612"/>
              <a:gd name="connsiteX65" fmla="*/ 397669 w 664369"/>
              <a:gd name="connsiteY65" fmla="*/ 169069 h 709612"/>
              <a:gd name="connsiteX66" fmla="*/ 385763 w 664369"/>
              <a:gd name="connsiteY66" fmla="*/ 150019 h 709612"/>
              <a:gd name="connsiteX67" fmla="*/ 247650 w 664369"/>
              <a:gd name="connsiteY67" fmla="*/ 185737 h 709612"/>
              <a:gd name="connsiteX68" fmla="*/ 202406 w 664369"/>
              <a:gd name="connsiteY68" fmla="*/ 0 h 709612"/>
              <a:gd name="connsiteX69" fmla="*/ 190500 w 664369"/>
              <a:gd name="connsiteY69" fmla="*/ 4762 h 709612"/>
              <a:gd name="connsiteX0" fmla="*/ 190500 w 664369"/>
              <a:gd name="connsiteY0" fmla="*/ 4762 h 728705"/>
              <a:gd name="connsiteX1" fmla="*/ 195263 w 664369"/>
              <a:gd name="connsiteY1" fmla="*/ 78581 h 728705"/>
              <a:gd name="connsiteX2" fmla="*/ 195263 w 664369"/>
              <a:gd name="connsiteY2" fmla="*/ 183356 h 728705"/>
              <a:gd name="connsiteX3" fmla="*/ 147638 w 664369"/>
              <a:gd name="connsiteY3" fmla="*/ 269081 h 728705"/>
              <a:gd name="connsiteX4" fmla="*/ 111919 w 664369"/>
              <a:gd name="connsiteY4" fmla="*/ 290512 h 728705"/>
              <a:gd name="connsiteX5" fmla="*/ 92869 w 664369"/>
              <a:gd name="connsiteY5" fmla="*/ 302419 h 728705"/>
              <a:gd name="connsiteX6" fmla="*/ 90488 w 664369"/>
              <a:gd name="connsiteY6" fmla="*/ 330994 h 728705"/>
              <a:gd name="connsiteX7" fmla="*/ 102394 w 664369"/>
              <a:gd name="connsiteY7" fmla="*/ 335756 h 728705"/>
              <a:gd name="connsiteX8" fmla="*/ 100013 w 664369"/>
              <a:gd name="connsiteY8" fmla="*/ 359569 h 728705"/>
              <a:gd name="connsiteX9" fmla="*/ 104775 w 664369"/>
              <a:gd name="connsiteY9" fmla="*/ 373856 h 728705"/>
              <a:gd name="connsiteX10" fmla="*/ 83344 w 664369"/>
              <a:gd name="connsiteY10" fmla="*/ 392906 h 728705"/>
              <a:gd name="connsiteX11" fmla="*/ 80963 w 664369"/>
              <a:gd name="connsiteY11" fmla="*/ 397669 h 728705"/>
              <a:gd name="connsiteX12" fmla="*/ 69056 w 664369"/>
              <a:gd name="connsiteY12" fmla="*/ 373856 h 728705"/>
              <a:gd name="connsiteX13" fmla="*/ 45244 w 664369"/>
              <a:gd name="connsiteY13" fmla="*/ 385762 h 728705"/>
              <a:gd name="connsiteX14" fmla="*/ 45244 w 664369"/>
              <a:gd name="connsiteY14" fmla="*/ 426244 h 728705"/>
              <a:gd name="connsiteX15" fmla="*/ 52388 w 664369"/>
              <a:gd name="connsiteY15" fmla="*/ 442912 h 728705"/>
              <a:gd name="connsiteX16" fmla="*/ 0 w 664369"/>
              <a:gd name="connsiteY16" fmla="*/ 507206 h 728705"/>
              <a:gd name="connsiteX17" fmla="*/ 33338 w 664369"/>
              <a:gd name="connsiteY17" fmla="*/ 611981 h 728705"/>
              <a:gd name="connsiteX18" fmla="*/ 88106 w 664369"/>
              <a:gd name="connsiteY18" fmla="*/ 647700 h 728705"/>
              <a:gd name="connsiteX19" fmla="*/ 104775 w 664369"/>
              <a:gd name="connsiteY19" fmla="*/ 642937 h 728705"/>
              <a:gd name="connsiteX20" fmla="*/ 152400 w 664369"/>
              <a:gd name="connsiteY20" fmla="*/ 690562 h 728705"/>
              <a:gd name="connsiteX21" fmla="*/ 169069 w 664369"/>
              <a:gd name="connsiteY21" fmla="*/ 690562 h 728705"/>
              <a:gd name="connsiteX22" fmla="*/ 214313 w 664369"/>
              <a:gd name="connsiteY22" fmla="*/ 728705 h 728705"/>
              <a:gd name="connsiteX23" fmla="*/ 230981 w 664369"/>
              <a:gd name="connsiteY23" fmla="*/ 671512 h 728705"/>
              <a:gd name="connsiteX24" fmla="*/ 264319 w 664369"/>
              <a:gd name="connsiteY24" fmla="*/ 652462 h 728705"/>
              <a:gd name="connsiteX25" fmla="*/ 285750 w 664369"/>
              <a:gd name="connsiteY25" fmla="*/ 650081 h 728705"/>
              <a:gd name="connsiteX26" fmla="*/ 352425 w 664369"/>
              <a:gd name="connsiteY26" fmla="*/ 609600 h 728705"/>
              <a:gd name="connsiteX27" fmla="*/ 369094 w 664369"/>
              <a:gd name="connsiteY27" fmla="*/ 602456 h 728705"/>
              <a:gd name="connsiteX28" fmla="*/ 366713 w 664369"/>
              <a:gd name="connsiteY28" fmla="*/ 564356 h 728705"/>
              <a:gd name="connsiteX29" fmla="*/ 369094 w 664369"/>
              <a:gd name="connsiteY29" fmla="*/ 533400 h 728705"/>
              <a:gd name="connsiteX30" fmla="*/ 373856 w 664369"/>
              <a:gd name="connsiteY30" fmla="*/ 502444 h 728705"/>
              <a:gd name="connsiteX31" fmla="*/ 381000 w 664369"/>
              <a:gd name="connsiteY31" fmla="*/ 478631 h 728705"/>
              <a:gd name="connsiteX32" fmla="*/ 407194 w 664369"/>
              <a:gd name="connsiteY32" fmla="*/ 440531 h 728705"/>
              <a:gd name="connsiteX33" fmla="*/ 428625 w 664369"/>
              <a:gd name="connsiteY33" fmla="*/ 390525 h 728705"/>
              <a:gd name="connsiteX34" fmla="*/ 428625 w 664369"/>
              <a:gd name="connsiteY34" fmla="*/ 390525 h 728705"/>
              <a:gd name="connsiteX35" fmla="*/ 476250 w 664369"/>
              <a:gd name="connsiteY35" fmla="*/ 359569 h 728705"/>
              <a:gd name="connsiteX36" fmla="*/ 502444 w 664369"/>
              <a:gd name="connsiteY36" fmla="*/ 335756 h 728705"/>
              <a:gd name="connsiteX37" fmla="*/ 507206 w 664369"/>
              <a:gd name="connsiteY37" fmla="*/ 297656 h 728705"/>
              <a:gd name="connsiteX38" fmla="*/ 573881 w 664369"/>
              <a:gd name="connsiteY38" fmla="*/ 192881 h 728705"/>
              <a:gd name="connsiteX39" fmla="*/ 571500 w 664369"/>
              <a:gd name="connsiteY39" fmla="*/ 173831 h 728705"/>
              <a:gd name="connsiteX40" fmla="*/ 573881 w 664369"/>
              <a:gd name="connsiteY40" fmla="*/ 164306 h 728705"/>
              <a:gd name="connsiteX41" fmla="*/ 614363 w 664369"/>
              <a:gd name="connsiteY41" fmla="*/ 154781 h 728705"/>
              <a:gd name="connsiteX42" fmla="*/ 628650 w 664369"/>
              <a:gd name="connsiteY42" fmla="*/ 164306 h 728705"/>
              <a:gd name="connsiteX43" fmla="*/ 647700 w 664369"/>
              <a:gd name="connsiteY43" fmla="*/ 166687 h 728705"/>
              <a:gd name="connsiteX44" fmla="*/ 659606 w 664369"/>
              <a:gd name="connsiteY44" fmla="*/ 138112 h 728705"/>
              <a:gd name="connsiteX45" fmla="*/ 664369 w 664369"/>
              <a:gd name="connsiteY45" fmla="*/ 123825 h 728705"/>
              <a:gd name="connsiteX46" fmla="*/ 645319 w 664369"/>
              <a:gd name="connsiteY46" fmla="*/ 109537 h 728705"/>
              <a:gd name="connsiteX47" fmla="*/ 642938 w 664369"/>
              <a:gd name="connsiteY47" fmla="*/ 97631 h 728705"/>
              <a:gd name="connsiteX48" fmla="*/ 621506 w 664369"/>
              <a:gd name="connsiteY48" fmla="*/ 88106 h 728705"/>
              <a:gd name="connsiteX49" fmla="*/ 590550 w 664369"/>
              <a:gd name="connsiteY49" fmla="*/ 92869 h 728705"/>
              <a:gd name="connsiteX50" fmla="*/ 573881 w 664369"/>
              <a:gd name="connsiteY50" fmla="*/ 109537 h 728705"/>
              <a:gd name="connsiteX51" fmla="*/ 564356 w 664369"/>
              <a:gd name="connsiteY51" fmla="*/ 121444 h 728705"/>
              <a:gd name="connsiteX52" fmla="*/ 547688 w 664369"/>
              <a:gd name="connsiteY52" fmla="*/ 130969 h 728705"/>
              <a:gd name="connsiteX53" fmla="*/ 528638 w 664369"/>
              <a:gd name="connsiteY53" fmla="*/ 138112 h 728705"/>
              <a:gd name="connsiteX54" fmla="*/ 516731 w 664369"/>
              <a:gd name="connsiteY54" fmla="*/ 133350 h 728705"/>
              <a:gd name="connsiteX55" fmla="*/ 502444 w 664369"/>
              <a:gd name="connsiteY55" fmla="*/ 133350 h 728705"/>
              <a:gd name="connsiteX56" fmla="*/ 495300 w 664369"/>
              <a:gd name="connsiteY56" fmla="*/ 126206 h 728705"/>
              <a:gd name="connsiteX57" fmla="*/ 478631 w 664369"/>
              <a:gd name="connsiteY57" fmla="*/ 169069 h 728705"/>
              <a:gd name="connsiteX58" fmla="*/ 469106 w 664369"/>
              <a:gd name="connsiteY58" fmla="*/ 178594 h 728705"/>
              <a:gd name="connsiteX59" fmla="*/ 459581 w 664369"/>
              <a:gd name="connsiteY59" fmla="*/ 178594 h 728705"/>
              <a:gd name="connsiteX60" fmla="*/ 459581 w 664369"/>
              <a:gd name="connsiteY60" fmla="*/ 178594 h 728705"/>
              <a:gd name="connsiteX61" fmla="*/ 445294 w 664369"/>
              <a:gd name="connsiteY61" fmla="*/ 192881 h 728705"/>
              <a:gd name="connsiteX62" fmla="*/ 431006 w 664369"/>
              <a:gd name="connsiteY62" fmla="*/ 204787 h 728705"/>
              <a:gd name="connsiteX63" fmla="*/ 421481 w 664369"/>
              <a:gd name="connsiteY63" fmla="*/ 211931 h 728705"/>
              <a:gd name="connsiteX64" fmla="*/ 411956 w 664369"/>
              <a:gd name="connsiteY64" fmla="*/ 190500 h 728705"/>
              <a:gd name="connsiteX65" fmla="*/ 397669 w 664369"/>
              <a:gd name="connsiteY65" fmla="*/ 169069 h 728705"/>
              <a:gd name="connsiteX66" fmla="*/ 385763 w 664369"/>
              <a:gd name="connsiteY66" fmla="*/ 150019 h 728705"/>
              <a:gd name="connsiteX67" fmla="*/ 247650 w 664369"/>
              <a:gd name="connsiteY67" fmla="*/ 185737 h 728705"/>
              <a:gd name="connsiteX68" fmla="*/ 202406 w 664369"/>
              <a:gd name="connsiteY68" fmla="*/ 0 h 728705"/>
              <a:gd name="connsiteX69" fmla="*/ 190500 w 664369"/>
              <a:gd name="connsiteY69" fmla="*/ 4762 h 728705"/>
              <a:gd name="connsiteX0" fmla="*/ 190500 w 664369"/>
              <a:gd name="connsiteY0" fmla="*/ 4762 h 728705"/>
              <a:gd name="connsiteX1" fmla="*/ 195263 w 664369"/>
              <a:gd name="connsiteY1" fmla="*/ 78581 h 728705"/>
              <a:gd name="connsiteX2" fmla="*/ 195263 w 664369"/>
              <a:gd name="connsiteY2" fmla="*/ 183356 h 728705"/>
              <a:gd name="connsiteX3" fmla="*/ 147638 w 664369"/>
              <a:gd name="connsiteY3" fmla="*/ 269081 h 728705"/>
              <a:gd name="connsiteX4" fmla="*/ 111919 w 664369"/>
              <a:gd name="connsiteY4" fmla="*/ 290512 h 728705"/>
              <a:gd name="connsiteX5" fmla="*/ 92869 w 664369"/>
              <a:gd name="connsiteY5" fmla="*/ 302419 h 728705"/>
              <a:gd name="connsiteX6" fmla="*/ 90488 w 664369"/>
              <a:gd name="connsiteY6" fmla="*/ 330994 h 728705"/>
              <a:gd name="connsiteX7" fmla="*/ 102394 w 664369"/>
              <a:gd name="connsiteY7" fmla="*/ 335756 h 728705"/>
              <a:gd name="connsiteX8" fmla="*/ 100013 w 664369"/>
              <a:gd name="connsiteY8" fmla="*/ 359569 h 728705"/>
              <a:gd name="connsiteX9" fmla="*/ 104775 w 664369"/>
              <a:gd name="connsiteY9" fmla="*/ 373856 h 728705"/>
              <a:gd name="connsiteX10" fmla="*/ 83344 w 664369"/>
              <a:gd name="connsiteY10" fmla="*/ 392906 h 728705"/>
              <a:gd name="connsiteX11" fmla="*/ 80963 w 664369"/>
              <a:gd name="connsiteY11" fmla="*/ 397669 h 728705"/>
              <a:gd name="connsiteX12" fmla="*/ 69056 w 664369"/>
              <a:gd name="connsiteY12" fmla="*/ 373856 h 728705"/>
              <a:gd name="connsiteX13" fmla="*/ 45244 w 664369"/>
              <a:gd name="connsiteY13" fmla="*/ 385762 h 728705"/>
              <a:gd name="connsiteX14" fmla="*/ 45244 w 664369"/>
              <a:gd name="connsiteY14" fmla="*/ 426244 h 728705"/>
              <a:gd name="connsiteX15" fmla="*/ 52388 w 664369"/>
              <a:gd name="connsiteY15" fmla="*/ 442912 h 728705"/>
              <a:gd name="connsiteX16" fmla="*/ 0 w 664369"/>
              <a:gd name="connsiteY16" fmla="*/ 507206 h 728705"/>
              <a:gd name="connsiteX17" fmla="*/ 33338 w 664369"/>
              <a:gd name="connsiteY17" fmla="*/ 611981 h 728705"/>
              <a:gd name="connsiteX18" fmla="*/ 88106 w 664369"/>
              <a:gd name="connsiteY18" fmla="*/ 647700 h 728705"/>
              <a:gd name="connsiteX19" fmla="*/ 104775 w 664369"/>
              <a:gd name="connsiteY19" fmla="*/ 642937 h 728705"/>
              <a:gd name="connsiteX20" fmla="*/ 152400 w 664369"/>
              <a:gd name="connsiteY20" fmla="*/ 690562 h 728705"/>
              <a:gd name="connsiteX21" fmla="*/ 169069 w 664369"/>
              <a:gd name="connsiteY21" fmla="*/ 690562 h 728705"/>
              <a:gd name="connsiteX22" fmla="*/ 214313 w 664369"/>
              <a:gd name="connsiteY22" fmla="*/ 728705 h 728705"/>
              <a:gd name="connsiteX23" fmla="*/ 230981 w 664369"/>
              <a:gd name="connsiteY23" fmla="*/ 671512 h 728705"/>
              <a:gd name="connsiteX24" fmla="*/ 264319 w 664369"/>
              <a:gd name="connsiteY24" fmla="*/ 652462 h 728705"/>
              <a:gd name="connsiteX25" fmla="*/ 285750 w 664369"/>
              <a:gd name="connsiteY25" fmla="*/ 650081 h 728705"/>
              <a:gd name="connsiteX26" fmla="*/ 354803 w 664369"/>
              <a:gd name="connsiteY26" fmla="*/ 628692 h 728705"/>
              <a:gd name="connsiteX27" fmla="*/ 369094 w 664369"/>
              <a:gd name="connsiteY27" fmla="*/ 602456 h 728705"/>
              <a:gd name="connsiteX28" fmla="*/ 366713 w 664369"/>
              <a:gd name="connsiteY28" fmla="*/ 564356 h 728705"/>
              <a:gd name="connsiteX29" fmla="*/ 369094 w 664369"/>
              <a:gd name="connsiteY29" fmla="*/ 533400 h 728705"/>
              <a:gd name="connsiteX30" fmla="*/ 373856 w 664369"/>
              <a:gd name="connsiteY30" fmla="*/ 502444 h 728705"/>
              <a:gd name="connsiteX31" fmla="*/ 381000 w 664369"/>
              <a:gd name="connsiteY31" fmla="*/ 478631 h 728705"/>
              <a:gd name="connsiteX32" fmla="*/ 407194 w 664369"/>
              <a:gd name="connsiteY32" fmla="*/ 440531 h 728705"/>
              <a:gd name="connsiteX33" fmla="*/ 428625 w 664369"/>
              <a:gd name="connsiteY33" fmla="*/ 390525 h 728705"/>
              <a:gd name="connsiteX34" fmla="*/ 428625 w 664369"/>
              <a:gd name="connsiteY34" fmla="*/ 390525 h 728705"/>
              <a:gd name="connsiteX35" fmla="*/ 476250 w 664369"/>
              <a:gd name="connsiteY35" fmla="*/ 359569 h 728705"/>
              <a:gd name="connsiteX36" fmla="*/ 502444 w 664369"/>
              <a:gd name="connsiteY36" fmla="*/ 335756 h 728705"/>
              <a:gd name="connsiteX37" fmla="*/ 507206 w 664369"/>
              <a:gd name="connsiteY37" fmla="*/ 297656 h 728705"/>
              <a:gd name="connsiteX38" fmla="*/ 573881 w 664369"/>
              <a:gd name="connsiteY38" fmla="*/ 192881 h 728705"/>
              <a:gd name="connsiteX39" fmla="*/ 571500 w 664369"/>
              <a:gd name="connsiteY39" fmla="*/ 173831 h 728705"/>
              <a:gd name="connsiteX40" fmla="*/ 573881 w 664369"/>
              <a:gd name="connsiteY40" fmla="*/ 164306 h 728705"/>
              <a:gd name="connsiteX41" fmla="*/ 614363 w 664369"/>
              <a:gd name="connsiteY41" fmla="*/ 154781 h 728705"/>
              <a:gd name="connsiteX42" fmla="*/ 628650 w 664369"/>
              <a:gd name="connsiteY42" fmla="*/ 164306 h 728705"/>
              <a:gd name="connsiteX43" fmla="*/ 647700 w 664369"/>
              <a:gd name="connsiteY43" fmla="*/ 166687 h 728705"/>
              <a:gd name="connsiteX44" fmla="*/ 659606 w 664369"/>
              <a:gd name="connsiteY44" fmla="*/ 138112 h 728705"/>
              <a:gd name="connsiteX45" fmla="*/ 664369 w 664369"/>
              <a:gd name="connsiteY45" fmla="*/ 123825 h 728705"/>
              <a:gd name="connsiteX46" fmla="*/ 645319 w 664369"/>
              <a:gd name="connsiteY46" fmla="*/ 109537 h 728705"/>
              <a:gd name="connsiteX47" fmla="*/ 642938 w 664369"/>
              <a:gd name="connsiteY47" fmla="*/ 97631 h 728705"/>
              <a:gd name="connsiteX48" fmla="*/ 621506 w 664369"/>
              <a:gd name="connsiteY48" fmla="*/ 88106 h 728705"/>
              <a:gd name="connsiteX49" fmla="*/ 590550 w 664369"/>
              <a:gd name="connsiteY49" fmla="*/ 92869 h 728705"/>
              <a:gd name="connsiteX50" fmla="*/ 573881 w 664369"/>
              <a:gd name="connsiteY50" fmla="*/ 109537 h 728705"/>
              <a:gd name="connsiteX51" fmla="*/ 564356 w 664369"/>
              <a:gd name="connsiteY51" fmla="*/ 121444 h 728705"/>
              <a:gd name="connsiteX52" fmla="*/ 547688 w 664369"/>
              <a:gd name="connsiteY52" fmla="*/ 130969 h 728705"/>
              <a:gd name="connsiteX53" fmla="*/ 528638 w 664369"/>
              <a:gd name="connsiteY53" fmla="*/ 138112 h 728705"/>
              <a:gd name="connsiteX54" fmla="*/ 516731 w 664369"/>
              <a:gd name="connsiteY54" fmla="*/ 133350 h 728705"/>
              <a:gd name="connsiteX55" fmla="*/ 502444 w 664369"/>
              <a:gd name="connsiteY55" fmla="*/ 133350 h 728705"/>
              <a:gd name="connsiteX56" fmla="*/ 495300 w 664369"/>
              <a:gd name="connsiteY56" fmla="*/ 126206 h 728705"/>
              <a:gd name="connsiteX57" fmla="*/ 478631 w 664369"/>
              <a:gd name="connsiteY57" fmla="*/ 169069 h 728705"/>
              <a:gd name="connsiteX58" fmla="*/ 469106 w 664369"/>
              <a:gd name="connsiteY58" fmla="*/ 178594 h 728705"/>
              <a:gd name="connsiteX59" fmla="*/ 459581 w 664369"/>
              <a:gd name="connsiteY59" fmla="*/ 178594 h 728705"/>
              <a:gd name="connsiteX60" fmla="*/ 459581 w 664369"/>
              <a:gd name="connsiteY60" fmla="*/ 178594 h 728705"/>
              <a:gd name="connsiteX61" fmla="*/ 445294 w 664369"/>
              <a:gd name="connsiteY61" fmla="*/ 192881 h 728705"/>
              <a:gd name="connsiteX62" fmla="*/ 431006 w 664369"/>
              <a:gd name="connsiteY62" fmla="*/ 204787 h 728705"/>
              <a:gd name="connsiteX63" fmla="*/ 421481 w 664369"/>
              <a:gd name="connsiteY63" fmla="*/ 211931 h 728705"/>
              <a:gd name="connsiteX64" fmla="*/ 411956 w 664369"/>
              <a:gd name="connsiteY64" fmla="*/ 190500 h 728705"/>
              <a:gd name="connsiteX65" fmla="*/ 397669 w 664369"/>
              <a:gd name="connsiteY65" fmla="*/ 169069 h 728705"/>
              <a:gd name="connsiteX66" fmla="*/ 385763 w 664369"/>
              <a:gd name="connsiteY66" fmla="*/ 150019 h 728705"/>
              <a:gd name="connsiteX67" fmla="*/ 247650 w 664369"/>
              <a:gd name="connsiteY67" fmla="*/ 185737 h 728705"/>
              <a:gd name="connsiteX68" fmla="*/ 202406 w 664369"/>
              <a:gd name="connsiteY68" fmla="*/ 0 h 728705"/>
              <a:gd name="connsiteX69" fmla="*/ 190500 w 664369"/>
              <a:gd name="connsiteY69" fmla="*/ 4762 h 728705"/>
              <a:gd name="connsiteX0" fmla="*/ 190500 w 664369"/>
              <a:gd name="connsiteY0" fmla="*/ 4762 h 728705"/>
              <a:gd name="connsiteX1" fmla="*/ 195263 w 664369"/>
              <a:gd name="connsiteY1" fmla="*/ 78581 h 728705"/>
              <a:gd name="connsiteX2" fmla="*/ 195263 w 664369"/>
              <a:gd name="connsiteY2" fmla="*/ 183356 h 728705"/>
              <a:gd name="connsiteX3" fmla="*/ 147638 w 664369"/>
              <a:gd name="connsiteY3" fmla="*/ 269081 h 728705"/>
              <a:gd name="connsiteX4" fmla="*/ 111919 w 664369"/>
              <a:gd name="connsiteY4" fmla="*/ 290512 h 728705"/>
              <a:gd name="connsiteX5" fmla="*/ 92869 w 664369"/>
              <a:gd name="connsiteY5" fmla="*/ 302419 h 728705"/>
              <a:gd name="connsiteX6" fmla="*/ 90488 w 664369"/>
              <a:gd name="connsiteY6" fmla="*/ 330994 h 728705"/>
              <a:gd name="connsiteX7" fmla="*/ 102394 w 664369"/>
              <a:gd name="connsiteY7" fmla="*/ 335756 h 728705"/>
              <a:gd name="connsiteX8" fmla="*/ 100013 w 664369"/>
              <a:gd name="connsiteY8" fmla="*/ 359569 h 728705"/>
              <a:gd name="connsiteX9" fmla="*/ 104775 w 664369"/>
              <a:gd name="connsiteY9" fmla="*/ 373856 h 728705"/>
              <a:gd name="connsiteX10" fmla="*/ 83344 w 664369"/>
              <a:gd name="connsiteY10" fmla="*/ 392906 h 728705"/>
              <a:gd name="connsiteX11" fmla="*/ 80963 w 664369"/>
              <a:gd name="connsiteY11" fmla="*/ 397669 h 728705"/>
              <a:gd name="connsiteX12" fmla="*/ 69056 w 664369"/>
              <a:gd name="connsiteY12" fmla="*/ 373856 h 728705"/>
              <a:gd name="connsiteX13" fmla="*/ 45244 w 664369"/>
              <a:gd name="connsiteY13" fmla="*/ 385762 h 728705"/>
              <a:gd name="connsiteX14" fmla="*/ 45244 w 664369"/>
              <a:gd name="connsiteY14" fmla="*/ 426244 h 728705"/>
              <a:gd name="connsiteX15" fmla="*/ 52388 w 664369"/>
              <a:gd name="connsiteY15" fmla="*/ 442912 h 728705"/>
              <a:gd name="connsiteX16" fmla="*/ 0 w 664369"/>
              <a:gd name="connsiteY16" fmla="*/ 507206 h 728705"/>
              <a:gd name="connsiteX17" fmla="*/ 33338 w 664369"/>
              <a:gd name="connsiteY17" fmla="*/ 611981 h 728705"/>
              <a:gd name="connsiteX18" fmla="*/ 88106 w 664369"/>
              <a:gd name="connsiteY18" fmla="*/ 647700 h 728705"/>
              <a:gd name="connsiteX19" fmla="*/ 104775 w 664369"/>
              <a:gd name="connsiteY19" fmla="*/ 642937 h 728705"/>
              <a:gd name="connsiteX20" fmla="*/ 152400 w 664369"/>
              <a:gd name="connsiteY20" fmla="*/ 690562 h 728705"/>
              <a:gd name="connsiteX21" fmla="*/ 169069 w 664369"/>
              <a:gd name="connsiteY21" fmla="*/ 690562 h 728705"/>
              <a:gd name="connsiteX22" fmla="*/ 214313 w 664369"/>
              <a:gd name="connsiteY22" fmla="*/ 728705 h 728705"/>
              <a:gd name="connsiteX23" fmla="*/ 230981 w 664369"/>
              <a:gd name="connsiteY23" fmla="*/ 671512 h 728705"/>
              <a:gd name="connsiteX24" fmla="*/ 285750 w 664369"/>
              <a:gd name="connsiteY24" fmla="*/ 650081 h 728705"/>
              <a:gd name="connsiteX25" fmla="*/ 354803 w 664369"/>
              <a:gd name="connsiteY25" fmla="*/ 628692 h 728705"/>
              <a:gd name="connsiteX26" fmla="*/ 369094 w 664369"/>
              <a:gd name="connsiteY26" fmla="*/ 602456 h 728705"/>
              <a:gd name="connsiteX27" fmla="*/ 366713 w 664369"/>
              <a:gd name="connsiteY27" fmla="*/ 564356 h 728705"/>
              <a:gd name="connsiteX28" fmla="*/ 369094 w 664369"/>
              <a:gd name="connsiteY28" fmla="*/ 533400 h 728705"/>
              <a:gd name="connsiteX29" fmla="*/ 373856 w 664369"/>
              <a:gd name="connsiteY29" fmla="*/ 502444 h 728705"/>
              <a:gd name="connsiteX30" fmla="*/ 381000 w 664369"/>
              <a:gd name="connsiteY30" fmla="*/ 478631 h 728705"/>
              <a:gd name="connsiteX31" fmla="*/ 407194 w 664369"/>
              <a:gd name="connsiteY31" fmla="*/ 440531 h 728705"/>
              <a:gd name="connsiteX32" fmla="*/ 428625 w 664369"/>
              <a:gd name="connsiteY32" fmla="*/ 390525 h 728705"/>
              <a:gd name="connsiteX33" fmla="*/ 428625 w 664369"/>
              <a:gd name="connsiteY33" fmla="*/ 390525 h 728705"/>
              <a:gd name="connsiteX34" fmla="*/ 476250 w 664369"/>
              <a:gd name="connsiteY34" fmla="*/ 359569 h 728705"/>
              <a:gd name="connsiteX35" fmla="*/ 502444 w 664369"/>
              <a:gd name="connsiteY35" fmla="*/ 335756 h 728705"/>
              <a:gd name="connsiteX36" fmla="*/ 507206 w 664369"/>
              <a:gd name="connsiteY36" fmla="*/ 297656 h 728705"/>
              <a:gd name="connsiteX37" fmla="*/ 573881 w 664369"/>
              <a:gd name="connsiteY37" fmla="*/ 192881 h 728705"/>
              <a:gd name="connsiteX38" fmla="*/ 571500 w 664369"/>
              <a:gd name="connsiteY38" fmla="*/ 173831 h 728705"/>
              <a:gd name="connsiteX39" fmla="*/ 573881 w 664369"/>
              <a:gd name="connsiteY39" fmla="*/ 164306 h 728705"/>
              <a:gd name="connsiteX40" fmla="*/ 614363 w 664369"/>
              <a:gd name="connsiteY40" fmla="*/ 154781 h 728705"/>
              <a:gd name="connsiteX41" fmla="*/ 628650 w 664369"/>
              <a:gd name="connsiteY41" fmla="*/ 164306 h 728705"/>
              <a:gd name="connsiteX42" fmla="*/ 647700 w 664369"/>
              <a:gd name="connsiteY42" fmla="*/ 166687 h 728705"/>
              <a:gd name="connsiteX43" fmla="*/ 659606 w 664369"/>
              <a:gd name="connsiteY43" fmla="*/ 138112 h 728705"/>
              <a:gd name="connsiteX44" fmla="*/ 664369 w 664369"/>
              <a:gd name="connsiteY44" fmla="*/ 123825 h 728705"/>
              <a:gd name="connsiteX45" fmla="*/ 645319 w 664369"/>
              <a:gd name="connsiteY45" fmla="*/ 109537 h 728705"/>
              <a:gd name="connsiteX46" fmla="*/ 642938 w 664369"/>
              <a:gd name="connsiteY46" fmla="*/ 97631 h 728705"/>
              <a:gd name="connsiteX47" fmla="*/ 621506 w 664369"/>
              <a:gd name="connsiteY47" fmla="*/ 88106 h 728705"/>
              <a:gd name="connsiteX48" fmla="*/ 590550 w 664369"/>
              <a:gd name="connsiteY48" fmla="*/ 92869 h 728705"/>
              <a:gd name="connsiteX49" fmla="*/ 573881 w 664369"/>
              <a:gd name="connsiteY49" fmla="*/ 109537 h 728705"/>
              <a:gd name="connsiteX50" fmla="*/ 564356 w 664369"/>
              <a:gd name="connsiteY50" fmla="*/ 121444 h 728705"/>
              <a:gd name="connsiteX51" fmla="*/ 547688 w 664369"/>
              <a:gd name="connsiteY51" fmla="*/ 130969 h 728705"/>
              <a:gd name="connsiteX52" fmla="*/ 528638 w 664369"/>
              <a:gd name="connsiteY52" fmla="*/ 138112 h 728705"/>
              <a:gd name="connsiteX53" fmla="*/ 516731 w 664369"/>
              <a:gd name="connsiteY53" fmla="*/ 133350 h 728705"/>
              <a:gd name="connsiteX54" fmla="*/ 502444 w 664369"/>
              <a:gd name="connsiteY54" fmla="*/ 133350 h 728705"/>
              <a:gd name="connsiteX55" fmla="*/ 495300 w 664369"/>
              <a:gd name="connsiteY55" fmla="*/ 126206 h 728705"/>
              <a:gd name="connsiteX56" fmla="*/ 478631 w 664369"/>
              <a:gd name="connsiteY56" fmla="*/ 169069 h 728705"/>
              <a:gd name="connsiteX57" fmla="*/ 469106 w 664369"/>
              <a:gd name="connsiteY57" fmla="*/ 178594 h 728705"/>
              <a:gd name="connsiteX58" fmla="*/ 459581 w 664369"/>
              <a:gd name="connsiteY58" fmla="*/ 178594 h 728705"/>
              <a:gd name="connsiteX59" fmla="*/ 459581 w 664369"/>
              <a:gd name="connsiteY59" fmla="*/ 178594 h 728705"/>
              <a:gd name="connsiteX60" fmla="*/ 445294 w 664369"/>
              <a:gd name="connsiteY60" fmla="*/ 192881 h 728705"/>
              <a:gd name="connsiteX61" fmla="*/ 431006 w 664369"/>
              <a:gd name="connsiteY61" fmla="*/ 204787 h 728705"/>
              <a:gd name="connsiteX62" fmla="*/ 421481 w 664369"/>
              <a:gd name="connsiteY62" fmla="*/ 211931 h 728705"/>
              <a:gd name="connsiteX63" fmla="*/ 411956 w 664369"/>
              <a:gd name="connsiteY63" fmla="*/ 190500 h 728705"/>
              <a:gd name="connsiteX64" fmla="*/ 397669 w 664369"/>
              <a:gd name="connsiteY64" fmla="*/ 169069 h 728705"/>
              <a:gd name="connsiteX65" fmla="*/ 385763 w 664369"/>
              <a:gd name="connsiteY65" fmla="*/ 150019 h 728705"/>
              <a:gd name="connsiteX66" fmla="*/ 247650 w 664369"/>
              <a:gd name="connsiteY66" fmla="*/ 185737 h 728705"/>
              <a:gd name="connsiteX67" fmla="*/ 202406 w 664369"/>
              <a:gd name="connsiteY67" fmla="*/ 0 h 728705"/>
              <a:gd name="connsiteX68" fmla="*/ 190500 w 664369"/>
              <a:gd name="connsiteY68" fmla="*/ 4762 h 728705"/>
              <a:gd name="connsiteX0" fmla="*/ 190500 w 664369"/>
              <a:gd name="connsiteY0" fmla="*/ 4762 h 728705"/>
              <a:gd name="connsiteX1" fmla="*/ 195263 w 664369"/>
              <a:gd name="connsiteY1" fmla="*/ 78581 h 728705"/>
              <a:gd name="connsiteX2" fmla="*/ 195263 w 664369"/>
              <a:gd name="connsiteY2" fmla="*/ 183356 h 728705"/>
              <a:gd name="connsiteX3" fmla="*/ 147638 w 664369"/>
              <a:gd name="connsiteY3" fmla="*/ 269081 h 728705"/>
              <a:gd name="connsiteX4" fmla="*/ 111919 w 664369"/>
              <a:gd name="connsiteY4" fmla="*/ 290512 h 728705"/>
              <a:gd name="connsiteX5" fmla="*/ 92869 w 664369"/>
              <a:gd name="connsiteY5" fmla="*/ 302419 h 728705"/>
              <a:gd name="connsiteX6" fmla="*/ 90488 w 664369"/>
              <a:gd name="connsiteY6" fmla="*/ 330994 h 728705"/>
              <a:gd name="connsiteX7" fmla="*/ 102394 w 664369"/>
              <a:gd name="connsiteY7" fmla="*/ 335756 h 728705"/>
              <a:gd name="connsiteX8" fmla="*/ 100013 w 664369"/>
              <a:gd name="connsiteY8" fmla="*/ 359569 h 728705"/>
              <a:gd name="connsiteX9" fmla="*/ 104775 w 664369"/>
              <a:gd name="connsiteY9" fmla="*/ 373856 h 728705"/>
              <a:gd name="connsiteX10" fmla="*/ 83344 w 664369"/>
              <a:gd name="connsiteY10" fmla="*/ 392906 h 728705"/>
              <a:gd name="connsiteX11" fmla="*/ 80963 w 664369"/>
              <a:gd name="connsiteY11" fmla="*/ 397669 h 728705"/>
              <a:gd name="connsiteX12" fmla="*/ 69056 w 664369"/>
              <a:gd name="connsiteY12" fmla="*/ 373856 h 728705"/>
              <a:gd name="connsiteX13" fmla="*/ 45244 w 664369"/>
              <a:gd name="connsiteY13" fmla="*/ 385762 h 728705"/>
              <a:gd name="connsiteX14" fmla="*/ 45244 w 664369"/>
              <a:gd name="connsiteY14" fmla="*/ 426244 h 728705"/>
              <a:gd name="connsiteX15" fmla="*/ 52388 w 664369"/>
              <a:gd name="connsiteY15" fmla="*/ 442912 h 728705"/>
              <a:gd name="connsiteX16" fmla="*/ 0 w 664369"/>
              <a:gd name="connsiteY16" fmla="*/ 507206 h 728705"/>
              <a:gd name="connsiteX17" fmla="*/ 33338 w 664369"/>
              <a:gd name="connsiteY17" fmla="*/ 611981 h 728705"/>
              <a:gd name="connsiteX18" fmla="*/ 88106 w 664369"/>
              <a:gd name="connsiteY18" fmla="*/ 647700 h 728705"/>
              <a:gd name="connsiteX19" fmla="*/ 104775 w 664369"/>
              <a:gd name="connsiteY19" fmla="*/ 642937 h 728705"/>
              <a:gd name="connsiteX20" fmla="*/ 152400 w 664369"/>
              <a:gd name="connsiteY20" fmla="*/ 690562 h 728705"/>
              <a:gd name="connsiteX21" fmla="*/ 214313 w 664369"/>
              <a:gd name="connsiteY21" fmla="*/ 728705 h 728705"/>
              <a:gd name="connsiteX22" fmla="*/ 230981 w 664369"/>
              <a:gd name="connsiteY22" fmla="*/ 671512 h 728705"/>
              <a:gd name="connsiteX23" fmla="*/ 285750 w 664369"/>
              <a:gd name="connsiteY23" fmla="*/ 650081 h 728705"/>
              <a:gd name="connsiteX24" fmla="*/ 354803 w 664369"/>
              <a:gd name="connsiteY24" fmla="*/ 628692 h 728705"/>
              <a:gd name="connsiteX25" fmla="*/ 369094 w 664369"/>
              <a:gd name="connsiteY25" fmla="*/ 602456 h 728705"/>
              <a:gd name="connsiteX26" fmla="*/ 366713 w 664369"/>
              <a:gd name="connsiteY26" fmla="*/ 564356 h 728705"/>
              <a:gd name="connsiteX27" fmla="*/ 369094 w 664369"/>
              <a:gd name="connsiteY27" fmla="*/ 533400 h 728705"/>
              <a:gd name="connsiteX28" fmla="*/ 373856 w 664369"/>
              <a:gd name="connsiteY28" fmla="*/ 502444 h 728705"/>
              <a:gd name="connsiteX29" fmla="*/ 381000 w 664369"/>
              <a:gd name="connsiteY29" fmla="*/ 478631 h 728705"/>
              <a:gd name="connsiteX30" fmla="*/ 407194 w 664369"/>
              <a:gd name="connsiteY30" fmla="*/ 440531 h 728705"/>
              <a:gd name="connsiteX31" fmla="*/ 428625 w 664369"/>
              <a:gd name="connsiteY31" fmla="*/ 390525 h 728705"/>
              <a:gd name="connsiteX32" fmla="*/ 428625 w 664369"/>
              <a:gd name="connsiteY32" fmla="*/ 390525 h 728705"/>
              <a:gd name="connsiteX33" fmla="*/ 476250 w 664369"/>
              <a:gd name="connsiteY33" fmla="*/ 359569 h 728705"/>
              <a:gd name="connsiteX34" fmla="*/ 502444 w 664369"/>
              <a:gd name="connsiteY34" fmla="*/ 335756 h 728705"/>
              <a:gd name="connsiteX35" fmla="*/ 507206 w 664369"/>
              <a:gd name="connsiteY35" fmla="*/ 297656 h 728705"/>
              <a:gd name="connsiteX36" fmla="*/ 573881 w 664369"/>
              <a:gd name="connsiteY36" fmla="*/ 192881 h 728705"/>
              <a:gd name="connsiteX37" fmla="*/ 571500 w 664369"/>
              <a:gd name="connsiteY37" fmla="*/ 173831 h 728705"/>
              <a:gd name="connsiteX38" fmla="*/ 573881 w 664369"/>
              <a:gd name="connsiteY38" fmla="*/ 164306 h 728705"/>
              <a:gd name="connsiteX39" fmla="*/ 614363 w 664369"/>
              <a:gd name="connsiteY39" fmla="*/ 154781 h 728705"/>
              <a:gd name="connsiteX40" fmla="*/ 628650 w 664369"/>
              <a:gd name="connsiteY40" fmla="*/ 164306 h 728705"/>
              <a:gd name="connsiteX41" fmla="*/ 647700 w 664369"/>
              <a:gd name="connsiteY41" fmla="*/ 166687 h 728705"/>
              <a:gd name="connsiteX42" fmla="*/ 659606 w 664369"/>
              <a:gd name="connsiteY42" fmla="*/ 138112 h 728705"/>
              <a:gd name="connsiteX43" fmla="*/ 664369 w 664369"/>
              <a:gd name="connsiteY43" fmla="*/ 123825 h 728705"/>
              <a:gd name="connsiteX44" fmla="*/ 645319 w 664369"/>
              <a:gd name="connsiteY44" fmla="*/ 109537 h 728705"/>
              <a:gd name="connsiteX45" fmla="*/ 642938 w 664369"/>
              <a:gd name="connsiteY45" fmla="*/ 97631 h 728705"/>
              <a:gd name="connsiteX46" fmla="*/ 621506 w 664369"/>
              <a:gd name="connsiteY46" fmla="*/ 88106 h 728705"/>
              <a:gd name="connsiteX47" fmla="*/ 590550 w 664369"/>
              <a:gd name="connsiteY47" fmla="*/ 92869 h 728705"/>
              <a:gd name="connsiteX48" fmla="*/ 573881 w 664369"/>
              <a:gd name="connsiteY48" fmla="*/ 109537 h 728705"/>
              <a:gd name="connsiteX49" fmla="*/ 564356 w 664369"/>
              <a:gd name="connsiteY49" fmla="*/ 121444 h 728705"/>
              <a:gd name="connsiteX50" fmla="*/ 547688 w 664369"/>
              <a:gd name="connsiteY50" fmla="*/ 130969 h 728705"/>
              <a:gd name="connsiteX51" fmla="*/ 528638 w 664369"/>
              <a:gd name="connsiteY51" fmla="*/ 138112 h 728705"/>
              <a:gd name="connsiteX52" fmla="*/ 516731 w 664369"/>
              <a:gd name="connsiteY52" fmla="*/ 133350 h 728705"/>
              <a:gd name="connsiteX53" fmla="*/ 502444 w 664369"/>
              <a:gd name="connsiteY53" fmla="*/ 133350 h 728705"/>
              <a:gd name="connsiteX54" fmla="*/ 495300 w 664369"/>
              <a:gd name="connsiteY54" fmla="*/ 126206 h 728705"/>
              <a:gd name="connsiteX55" fmla="*/ 478631 w 664369"/>
              <a:gd name="connsiteY55" fmla="*/ 169069 h 728705"/>
              <a:gd name="connsiteX56" fmla="*/ 469106 w 664369"/>
              <a:gd name="connsiteY56" fmla="*/ 178594 h 728705"/>
              <a:gd name="connsiteX57" fmla="*/ 459581 w 664369"/>
              <a:gd name="connsiteY57" fmla="*/ 178594 h 728705"/>
              <a:gd name="connsiteX58" fmla="*/ 459581 w 664369"/>
              <a:gd name="connsiteY58" fmla="*/ 178594 h 728705"/>
              <a:gd name="connsiteX59" fmla="*/ 445294 w 664369"/>
              <a:gd name="connsiteY59" fmla="*/ 192881 h 728705"/>
              <a:gd name="connsiteX60" fmla="*/ 431006 w 664369"/>
              <a:gd name="connsiteY60" fmla="*/ 204787 h 728705"/>
              <a:gd name="connsiteX61" fmla="*/ 421481 w 664369"/>
              <a:gd name="connsiteY61" fmla="*/ 211931 h 728705"/>
              <a:gd name="connsiteX62" fmla="*/ 411956 w 664369"/>
              <a:gd name="connsiteY62" fmla="*/ 190500 h 728705"/>
              <a:gd name="connsiteX63" fmla="*/ 397669 w 664369"/>
              <a:gd name="connsiteY63" fmla="*/ 169069 h 728705"/>
              <a:gd name="connsiteX64" fmla="*/ 385763 w 664369"/>
              <a:gd name="connsiteY64" fmla="*/ 150019 h 728705"/>
              <a:gd name="connsiteX65" fmla="*/ 247650 w 664369"/>
              <a:gd name="connsiteY65" fmla="*/ 185737 h 728705"/>
              <a:gd name="connsiteX66" fmla="*/ 202406 w 664369"/>
              <a:gd name="connsiteY66" fmla="*/ 0 h 728705"/>
              <a:gd name="connsiteX67" fmla="*/ 190500 w 664369"/>
              <a:gd name="connsiteY67" fmla="*/ 4762 h 728705"/>
              <a:gd name="connsiteX0" fmla="*/ 190500 w 664369"/>
              <a:gd name="connsiteY0" fmla="*/ 4762 h 728705"/>
              <a:gd name="connsiteX1" fmla="*/ 195263 w 664369"/>
              <a:gd name="connsiteY1" fmla="*/ 78581 h 728705"/>
              <a:gd name="connsiteX2" fmla="*/ 195263 w 664369"/>
              <a:gd name="connsiteY2" fmla="*/ 183356 h 728705"/>
              <a:gd name="connsiteX3" fmla="*/ 147638 w 664369"/>
              <a:gd name="connsiteY3" fmla="*/ 269081 h 728705"/>
              <a:gd name="connsiteX4" fmla="*/ 111919 w 664369"/>
              <a:gd name="connsiteY4" fmla="*/ 290512 h 728705"/>
              <a:gd name="connsiteX5" fmla="*/ 92869 w 664369"/>
              <a:gd name="connsiteY5" fmla="*/ 302419 h 728705"/>
              <a:gd name="connsiteX6" fmla="*/ 90488 w 664369"/>
              <a:gd name="connsiteY6" fmla="*/ 330994 h 728705"/>
              <a:gd name="connsiteX7" fmla="*/ 102394 w 664369"/>
              <a:gd name="connsiteY7" fmla="*/ 335756 h 728705"/>
              <a:gd name="connsiteX8" fmla="*/ 100013 w 664369"/>
              <a:gd name="connsiteY8" fmla="*/ 359569 h 728705"/>
              <a:gd name="connsiteX9" fmla="*/ 104775 w 664369"/>
              <a:gd name="connsiteY9" fmla="*/ 373856 h 728705"/>
              <a:gd name="connsiteX10" fmla="*/ 83344 w 664369"/>
              <a:gd name="connsiteY10" fmla="*/ 392906 h 728705"/>
              <a:gd name="connsiteX11" fmla="*/ 80963 w 664369"/>
              <a:gd name="connsiteY11" fmla="*/ 397669 h 728705"/>
              <a:gd name="connsiteX12" fmla="*/ 76191 w 664369"/>
              <a:gd name="connsiteY12" fmla="*/ 366696 h 728705"/>
              <a:gd name="connsiteX13" fmla="*/ 45244 w 664369"/>
              <a:gd name="connsiteY13" fmla="*/ 385762 h 728705"/>
              <a:gd name="connsiteX14" fmla="*/ 45244 w 664369"/>
              <a:gd name="connsiteY14" fmla="*/ 426244 h 728705"/>
              <a:gd name="connsiteX15" fmla="*/ 52388 w 664369"/>
              <a:gd name="connsiteY15" fmla="*/ 442912 h 728705"/>
              <a:gd name="connsiteX16" fmla="*/ 0 w 664369"/>
              <a:gd name="connsiteY16" fmla="*/ 507206 h 728705"/>
              <a:gd name="connsiteX17" fmla="*/ 33338 w 664369"/>
              <a:gd name="connsiteY17" fmla="*/ 611981 h 728705"/>
              <a:gd name="connsiteX18" fmla="*/ 88106 w 664369"/>
              <a:gd name="connsiteY18" fmla="*/ 647700 h 728705"/>
              <a:gd name="connsiteX19" fmla="*/ 104775 w 664369"/>
              <a:gd name="connsiteY19" fmla="*/ 642937 h 728705"/>
              <a:gd name="connsiteX20" fmla="*/ 152400 w 664369"/>
              <a:gd name="connsiteY20" fmla="*/ 690562 h 728705"/>
              <a:gd name="connsiteX21" fmla="*/ 214313 w 664369"/>
              <a:gd name="connsiteY21" fmla="*/ 728705 h 728705"/>
              <a:gd name="connsiteX22" fmla="*/ 230981 w 664369"/>
              <a:gd name="connsiteY22" fmla="*/ 671512 h 728705"/>
              <a:gd name="connsiteX23" fmla="*/ 285750 w 664369"/>
              <a:gd name="connsiteY23" fmla="*/ 650081 h 728705"/>
              <a:gd name="connsiteX24" fmla="*/ 354803 w 664369"/>
              <a:gd name="connsiteY24" fmla="*/ 628692 h 728705"/>
              <a:gd name="connsiteX25" fmla="*/ 369094 w 664369"/>
              <a:gd name="connsiteY25" fmla="*/ 602456 h 728705"/>
              <a:gd name="connsiteX26" fmla="*/ 366713 w 664369"/>
              <a:gd name="connsiteY26" fmla="*/ 564356 h 728705"/>
              <a:gd name="connsiteX27" fmla="*/ 369094 w 664369"/>
              <a:gd name="connsiteY27" fmla="*/ 533400 h 728705"/>
              <a:gd name="connsiteX28" fmla="*/ 373856 w 664369"/>
              <a:gd name="connsiteY28" fmla="*/ 502444 h 728705"/>
              <a:gd name="connsiteX29" fmla="*/ 381000 w 664369"/>
              <a:gd name="connsiteY29" fmla="*/ 478631 h 728705"/>
              <a:gd name="connsiteX30" fmla="*/ 407194 w 664369"/>
              <a:gd name="connsiteY30" fmla="*/ 440531 h 728705"/>
              <a:gd name="connsiteX31" fmla="*/ 428625 w 664369"/>
              <a:gd name="connsiteY31" fmla="*/ 390525 h 728705"/>
              <a:gd name="connsiteX32" fmla="*/ 428625 w 664369"/>
              <a:gd name="connsiteY32" fmla="*/ 390525 h 728705"/>
              <a:gd name="connsiteX33" fmla="*/ 476250 w 664369"/>
              <a:gd name="connsiteY33" fmla="*/ 359569 h 728705"/>
              <a:gd name="connsiteX34" fmla="*/ 502444 w 664369"/>
              <a:gd name="connsiteY34" fmla="*/ 335756 h 728705"/>
              <a:gd name="connsiteX35" fmla="*/ 507206 w 664369"/>
              <a:gd name="connsiteY35" fmla="*/ 297656 h 728705"/>
              <a:gd name="connsiteX36" fmla="*/ 573881 w 664369"/>
              <a:gd name="connsiteY36" fmla="*/ 192881 h 728705"/>
              <a:gd name="connsiteX37" fmla="*/ 571500 w 664369"/>
              <a:gd name="connsiteY37" fmla="*/ 173831 h 728705"/>
              <a:gd name="connsiteX38" fmla="*/ 573881 w 664369"/>
              <a:gd name="connsiteY38" fmla="*/ 164306 h 728705"/>
              <a:gd name="connsiteX39" fmla="*/ 614363 w 664369"/>
              <a:gd name="connsiteY39" fmla="*/ 154781 h 728705"/>
              <a:gd name="connsiteX40" fmla="*/ 628650 w 664369"/>
              <a:gd name="connsiteY40" fmla="*/ 164306 h 728705"/>
              <a:gd name="connsiteX41" fmla="*/ 647700 w 664369"/>
              <a:gd name="connsiteY41" fmla="*/ 166687 h 728705"/>
              <a:gd name="connsiteX42" fmla="*/ 659606 w 664369"/>
              <a:gd name="connsiteY42" fmla="*/ 138112 h 728705"/>
              <a:gd name="connsiteX43" fmla="*/ 664369 w 664369"/>
              <a:gd name="connsiteY43" fmla="*/ 123825 h 728705"/>
              <a:gd name="connsiteX44" fmla="*/ 645319 w 664369"/>
              <a:gd name="connsiteY44" fmla="*/ 109537 h 728705"/>
              <a:gd name="connsiteX45" fmla="*/ 642938 w 664369"/>
              <a:gd name="connsiteY45" fmla="*/ 97631 h 728705"/>
              <a:gd name="connsiteX46" fmla="*/ 621506 w 664369"/>
              <a:gd name="connsiteY46" fmla="*/ 88106 h 728705"/>
              <a:gd name="connsiteX47" fmla="*/ 590550 w 664369"/>
              <a:gd name="connsiteY47" fmla="*/ 92869 h 728705"/>
              <a:gd name="connsiteX48" fmla="*/ 573881 w 664369"/>
              <a:gd name="connsiteY48" fmla="*/ 109537 h 728705"/>
              <a:gd name="connsiteX49" fmla="*/ 564356 w 664369"/>
              <a:gd name="connsiteY49" fmla="*/ 121444 h 728705"/>
              <a:gd name="connsiteX50" fmla="*/ 547688 w 664369"/>
              <a:gd name="connsiteY50" fmla="*/ 130969 h 728705"/>
              <a:gd name="connsiteX51" fmla="*/ 528638 w 664369"/>
              <a:gd name="connsiteY51" fmla="*/ 138112 h 728705"/>
              <a:gd name="connsiteX52" fmla="*/ 516731 w 664369"/>
              <a:gd name="connsiteY52" fmla="*/ 133350 h 728705"/>
              <a:gd name="connsiteX53" fmla="*/ 502444 w 664369"/>
              <a:gd name="connsiteY53" fmla="*/ 133350 h 728705"/>
              <a:gd name="connsiteX54" fmla="*/ 495300 w 664369"/>
              <a:gd name="connsiteY54" fmla="*/ 126206 h 728705"/>
              <a:gd name="connsiteX55" fmla="*/ 478631 w 664369"/>
              <a:gd name="connsiteY55" fmla="*/ 169069 h 728705"/>
              <a:gd name="connsiteX56" fmla="*/ 469106 w 664369"/>
              <a:gd name="connsiteY56" fmla="*/ 178594 h 728705"/>
              <a:gd name="connsiteX57" fmla="*/ 459581 w 664369"/>
              <a:gd name="connsiteY57" fmla="*/ 178594 h 728705"/>
              <a:gd name="connsiteX58" fmla="*/ 459581 w 664369"/>
              <a:gd name="connsiteY58" fmla="*/ 178594 h 728705"/>
              <a:gd name="connsiteX59" fmla="*/ 445294 w 664369"/>
              <a:gd name="connsiteY59" fmla="*/ 192881 h 728705"/>
              <a:gd name="connsiteX60" fmla="*/ 431006 w 664369"/>
              <a:gd name="connsiteY60" fmla="*/ 204787 h 728705"/>
              <a:gd name="connsiteX61" fmla="*/ 421481 w 664369"/>
              <a:gd name="connsiteY61" fmla="*/ 211931 h 728705"/>
              <a:gd name="connsiteX62" fmla="*/ 411956 w 664369"/>
              <a:gd name="connsiteY62" fmla="*/ 190500 h 728705"/>
              <a:gd name="connsiteX63" fmla="*/ 397669 w 664369"/>
              <a:gd name="connsiteY63" fmla="*/ 169069 h 728705"/>
              <a:gd name="connsiteX64" fmla="*/ 385763 w 664369"/>
              <a:gd name="connsiteY64" fmla="*/ 150019 h 728705"/>
              <a:gd name="connsiteX65" fmla="*/ 247650 w 664369"/>
              <a:gd name="connsiteY65" fmla="*/ 185737 h 728705"/>
              <a:gd name="connsiteX66" fmla="*/ 202406 w 664369"/>
              <a:gd name="connsiteY66" fmla="*/ 0 h 728705"/>
              <a:gd name="connsiteX67" fmla="*/ 190500 w 664369"/>
              <a:gd name="connsiteY67" fmla="*/ 4762 h 728705"/>
              <a:gd name="connsiteX0" fmla="*/ 190500 w 664369"/>
              <a:gd name="connsiteY0" fmla="*/ 4762 h 728705"/>
              <a:gd name="connsiteX1" fmla="*/ 195263 w 664369"/>
              <a:gd name="connsiteY1" fmla="*/ 78581 h 728705"/>
              <a:gd name="connsiteX2" fmla="*/ 195263 w 664369"/>
              <a:gd name="connsiteY2" fmla="*/ 183356 h 728705"/>
              <a:gd name="connsiteX3" fmla="*/ 147638 w 664369"/>
              <a:gd name="connsiteY3" fmla="*/ 269081 h 728705"/>
              <a:gd name="connsiteX4" fmla="*/ 111919 w 664369"/>
              <a:gd name="connsiteY4" fmla="*/ 290512 h 728705"/>
              <a:gd name="connsiteX5" fmla="*/ 92869 w 664369"/>
              <a:gd name="connsiteY5" fmla="*/ 302419 h 728705"/>
              <a:gd name="connsiteX6" fmla="*/ 90488 w 664369"/>
              <a:gd name="connsiteY6" fmla="*/ 330994 h 728705"/>
              <a:gd name="connsiteX7" fmla="*/ 102394 w 664369"/>
              <a:gd name="connsiteY7" fmla="*/ 335756 h 728705"/>
              <a:gd name="connsiteX8" fmla="*/ 100013 w 664369"/>
              <a:gd name="connsiteY8" fmla="*/ 359569 h 728705"/>
              <a:gd name="connsiteX9" fmla="*/ 104775 w 664369"/>
              <a:gd name="connsiteY9" fmla="*/ 373856 h 728705"/>
              <a:gd name="connsiteX10" fmla="*/ 83344 w 664369"/>
              <a:gd name="connsiteY10" fmla="*/ 392906 h 728705"/>
              <a:gd name="connsiteX11" fmla="*/ 133288 w 664369"/>
              <a:gd name="connsiteY11" fmla="*/ 443014 h 728705"/>
              <a:gd name="connsiteX12" fmla="*/ 76191 w 664369"/>
              <a:gd name="connsiteY12" fmla="*/ 366696 h 728705"/>
              <a:gd name="connsiteX13" fmla="*/ 45244 w 664369"/>
              <a:gd name="connsiteY13" fmla="*/ 385762 h 728705"/>
              <a:gd name="connsiteX14" fmla="*/ 45244 w 664369"/>
              <a:gd name="connsiteY14" fmla="*/ 426244 h 728705"/>
              <a:gd name="connsiteX15" fmla="*/ 52388 w 664369"/>
              <a:gd name="connsiteY15" fmla="*/ 442912 h 728705"/>
              <a:gd name="connsiteX16" fmla="*/ 0 w 664369"/>
              <a:gd name="connsiteY16" fmla="*/ 507206 h 728705"/>
              <a:gd name="connsiteX17" fmla="*/ 33338 w 664369"/>
              <a:gd name="connsiteY17" fmla="*/ 611981 h 728705"/>
              <a:gd name="connsiteX18" fmla="*/ 88106 w 664369"/>
              <a:gd name="connsiteY18" fmla="*/ 647700 h 728705"/>
              <a:gd name="connsiteX19" fmla="*/ 104775 w 664369"/>
              <a:gd name="connsiteY19" fmla="*/ 642937 h 728705"/>
              <a:gd name="connsiteX20" fmla="*/ 152400 w 664369"/>
              <a:gd name="connsiteY20" fmla="*/ 690562 h 728705"/>
              <a:gd name="connsiteX21" fmla="*/ 214313 w 664369"/>
              <a:gd name="connsiteY21" fmla="*/ 728705 h 728705"/>
              <a:gd name="connsiteX22" fmla="*/ 230981 w 664369"/>
              <a:gd name="connsiteY22" fmla="*/ 671512 h 728705"/>
              <a:gd name="connsiteX23" fmla="*/ 285750 w 664369"/>
              <a:gd name="connsiteY23" fmla="*/ 650081 h 728705"/>
              <a:gd name="connsiteX24" fmla="*/ 354803 w 664369"/>
              <a:gd name="connsiteY24" fmla="*/ 628692 h 728705"/>
              <a:gd name="connsiteX25" fmla="*/ 369094 w 664369"/>
              <a:gd name="connsiteY25" fmla="*/ 602456 h 728705"/>
              <a:gd name="connsiteX26" fmla="*/ 366713 w 664369"/>
              <a:gd name="connsiteY26" fmla="*/ 564356 h 728705"/>
              <a:gd name="connsiteX27" fmla="*/ 369094 w 664369"/>
              <a:gd name="connsiteY27" fmla="*/ 533400 h 728705"/>
              <a:gd name="connsiteX28" fmla="*/ 373856 w 664369"/>
              <a:gd name="connsiteY28" fmla="*/ 502444 h 728705"/>
              <a:gd name="connsiteX29" fmla="*/ 381000 w 664369"/>
              <a:gd name="connsiteY29" fmla="*/ 478631 h 728705"/>
              <a:gd name="connsiteX30" fmla="*/ 407194 w 664369"/>
              <a:gd name="connsiteY30" fmla="*/ 440531 h 728705"/>
              <a:gd name="connsiteX31" fmla="*/ 428625 w 664369"/>
              <a:gd name="connsiteY31" fmla="*/ 390525 h 728705"/>
              <a:gd name="connsiteX32" fmla="*/ 428625 w 664369"/>
              <a:gd name="connsiteY32" fmla="*/ 390525 h 728705"/>
              <a:gd name="connsiteX33" fmla="*/ 476250 w 664369"/>
              <a:gd name="connsiteY33" fmla="*/ 359569 h 728705"/>
              <a:gd name="connsiteX34" fmla="*/ 502444 w 664369"/>
              <a:gd name="connsiteY34" fmla="*/ 335756 h 728705"/>
              <a:gd name="connsiteX35" fmla="*/ 507206 w 664369"/>
              <a:gd name="connsiteY35" fmla="*/ 297656 h 728705"/>
              <a:gd name="connsiteX36" fmla="*/ 573881 w 664369"/>
              <a:gd name="connsiteY36" fmla="*/ 192881 h 728705"/>
              <a:gd name="connsiteX37" fmla="*/ 571500 w 664369"/>
              <a:gd name="connsiteY37" fmla="*/ 173831 h 728705"/>
              <a:gd name="connsiteX38" fmla="*/ 573881 w 664369"/>
              <a:gd name="connsiteY38" fmla="*/ 164306 h 728705"/>
              <a:gd name="connsiteX39" fmla="*/ 614363 w 664369"/>
              <a:gd name="connsiteY39" fmla="*/ 154781 h 728705"/>
              <a:gd name="connsiteX40" fmla="*/ 628650 w 664369"/>
              <a:gd name="connsiteY40" fmla="*/ 164306 h 728705"/>
              <a:gd name="connsiteX41" fmla="*/ 647700 w 664369"/>
              <a:gd name="connsiteY41" fmla="*/ 166687 h 728705"/>
              <a:gd name="connsiteX42" fmla="*/ 659606 w 664369"/>
              <a:gd name="connsiteY42" fmla="*/ 138112 h 728705"/>
              <a:gd name="connsiteX43" fmla="*/ 664369 w 664369"/>
              <a:gd name="connsiteY43" fmla="*/ 123825 h 728705"/>
              <a:gd name="connsiteX44" fmla="*/ 645319 w 664369"/>
              <a:gd name="connsiteY44" fmla="*/ 109537 h 728705"/>
              <a:gd name="connsiteX45" fmla="*/ 642938 w 664369"/>
              <a:gd name="connsiteY45" fmla="*/ 97631 h 728705"/>
              <a:gd name="connsiteX46" fmla="*/ 621506 w 664369"/>
              <a:gd name="connsiteY46" fmla="*/ 88106 h 728705"/>
              <a:gd name="connsiteX47" fmla="*/ 590550 w 664369"/>
              <a:gd name="connsiteY47" fmla="*/ 92869 h 728705"/>
              <a:gd name="connsiteX48" fmla="*/ 573881 w 664369"/>
              <a:gd name="connsiteY48" fmla="*/ 109537 h 728705"/>
              <a:gd name="connsiteX49" fmla="*/ 564356 w 664369"/>
              <a:gd name="connsiteY49" fmla="*/ 121444 h 728705"/>
              <a:gd name="connsiteX50" fmla="*/ 547688 w 664369"/>
              <a:gd name="connsiteY50" fmla="*/ 130969 h 728705"/>
              <a:gd name="connsiteX51" fmla="*/ 528638 w 664369"/>
              <a:gd name="connsiteY51" fmla="*/ 138112 h 728705"/>
              <a:gd name="connsiteX52" fmla="*/ 516731 w 664369"/>
              <a:gd name="connsiteY52" fmla="*/ 133350 h 728705"/>
              <a:gd name="connsiteX53" fmla="*/ 502444 w 664369"/>
              <a:gd name="connsiteY53" fmla="*/ 133350 h 728705"/>
              <a:gd name="connsiteX54" fmla="*/ 495300 w 664369"/>
              <a:gd name="connsiteY54" fmla="*/ 126206 h 728705"/>
              <a:gd name="connsiteX55" fmla="*/ 478631 w 664369"/>
              <a:gd name="connsiteY55" fmla="*/ 169069 h 728705"/>
              <a:gd name="connsiteX56" fmla="*/ 469106 w 664369"/>
              <a:gd name="connsiteY56" fmla="*/ 178594 h 728705"/>
              <a:gd name="connsiteX57" fmla="*/ 459581 w 664369"/>
              <a:gd name="connsiteY57" fmla="*/ 178594 h 728705"/>
              <a:gd name="connsiteX58" fmla="*/ 459581 w 664369"/>
              <a:gd name="connsiteY58" fmla="*/ 178594 h 728705"/>
              <a:gd name="connsiteX59" fmla="*/ 445294 w 664369"/>
              <a:gd name="connsiteY59" fmla="*/ 192881 h 728705"/>
              <a:gd name="connsiteX60" fmla="*/ 431006 w 664369"/>
              <a:gd name="connsiteY60" fmla="*/ 204787 h 728705"/>
              <a:gd name="connsiteX61" fmla="*/ 421481 w 664369"/>
              <a:gd name="connsiteY61" fmla="*/ 211931 h 728705"/>
              <a:gd name="connsiteX62" fmla="*/ 411956 w 664369"/>
              <a:gd name="connsiteY62" fmla="*/ 190500 h 728705"/>
              <a:gd name="connsiteX63" fmla="*/ 397669 w 664369"/>
              <a:gd name="connsiteY63" fmla="*/ 169069 h 728705"/>
              <a:gd name="connsiteX64" fmla="*/ 385763 w 664369"/>
              <a:gd name="connsiteY64" fmla="*/ 150019 h 728705"/>
              <a:gd name="connsiteX65" fmla="*/ 247650 w 664369"/>
              <a:gd name="connsiteY65" fmla="*/ 185737 h 728705"/>
              <a:gd name="connsiteX66" fmla="*/ 202406 w 664369"/>
              <a:gd name="connsiteY66" fmla="*/ 0 h 728705"/>
              <a:gd name="connsiteX67" fmla="*/ 190500 w 664369"/>
              <a:gd name="connsiteY67" fmla="*/ 4762 h 728705"/>
              <a:gd name="connsiteX0" fmla="*/ 190500 w 664369"/>
              <a:gd name="connsiteY0" fmla="*/ 4762 h 728705"/>
              <a:gd name="connsiteX1" fmla="*/ 195263 w 664369"/>
              <a:gd name="connsiteY1" fmla="*/ 78581 h 728705"/>
              <a:gd name="connsiteX2" fmla="*/ 195263 w 664369"/>
              <a:gd name="connsiteY2" fmla="*/ 183356 h 728705"/>
              <a:gd name="connsiteX3" fmla="*/ 147638 w 664369"/>
              <a:gd name="connsiteY3" fmla="*/ 269081 h 728705"/>
              <a:gd name="connsiteX4" fmla="*/ 111919 w 664369"/>
              <a:gd name="connsiteY4" fmla="*/ 290512 h 728705"/>
              <a:gd name="connsiteX5" fmla="*/ 92869 w 664369"/>
              <a:gd name="connsiteY5" fmla="*/ 302419 h 728705"/>
              <a:gd name="connsiteX6" fmla="*/ 90488 w 664369"/>
              <a:gd name="connsiteY6" fmla="*/ 330994 h 728705"/>
              <a:gd name="connsiteX7" fmla="*/ 102394 w 664369"/>
              <a:gd name="connsiteY7" fmla="*/ 335756 h 728705"/>
              <a:gd name="connsiteX8" fmla="*/ 100013 w 664369"/>
              <a:gd name="connsiteY8" fmla="*/ 359569 h 728705"/>
              <a:gd name="connsiteX9" fmla="*/ 104775 w 664369"/>
              <a:gd name="connsiteY9" fmla="*/ 373856 h 728705"/>
              <a:gd name="connsiteX10" fmla="*/ 83344 w 664369"/>
              <a:gd name="connsiteY10" fmla="*/ 392906 h 728705"/>
              <a:gd name="connsiteX11" fmla="*/ 76191 w 664369"/>
              <a:gd name="connsiteY11" fmla="*/ 366696 h 728705"/>
              <a:gd name="connsiteX12" fmla="*/ 45244 w 664369"/>
              <a:gd name="connsiteY12" fmla="*/ 385762 h 728705"/>
              <a:gd name="connsiteX13" fmla="*/ 45244 w 664369"/>
              <a:gd name="connsiteY13" fmla="*/ 426244 h 728705"/>
              <a:gd name="connsiteX14" fmla="*/ 52388 w 664369"/>
              <a:gd name="connsiteY14" fmla="*/ 442912 h 728705"/>
              <a:gd name="connsiteX15" fmla="*/ 0 w 664369"/>
              <a:gd name="connsiteY15" fmla="*/ 507206 h 728705"/>
              <a:gd name="connsiteX16" fmla="*/ 33338 w 664369"/>
              <a:gd name="connsiteY16" fmla="*/ 611981 h 728705"/>
              <a:gd name="connsiteX17" fmla="*/ 88106 w 664369"/>
              <a:gd name="connsiteY17" fmla="*/ 647700 h 728705"/>
              <a:gd name="connsiteX18" fmla="*/ 104775 w 664369"/>
              <a:gd name="connsiteY18" fmla="*/ 642937 h 728705"/>
              <a:gd name="connsiteX19" fmla="*/ 152400 w 664369"/>
              <a:gd name="connsiteY19" fmla="*/ 690562 h 728705"/>
              <a:gd name="connsiteX20" fmla="*/ 214313 w 664369"/>
              <a:gd name="connsiteY20" fmla="*/ 728705 h 728705"/>
              <a:gd name="connsiteX21" fmla="*/ 230981 w 664369"/>
              <a:gd name="connsiteY21" fmla="*/ 671512 h 728705"/>
              <a:gd name="connsiteX22" fmla="*/ 285750 w 664369"/>
              <a:gd name="connsiteY22" fmla="*/ 650081 h 728705"/>
              <a:gd name="connsiteX23" fmla="*/ 354803 w 664369"/>
              <a:gd name="connsiteY23" fmla="*/ 628692 h 728705"/>
              <a:gd name="connsiteX24" fmla="*/ 369094 w 664369"/>
              <a:gd name="connsiteY24" fmla="*/ 602456 h 728705"/>
              <a:gd name="connsiteX25" fmla="*/ 366713 w 664369"/>
              <a:gd name="connsiteY25" fmla="*/ 564356 h 728705"/>
              <a:gd name="connsiteX26" fmla="*/ 369094 w 664369"/>
              <a:gd name="connsiteY26" fmla="*/ 533400 h 728705"/>
              <a:gd name="connsiteX27" fmla="*/ 373856 w 664369"/>
              <a:gd name="connsiteY27" fmla="*/ 502444 h 728705"/>
              <a:gd name="connsiteX28" fmla="*/ 381000 w 664369"/>
              <a:gd name="connsiteY28" fmla="*/ 478631 h 728705"/>
              <a:gd name="connsiteX29" fmla="*/ 407194 w 664369"/>
              <a:gd name="connsiteY29" fmla="*/ 440531 h 728705"/>
              <a:gd name="connsiteX30" fmla="*/ 428625 w 664369"/>
              <a:gd name="connsiteY30" fmla="*/ 390525 h 728705"/>
              <a:gd name="connsiteX31" fmla="*/ 428625 w 664369"/>
              <a:gd name="connsiteY31" fmla="*/ 390525 h 728705"/>
              <a:gd name="connsiteX32" fmla="*/ 476250 w 664369"/>
              <a:gd name="connsiteY32" fmla="*/ 359569 h 728705"/>
              <a:gd name="connsiteX33" fmla="*/ 502444 w 664369"/>
              <a:gd name="connsiteY33" fmla="*/ 335756 h 728705"/>
              <a:gd name="connsiteX34" fmla="*/ 507206 w 664369"/>
              <a:gd name="connsiteY34" fmla="*/ 297656 h 728705"/>
              <a:gd name="connsiteX35" fmla="*/ 573881 w 664369"/>
              <a:gd name="connsiteY35" fmla="*/ 192881 h 728705"/>
              <a:gd name="connsiteX36" fmla="*/ 571500 w 664369"/>
              <a:gd name="connsiteY36" fmla="*/ 173831 h 728705"/>
              <a:gd name="connsiteX37" fmla="*/ 573881 w 664369"/>
              <a:gd name="connsiteY37" fmla="*/ 164306 h 728705"/>
              <a:gd name="connsiteX38" fmla="*/ 614363 w 664369"/>
              <a:gd name="connsiteY38" fmla="*/ 154781 h 728705"/>
              <a:gd name="connsiteX39" fmla="*/ 628650 w 664369"/>
              <a:gd name="connsiteY39" fmla="*/ 164306 h 728705"/>
              <a:gd name="connsiteX40" fmla="*/ 647700 w 664369"/>
              <a:gd name="connsiteY40" fmla="*/ 166687 h 728705"/>
              <a:gd name="connsiteX41" fmla="*/ 659606 w 664369"/>
              <a:gd name="connsiteY41" fmla="*/ 138112 h 728705"/>
              <a:gd name="connsiteX42" fmla="*/ 664369 w 664369"/>
              <a:gd name="connsiteY42" fmla="*/ 123825 h 728705"/>
              <a:gd name="connsiteX43" fmla="*/ 645319 w 664369"/>
              <a:gd name="connsiteY43" fmla="*/ 109537 h 728705"/>
              <a:gd name="connsiteX44" fmla="*/ 642938 w 664369"/>
              <a:gd name="connsiteY44" fmla="*/ 97631 h 728705"/>
              <a:gd name="connsiteX45" fmla="*/ 621506 w 664369"/>
              <a:gd name="connsiteY45" fmla="*/ 88106 h 728705"/>
              <a:gd name="connsiteX46" fmla="*/ 590550 w 664369"/>
              <a:gd name="connsiteY46" fmla="*/ 92869 h 728705"/>
              <a:gd name="connsiteX47" fmla="*/ 573881 w 664369"/>
              <a:gd name="connsiteY47" fmla="*/ 109537 h 728705"/>
              <a:gd name="connsiteX48" fmla="*/ 564356 w 664369"/>
              <a:gd name="connsiteY48" fmla="*/ 121444 h 728705"/>
              <a:gd name="connsiteX49" fmla="*/ 547688 w 664369"/>
              <a:gd name="connsiteY49" fmla="*/ 130969 h 728705"/>
              <a:gd name="connsiteX50" fmla="*/ 528638 w 664369"/>
              <a:gd name="connsiteY50" fmla="*/ 138112 h 728705"/>
              <a:gd name="connsiteX51" fmla="*/ 516731 w 664369"/>
              <a:gd name="connsiteY51" fmla="*/ 133350 h 728705"/>
              <a:gd name="connsiteX52" fmla="*/ 502444 w 664369"/>
              <a:gd name="connsiteY52" fmla="*/ 133350 h 728705"/>
              <a:gd name="connsiteX53" fmla="*/ 495300 w 664369"/>
              <a:gd name="connsiteY53" fmla="*/ 126206 h 728705"/>
              <a:gd name="connsiteX54" fmla="*/ 478631 w 664369"/>
              <a:gd name="connsiteY54" fmla="*/ 169069 h 728705"/>
              <a:gd name="connsiteX55" fmla="*/ 469106 w 664369"/>
              <a:gd name="connsiteY55" fmla="*/ 178594 h 728705"/>
              <a:gd name="connsiteX56" fmla="*/ 459581 w 664369"/>
              <a:gd name="connsiteY56" fmla="*/ 178594 h 728705"/>
              <a:gd name="connsiteX57" fmla="*/ 459581 w 664369"/>
              <a:gd name="connsiteY57" fmla="*/ 178594 h 728705"/>
              <a:gd name="connsiteX58" fmla="*/ 445294 w 664369"/>
              <a:gd name="connsiteY58" fmla="*/ 192881 h 728705"/>
              <a:gd name="connsiteX59" fmla="*/ 431006 w 664369"/>
              <a:gd name="connsiteY59" fmla="*/ 204787 h 728705"/>
              <a:gd name="connsiteX60" fmla="*/ 421481 w 664369"/>
              <a:gd name="connsiteY60" fmla="*/ 211931 h 728705"/>
              <a:gd name="connsiteX61" fmla="*/ 411956 w 664369"/>
              <a:gd name="connsiteY61" fmla="*/ 190500 h 728705"/>
              <a:gd name="connsiteX62" fmla="*/ 397669 w 664369"/>
              <a:gd name="connsiteY62" fmla="*/ 169069 h 728705"/>
              <a:gd name="connsiteX63" fmla="*/ 385763 w 664369"/>
              <a:gd name="connsiteY63" fmla="*/ 150019 h 728705"/>
              <a:gd name="connsiteX64" fmla="*/ 247650 w 664369"/>
              <a:gd name="connsiteY64" fmla="*/ 185737 h 728705"/>
              <a:gd name="connsiteX65" fmla="*/ 202406 w 664369"/>
              <a:gd name="connsiteY65" fmla="*/ 0 h 728705"/>
              <a:gd name="connsiteX66" fmla="*/ 190500 w 664369"/>
              <a:gd name="connsiteY66" fmla="*/ 4762 h 7287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64369" h="728705">
                <a:moveTo>
                  <a:pt x="190500" y="4762"/>
                </a:moveTo>
                <a:lnTo>
                  <a:pt x="195263" y="78581"/>
                </a:lnTo>
                <a:lnTo>
                  <a:pt x="195263" y="183356"/>
                </a:lnTo>
                <a:lnTo>
                  <a:pt x="147638" y="269081"/>
                </a:lnTo>
                <a:lnTo>
                  <a:pt x="111919" y="290512"/>
                </a:lnTo>
                <a:lnTo>
                  <a:pt x="92869" y="302419"/>
                </a:lnTo>
                <a:lnTo>
                  <a:pt x="90488" y="330994"/>
                </a:lnTo>
                <a:lnTo>
                  <a:pt x="102394" y="335756"/>
                </a:lnTo>
                <a:lnTo>
                  <a:pt x="100013" y="359569"/>
                </a:lnTo>
                <a:lnTo>
                  <a:pt x="104775" y="373856"/>
                </a:lnTo>
                <a:lnTo>
                  <a:pt x="83344" y="392906"/>
                </a:lnTo>
                <a:lnTo>
                  <a:pt x="76191" y="366696"/>
                </a:lnTo>
                <a:lnTo>
                  <a:pt x="45244" y="385762"/>
                </a:lnTo>
                <a:lnTo>
                  <a:pt x="45244" y="426244"/>
                </a:lnTo>
                <a:lnTo>
                  <a:pt x="52388" y="442912"/>
                </a:lnTo>
                <a:lnTo>
                  <a:pt x="0" y="507206"/>
                </a:lnTo>
                <a:lnTo>
                  <a:pt x="33338" y="611981"/>
                </a:lnTo>
                <a:lnTo>
                  <a:pt x="88106" y="647700"/>
                </a:lnTo>
                <a:lnTo>
                  <a:pt x="104775" y="642937"/>
                </a:lnTo>
                <a:lnTo>
                  <a:pt x="152400" y="690562"/>
                </a:lnTo>
                <a:lnTo>
                  <a:pt x="214313" y="728705"/>
                </a:lnTo>
                <a:lnTo>
                  <a:pt x="230981" y="671512"/>
                </a:lnTo>
                <a:lnTo>
                  <a:pt x="285750" y="650081"/>
                </a:lnTo>
                <a:lnTo>
                  <a:pt x="354803" y="628692"/>
                </a:lnTo>
                <a:lnTo>
                  <a:pt x="369094" y="602456"/>
                </a:lnTo>
                <a:lnTo>
                  <a:pt x="366713" y="564356"/>
                </a:lnTo>
                <a:lnTo>
                  <a:pt x="369094" y="533400"/>
                </a:lnTo>
                <a:lnTo>
                  <a:pt x="373856" y="502444"/>
                </a:lnTo>
                <a:lnTo>
                  <a:pt x="381000" y="478631"/>
                </a:lnTo>
                <a:lnTo>
                  <a:pt x="407194" y="440531"/>
                </a:lnTo>
                <a:lnTo>
                  <a:pt x="428625" y="390525"/>
                </a:lnTo>
                <a:lnTo>
                  <a:pt x="428625" y="390525"/>
                </a:lnTo>
                <a:lnTo>
                  <a:pt x="476250" y="359569"/>
                </a:lnTo>
                <a:lnTo>
                  <a:pt x="502444" y="335756"/>
                </a:lnTo>
                <a:lnTo>
                  <a:pt x="507206" y="297656"/>
                </a:lnTo>
                <a:lnTo>
                  <a:pt x="573881" y="192881"/>
                </a:lnTo>
                <a:lnTo>
                  <a:pt x="571500" y="173831"/>
                </a:lnTo>
                <a:lnTo>
                  <a:pt x="573881" y="164306"/>
                </a:lnTo>
                <a:lnTo>
                  <a:pt x="614363" y="154781"/>
                </a:lnTo>
                <a:lnTo>
                  <a:pt x="628650" y="164306"/>
                </a:lnTo>
                <a:lnTo>
                  <a:pt x="647700" y="166687"/>
                </a:lnTo>
                <a:lnTo>
                  <a:pt x="659606" y="138112"/>
                </a:lnTo>
                <a:lnTo>
                  <a:pt x="664369" y="123825"/>
                </a:lnTo>
                <a:lnTo>
                  <a:pt x="645319" y="109537"/>
                </a:lnTo>
                <a:lnTo>
                  <a:pt x="642938" y="97631"/>
                </a:lnTo>
                <a:lnTo>
                  <a:pt x="621506" y="88106"/>
                </a:lnTo>
                <a:lnTo>
                  <a:pt x="590550" y="92869"/>
                </a:lnTo>
                <a:lnTo>
                  <a:pt x="573881" y="109537"/>
                </a:lnTo>
                <a:lnTo>
                  <a:pt x="564356" y="121444"/>
                </a:lnTo>
                <a:lnTo>
                  <a:pt x="547688" y="130969"/>
                </a:lnTo>
                <a:lnTo>
                  <a:pt x="528638" y="138112"/>
                </a:lnTo>
                <a:lnTo>
                  <a:pt x="516731" y="133350"/>
                </a:lnTo>
                <a:lnTo>
                  <a:pt x="502444" y="133350"/>
                </a:lnTo>
                <a:lnTo>
                  <a:pt x="495300" y="126206"/>
                </a:lnTo>
                <a:lnTo>
                  <a:pt x="478631" y="169069"/>
                </a:lnTo>
                <a:lnTo>
                  <a:pt x="469106" y="178594"/>
                </a:lnTo>
                <a:lnTo>
                  <a:pt x="459581" y="178594"/>
                </a:lnTo>
                <a:lnTo>
                  <a:pt x="459581" y="178594"/>
                </a:lnTo>
                <a:lnTo>
                  <a:pt x="445294" y="192881"/>
                </a:lnTo>
                <a:lnTo>
                  <a:pt x="431006" y="204787"/>
                </a:lnTo>
                <a:lnTo>
                  <a:pt x="421481" y="211931"/>
                </a:lnTo>
                <a:lnTo>
                  <a:pt x="411956" y="190500"/>
                </a:lnTo>
                <a:lnTo>
                  <a:pt x="397669" y="169069"/>
                </a:lnTo>
                <a:lnTo>
                  <a:pt x="385763" y="150019"/>
                </a:lnTo>
                <a:lnTo>
                  <a:pt x="247650" y="185737"/>
                </a:lnTo>
                <a:lnTo>
                  <a:pt x="202406" y="0"/>
                </a:lnTo>
                <a:lnTo>
                  <a:pt x="190500" y="4762"/>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46" name="Freeform 45"/>
          <p:cNvSpPr/>
          <p:nvPr/>
        </p:nvSpPr>
        <p:spPr>
          <a:xfrm>
            <a:off x="7216963" y="3133172"/>
            <a:ext cx="667335" cy="321738"/>
          </a:xfrm>
          <a:custGeom>
            <a:avLst/>
            <a:gdLst>
              <a:gd name="connsiteX0" fmla="*/ 0 w 690562"/>
              <a:gd name="connsiteY0" fmla="*/ 180975 h 319087"/>
              <a:gd name="connsiteX1" fmla="*/ 40481 w 690562"/>
              <a:gd name="connsiteY1" fmla="*/ 238125 h 319087"/>
              <a:gd name="connsiteX2" fmla="*/ 76200 w 690562"/>
              <a:gd name="connsiteY2" fmla="*/ 207169 h 319087"/>
              <a:gd name="connsiteX3" fmla="*/ 92868 w 690562"/>
              <a:gd name="connsiteY3" fmla="*/ 209550 h 319087"/>
              <a:gd name="connsiteX4" fmla="*/ 104775 w 690562"/>
              <a:gd name="connsiteY4" fmla="*/ 161925 h 319087"/>
              <a:gd name="connsiteX5" fmla="*/ 145256 w 690562"/>
              <a:gd name="connsiteY5" fmla="*/ 169069 h 319087"/>
              <a:gd name="connsiteX6" fmla="*/ 171450 w 690562"/>
              <a:gd name="connsiteY6" fmla="*/ 161925 h 319087"/>
              <a:gd name="connsiteX7" fmla="*/ 192881 w 690562"/>
              <a:gd name="connsiteY7" fmla="*/ 140494 h 319087"/>
              <a:gd name="connsiteX8" fmla="*/ 216693 w 690562"/>
              <a:gd name="connsiteY8" fmla="*/ 119062 h 319087"/>
              <a:gd name="connsiteX9" fmla="*/ 238125 w 690562"/>
              <a:gd name="connsiteY9" fmla="*/ 119062 h 319087"/>
              <a:gd name="connsiteX10" fmla="*/ 259556 w 690562"/>
              <a:gd name="connsiteY10" fmla="*/ 130969 h 319087"/>
              <a:gd name="connsiteX11" fmla="*/ 264318 w 690562"/>
              <a:gd name="connsiteY11" fmla="*/ 145256 h 319087"/>
              <a:gd name="connsiteX12" fmla="*/ 283368 w 690562"/>
              <a:gd name="connsiteY12" fmla="*/ 157162 h 319087"/>
              <a:gd name="connsiteX13" fmla="*/ 302418 w 690562"/>
              <a:gd name="connsiteY13" fmla="*/ 147637 h 319087"/>
              <a:gd name="connsiteX14" fmla="*/ 328612 w 690562"/>
              <a:gd name="connsiteY14" fmla="*/ 159544 h 319087"/>
              <a:gd name="connsiteX15" fmla="*/ 350043 w 690562"/>
              <a:gd name="connsiteY15" fmla="*/ 171450 h 319087"/>
              <a:gd name="connsiteX16" fmla="*/ 369093 w 690562"/>
              <a:gd name="connsiteY16" fmla="*/ 188119 h 319087"/>
              <a:gd name="connsiteX17" fmla="*/ 397668 w 690562"/>
              <a:gd name="connsiteY17" fmla="*/ 214312 h 319087"/>
              <a:gd name="connsiteX18" fmla="*/ 402431 w 690562"/>
              <a:gd name="connsiteY18" fmla="*/ 235744 h 319087"/>
              <a:gd name="connsiteX19" fmla="*/ 400050 w 690562"/>
              <a:gd name="connsiteY19" fmla="*/ 264319 h 319087"/>
              <a:gd name="connsiteX20" fmla="*/ 388143 w 690562"/>
              <a:gd name="connsiteY20" fmla="*/ 290512 h 319087"/>
              <a:gd name="connsiteX21" fmla="*/ 409575 w 690562"/>
              <a:gd name="connsiteY21" fmla="*/ 302419 h 319087"/>
              <a:gd name="connsiteX22" fmla="*/ 419100 w 690562"/>
              <a:gd name="connsiteY22" fmla="*/ 302419 h 319087"/>
              <a:gd name="connsiteX23" fmla="*/ 438150 w 690562"/>
              <a:gd name="connsiteY23" fmla="*/ 290512 h 319087"/>
              <a:gd name="connsiteX24" fmla="*/ 454818 w 690562"/>
              <a:gd name="connsiteY24" fmla="*/ 295275 h 319087"/>
              <a:gd name="connsiteX25" fmla="*/ 473868 w 690562"/>
              <a:gd name="connsiteY25" fmla="*/ 309562 h 319087"/>
              <a:gd name="connsiteX26" fmla="*/ 507206 w 690562"/>
              <a:gd name="connsiteY26" fmla="*/ 314325 h 319087"/>
              <a:gd name="connsiteX27" fmla="*/ 523875 w 690562"/>
              <a:gd name="connsiteY27" fmla="*/ 319087 h 319087"/>
              <a:gd name="connsiteX28" fmla="*/ 526256 w 690562"/>
              <a:gd name="connsiteY28" fmla="*/ 302419 h 319087"/>
              <a:gd name="connsiteX29" fmla="*/ 535781 w 690562"/>
              <a:gd name="connsiteY29" fmla="*/ 290512 h 319087"/>
              <a:gd name="connsiteX30" fmla="*/ 528637 w 690562"/>
              <a:gd name="connsiteY30" fmla="*/ 261937 h 319087"/>
              <a:gd name="connsiteX31" fmla="*/ 509587 w 690562"/>
              <a:gd name="connsiteY31" fmla="*/ 257175 h 319087"/>
              <a:gd name="connsiteX32" fmla="*/ 490537 w 690562"/>
              <a:gd name="connsiteY32" fmla="*/ 235744 h 319087"/>
              <a:gd name="connsiteX33" fmla="*/ 481012 w 690562"/>
              <a:gd name="connsiteY33" fmla="*/ 202406 h 319087"/>
              <a:gd name="connsiteX34" fmla="*/ 461962 w 690562"/>
              <a:gd name="connsiteY34" fmla="*/ 154781 h 319087"/>
              <a:gd name="connsiteX35" fmla="*/ 457200 w 690562"/>
              <a:gd name="connsiteY35" fmla="*/ 126206 h 319087"/>
              <a:gd name="connsiteX36" fmla="*/ 457200 w 690562"/>
              <a:gd name="connsiteY36" fmla="*/ 111919 h 319087"/>
              <a:gd name="connsiteX37" fmla="*/ 469106 w 690562"/>
              <a:gd name="connsiteY37" fmla="*/ 100012 h 319087"/>
              <a:gd name="connsiteX38" fmla="*/ 476250 w 690562"/>
              <a:gd name="connsiteY38" fmla="*/ 78581 h 319087"/>
              <a:gd name="connsiteX39" fmla="*/ 497681 w 690562"/>
              <a:gd name="connsiteY39" fmla="*/ 73819 h 319087"/>
              <a:gd name="connsiteX40" fmla="*/ 500062 w 690562"/>
              <a:gd name="connsiteY40" fmla="*/ 92869 h 319087"/>
              <a:gd name="connsiteX41" fmla="*/ 495300 w 690562"/>
              <a:gd name="connsiteY41" fmla="*/ 107156 h 319087"/>
              <a:gd name="connsiteX42" fmla="*/ 509587 w 690562"/>
              <a:gd name="connsiteY42" fmla="*/ 116681 h 319087"/>
              <a:gd name="connsiteX43" fmla="*/ 509587 w 690562"/>
              <a:gd name="connsiteY43" fmla="*/ 126206 h 319087"/>
              <a:gd name="connsiteX44" fmla="*/ 504825 w 690562"/>
              <a:gd name="connsiteY44" fmla="*/ 147637 h 319087"/>
              <a:gd name="connsiteX45" fmla="*/ 502443 w 690562"/>
              <a:gd name="connsiteY45" fmla="*/ 154781 h 319087"/>
              <a:gd name="connsiteX46" fmla="*/ 523875 w 690562"/>
              <a:gd name="connsiteY46" fmla="*/ 171450 h 319087"/>
              <a:gd name="connsiteX47" fmla="*/ 531018 w 690562"/>
              <a:gd name="connsiteY47" fmla="*/ 185737 h 319087"/>
              <a:gd name="connsiteX48" fmla="*/ 545306 w 690562"/>
              <a:gd name="connsiteY48" fmla="*/ 190500 h 319087"/>
              <a:gd name="connsiteX49" fmla="*/ 531018 w 690562"/>
              <a:gd name="connsiteY49" fmla="*/ 204787 h 319087"/>
              <a:gd name="connsiteX50" fmla="*/ 528637 w 690562"/>
              <a:gd name="connsiteY50" fmla="*/ 216694 h 319087"/>
              <a:gd name="connsiteX51" fmla="*/ 547687 w 690562"/>
              <a:gd name="connsiteY51" fmla="*/ 235744 h 319087"/>
              <a:gd name="connsiteX52" fmla="*/ 547687 w 690562"/>
              <a:gd name="connsiteY52" fmla="*/ 235744 h 319087"/>
              <a:gd name="connsiteX53" fmla="*/ 581025 w 690562"/>
              <a:gd name="connsiteY53" fmla="*/ 247650 h 319087"/>
              <a:gd name="connsiteX54" fmla="*/ 595312 w 690562"/>
              <a:gd name="connsiteY54" fmla="*/ 242887 h 319087"/>
              <a:gd name="connsiteX55" fmla="*/ 602456 w 690562"/>
              <a:gd name="connsiteY55" fmla="*/ 264319 h 319087"/>
              <a:gd name="connsiteX56" fmla="*/ 602456 w 690562"/>
              <a:gd name="connsiteY56" fmla="*/ 292894 h 319087"/>
              <a:gd name="connsiteX57" fmla="*/ 611981 w 690562"/>
              <a:gd name="connsiteY57" fmla="*/ 297656 h 319087"/>
              <a:gd name="connsiteX58" fmla="*/ 631031 w 690562"/>
              <a:gd name="connsiteY58" fmla="*/ 297656 h 319087"/>
              <a:gd name="connsiteX59" fmla="*/ 650081 w 690562"/>
              <a:gd name="connsiteY59" fmla="*/ 285750 h 319087"/>
              <a:gd name="connsiteX60" fmla="*/ 669131 w 690562"/>
              <a:gd name="connsiteY60" fmla="*/ 278606 h 319087"/>
              <a:gd name="connsiteX61" fmla="*/ 681037 w 690562"/>
              <a:gd name="connsiteY61" fmla="*/ 278606 h 319087"/>
              <a:gd name="connsiteX62" fmla="*/ 690562 w 690562"/>
              <a:gd name="connsiteY62" fmla="*/ 204787 h 319087"/>
              <a:gd name="connsiteX63" fmla="*/ 614362 w 690562"/>
              <a:gd name="connsiteY63" fmla="*/ 228600 h 319087"/>
              <a:gd name="connsiteX64" fmla="*/ 600075 w 690562"/>
              <a:gd name="connsiteY64" fmla="*/ 173831 h 319087"/>
              <a:gd name="connsiteX65" fmla="*/ 583406 w 690562"/>
              <a:gd name="connsiteY65" fmla="*/ 145256 h 319087"/>
              <a:gd name="connsiteX66" fmla="*/ 585787 w 690562"/>
              <a:gd name="connsiteY66" fmla="*/ 121444 h 319087"/>
              <a:gd name="connsiteX67" fmla="*/ 566737 w 690562"/>
              <a:gd name="connsiteY67" fmla="*/ 83344 h 319087"/>
              <a:gd name="connsiteX68" fmla="*/ 561975 w 690562"/>
              <a:gd name="connsiteY68" fmla="*/ 50006 h 319087"/>
              <a:gd name="connsiteX69" fmla="*/ 533400 w 690562"/>
              <a:gd name="connsiteY69" fmla="*/ 0 h 319087"/>
              <a:gd name="connsiteX70" fmla="*/ 411956 w 690562"/>
              <a:gd name="connsiteY70" fmla="*/ 42862 h 319087"/>
              <a:gd name="connsiteX71" fmla="*/ 319087 w 690562"/>
              <a:gd name="connsiteY71" fmla="*/ 71437 h 319087"/>
              <a:gd name="connsiteX72" fmla="*/ 257175 w 690562"/>
              <a:gd name="connsiteY72" fmla="*/ 92869 h 319087"/>
              <a:gd name="connsiteX73" fmla="*/ 147637 w 690562"/>
              <a:gd name="connsiteY73" fmla="*/ 126206 h 319087"/>
              <a:gd name="connsiteX74" fmla="*/ 64293 w 690562"/>
              <a:gd name="connsiteY74" fmla="*/ 157162 h 319087"/>
              <a:gd name="connsiteX75" fmla="*/ 0 w 690562"/>
              <a:gd name="connsiteY75" fmla="*/ 180975 h 319087"/>
              <a:gd name="connsiteX0" fmla="*/ 0 w 690562"/>
              <a:gd name="connsiteY0" fmla="*/ 180975 h 319087"/>
              <a:gd name="connsiteX1" fmla="*/ 40481 w 690562"/>
              <a:gd name="connsiteY1" fmla="*/ 238125 h 319087"/>
              <a:gd name="connsiteX2" fmla="*/ 76200 w 690562"/>
              <a:gd name="connsiteY2" fmla="*/ 207169 h 319087"/>
              <a:gd name="connsiteX3" fmla="*/ 92868 w 690562"/>
              <a:gd name="connsiteY3" fmla="*/ 209550 h 319087"/>
              <a:gd name="connsiteX4" fmla="*/ 104775 w 690562"/>
              <a:gd name="connsiteY4" fmla="*/ 161925 h 319087"/>
              <a:gd name="connsiteX5" fmla="*/ 145256 w 690562"/>
              <a:gd name="connsiteY5" fmla="*/ 169069 h 319087"/>
              <a:gd name="connsiteX6" fmla="*/ 171450 w 690562"/>
              <a:gd name="connsiteY6" fmla="*/ 161925 h 319087"/>
              <a:gd name="connsiteX7" fmla="*/ 192881 w 690562"/>
              <a:gd name="connsiteY7" fmla="*/ 140494 h 319087"/>
              <a:gd name="connsiteX8" fmla="*/ 216693 w 690562"/>
              <a:gd name="connsiteY8" fmla="*/ 119062 h 319087"/>
              <a:gd name="connsiteX9" fmla="*/ 238125 w 690562"/>
              <a:gd name="connsiteY9" fmla="*/ 119062 h 319087"/>
              <a:gd name="connsiteX10" fmla="*/ 259556 w 690562"/>
              <a:gd name="connsiteY10" fmla="*/ 130969 h 319087"/>
              <a:gd name="connsiteX11" fmla="*/ 264318 w 690562"/>
              <a:gd name="connsiteY11" fmla="*/ 145256 h 319087"/>
              <a:gd name="connsiteX12" fmla="*/ 283368 w 690562"/>
              <a:gd name="connsiteY12" fmla="*/ 157162 h 319087"/>
              <a:gd name="connsiteX13" fmla="*/ 302418 w 690562"/>
              <a:gd name="connsiteY13" fmla="*/ 147637 h 319087"/>
              <a:gd name="connsiteX14" fmla="*/ 328612 w 690562"/>
              <a:gd name="connsiteY14" fmla="*/ 159544 h 319087"/>
              <a:gd name="connsiteX15" fmla="*/ 369093 w 690562"/>
              <a:gd name="connsiteY15" fmla="*/ 188119 h 319087"/>
              <a:gd name="connsiteX16" fmla="*/ 397668 w 690562"/>
              <a:gd name="connsiteY16" fmla="*/ 214312 h 319087"/>
              <a:gd name="connsiteX17" fmla="*/ 402431 w 690562"/>
              <a:gd name="connsiteY17" fmla="*/ 235744 h 319087"/>
              <a:gd name="connsiteX18" fmla="*/ 400050 w 690562"/>
              <a:gd name="connsiteY18" fmla="*/ 264319 h 319087"/>
              <a:gd name="connsiteX19" fmla="*/ 388143 w 690562"/>
              <a:gd name="connsiteY19" fmla="*/ 290512 h 319087"/>
              <a:gd name="connsiteX20" fmla="*/ 409575 w 690562"/>
              <a:gd name="connsiteY20" fmla="*/ 302419 h 319087"/>
              <a:gd name="connsiteX21" fmla="*/ 419100 w 690562"/>
              <a:gd name="connsiteY21" fmla="*/ 302419 h 319087"/>
              <a:gd name="connsiteX22" fmla="*/ 438150 w 690562"/>
              <a:gd name="connsiteY22" fmla="*/ 290512 h 319087"/>
              <a:gd name="connsiteX23" fmla="*/ 454818 w 690562"/>
              <a:gd name="connsiteY23" fmla="*/ 295275 h 319087"/>
              <a:gd name="connsiteX24" fmla="*/ 473868 w 690562"/>
              <a:gd name="connsiteY24" fmla="*/ 309562 h 319087"/>
              <a:gd name="connsiteX25" fmla="*/ 507206 w 690562"/>
              <a:gd name="connsiteY25" fmla="*/ 314325 h 319087"/>
              <a:gd name="connsiteX26" fmla="*/ 523875 w 690562"/>
              <a:gd name="connsiteY26" fmla="*/ 319087 h 319087"/>
              <a:gd name="connsiteX27" fmla="*/ 526256 w 690562"/>
              <a:gd name="connsiteY27" fmla="*/ 302419 h 319087"/>
              <a:gd name="connsiteX28" fmla="*/ 535781 w 690562"/>
              <a:gd name="connsiteY28" fmla="*/ 290512 h 319087"/>
              <a:gd name="connsiteX29" fmla="*/ 528637 w 690562"/>
              <a:gd name="connsiteY29" fmla="*/ 261937 h 319087"/>
              <a:gd name="connsiteX30" fmla="*/ 509587 w 690562"/>
              <a:gd name="connsiteY30" fmla="*/ 257175 h 319087"/>
              <a:gd name="connsiteX31" fmla="*/ 490537 w 690562"/>
              <a:gd name="connsiteY31" fmla="*/ 235744 h 319087"/>
              <a:gd name="connsiteX32" fmla="*/ 481012 w 690562"/>
              <a:gd name="connsiteY32" fmla="*/ 202406 h 319087"/>
              <a:gd name="connsiteX33" fmla="*/ 461962 w 690562"/>
              <a:gd name="connsiteY33" fmla="*/ 154781 h 319087"/>
              <a:gd name="connsiteX34" fmla="*/ 457200 w 690562"/>
              <a:gd name="connsiteY34" fmla="*/ 126206 h 319087"/>
              <a:gd name="connsiteX35" fmla="*/ 457200 w 690562"/>
              <a:gd name="connsiteY35" fmla="*/ 111919 h 319087"/>
              <a:gd name="connsiteX36" fmla="*/ 469106 w 690562"/>
              <a:gd name="connsiteY36" fmla="*/ 100012 h 319087"/>
              <a:gd name="connsiteX37" fmla="*/ 476250 w 690562"/>
              <a:gd name="connsiteY37" fmla="*/ 78581 h 319087"/>
              <a:gd name="connsiteX38" fmla="*/ 497681 w 690562"/>
              <a:gd name="connsiteY38" fmla="*/ 73819 h 319087"/>
              <a:gd name="connsiteX39" fmla="*/ 500062 w 690562"/>
              <a:gd name="connsiteY39" fmla="*/ 92869 h 319087"/>
              <a:gd name="connsiteX40" fmla="*/ 495300 w 690562"/>
              <a:gd name="connsiteY40" fmla="*/ 107156 h 319087"/>
              <a:gd name="connsiteX41" fmla="*/ 509587 w 690562"/>
              <a:gd name="connsiteY41" fmla="*/ 116681 h 319087"/>
              <a:gd name="connsiteX42" fmla="*/ 509587 w 690562"/>
              <a:gd name="connsiteY42" fmla="*/ 126206 h 319087"/>
              <a:gd name="connsiteX43" fmla="*/ 504825 w 690562"/>
              <a:gd name="connsiteY43" fmla="*/ 147637 h 319087"/>
              <a:gd name="connsiteX44" fmla="*/ 502443 w 690562"/>
              <a:gd name="connsiteY44" fmla="*/ 154781 h 319087"/>
              <a:gd name="connsiteX45" fmla="*/ 523875 w 690562"/>
              <a:gd name="connsiteY45" fmla="*/ 171450 h 319087"/>
              <a:gd name="connsiteX46" fmla="*/ 531018 w 690562"/>
              <a:gd name="connsiteY46" fmla="*/ 185737 h 319087"/>
              <a:gd name="connsiteX47" fmla="*/ 545306 w 690562"/>
              <a:gd name="connsiteY47" fmla="*/ 190500 h 319087"/>
              <a:gd name="connsiteX48" fmla="*/ 531018 w 690562"/>
              <a:gd name="connsiteY48" fmla="*/ 204787 h 319087"/>
              <a:gd name="connsiteX49" fmla="*/ 528637 w 690562"/>
              <a:gd name="connsiteY49" fmla="*/ 216694 h 319087"/>
              <a:gd name="connsiteX50" fmla="*/ 547687 w 690562"/>
              <a:gd name="connsiteY50" fmla="*/ 235744 h 319087"/>
              <a:gd name="connsiteX51" fmla="*/ 547687 w 690562"/>
              <a:gd name="connsiteY51" fmla="*/ 235744 h 319087"/>
              <a:gd name="connsiteX52" fmla="*/ 581025 w 690562"/>
              <a:gd name="connsiteY52" fmla="*/ 247650 h 319087"/>
              <a:gd name="connsiteX53" fmla="*/ 595312 w 690562"/>
              <a:gd name="connsiteY53" fmla="*/ 242887 h 319087"/>
              <a:gd name="connsiteX54" fmla="*/ 602456 w 690562"/>
              <a:gd name="connsiteY54" fmla="*/ 264319 h 319087"/>
              <a:gd name="connsiteX55" fmla="*/ 602456 w 690562"/>
              <a:gd name="connsiteY55" fmla="*/ 292894 h 319087"/>
              <a:gd name="connsiteX56" fmla="*/ 611981 w 690562"/>
              <a:gd name="connsiteY56" fmla="*/ 297656 h 319087"/>
              <a:gd name="connsiteX57" fmla="*/ 631031 w 690562"/>
              <a:gd name="connsiteY57" fmla="*/ 297656 h 319087"/>
              <a:gd name="connsiteX58" fmla="*/ 650081 w 690562"/>
              <a:gd name="connsiteY58" fmla="*/ 285750 h 319087"/>
              <a:gd name="connsiteX59" fmla="*/ 669131 w 690562"/>
              <a:gd name="connsiteY59" fmla="*/ 278606 h 319087"/>
              <a:gd name="connsiteX60" fmla="*/ 681037 w 690562"/>
              <a:gd name="connsiteY60" fmla="*/ 278606 h 319087"/>
              <a:gd name="connsiteX61" fmla="*/ 690562 w 690562"/>
              <a:gd name="connsiteY61" fmla="*/ 204787 h 319087"/>
              <a:gd name="connsiteX62" fmla="*/ 614362 w 690562"/>
              <a:gd name="connsiteY62" fmla="*/ 228600 h 319087"/>
              <a:gd name="connsiteX63" fmla="*/ 600075 w 690562"/>
              <a:gd name="connsiteY63" fmla="*/ 173831 h 319087"/>
              <a:gd name="connsiteX64" fmla="*/ 583406 w 690562"/>
              <a:gd name="connsiteY64" fmla="*/ 145256 h 319087"/>
              <a:gd name="connsiteX65" fmla="*/ 585787 w 690562"/>
              <a:gd name="connsiteY65" fmla="*/ 121444 h 319087"/>
              <a:gd name="connsiteX66" fmla="*/ 566737 w 690562"/>
              <a:gd name="connsiteY66" fmla="*/ 83344 h 319087"/>
              <a:gd name="connsiteX67" fmla="*/ 561975 w 690562"/>
              <a:gd name="connsiteY67" fmla="*/ 50006 h 319087"/>
              <a:gd name="connsiteX68" fmla="*/ 533400 w 690562"/>
              <a:gd name="connsiteY68" fmla="*/ 0 h 319087"/>
              <a:gd name="connsiteX69" fmla="*/ 411956 w 690562"/>
              <a:gd name="connsiteY69" fmla="*/ 42862 h 319087"/>
              <a:gd name="connsiteX70" fmla="*/ 319087 w 690562"/>
              <a:gd name="connsiteY70" fmla="*/ 71437 h 319087"/>
              <a:gd name="connsiteX71" fmla="*/ 257175 w 690562"/>
              <a:gd name="connsiteY71" fmla="*/ 92869 h 319087"/>
              <a:gd name="connsiteX72" fmla="*/ 147637 w 690562"/>
              <a:gd name="connsiteY72" fmla="*/ 126206 h 319087"/>
              <a:gd name="connsiteX73" fmla="*/ 64293 w 690562"/>
              <a:gd name="connsiteY73" fmla="*/ 157162 h 319087"/>
              <a:gd name="connsiteX74" fmla="*/ 0 w 690562"/>
              <a:gd name="connsiteY74" fmla="*/ 180975 h 319087"/>
              <a:gd name="connsiteX0" fmla="*/ 0 w 690562"/>
              <a:gd name="connsiteY0" fmla="*/ 180975 h 319087"/>
              <a:gd name="connsiteX1" fmla="*/ 40481 w 690562"/>
              <a:gd name="connsiteY1" fmla="*/ 238125 h 319087"/>
              <a:gd name="connsiteX2" fmla="*/ 76200 w 690562"/>
              <a:gd name="connsiteY2" fmla="*/ 207169 h 319087"/>
              <a:gd name="connsiteX3" fmla="*/ 92868 w 690562"/>
              <a:gd name="connsiteY3" fmla="*/ 209550 h 319087"/>
              <a:gd name="connsiteX4" fmla="*/ 104775 w 690562"/>
              <a:gd name="connsiteY4" fmla="*/ 161925 h 319087"/>
              <a:gd name="connsiteX5" fmla="*/ 145256 w 690562"/>
              <a:gd name="connsiteY5" fmla="*/ 169069 h 319087"/>
              <a:gd name="connsiteX6" fmla="*/ 171450 w 690562"/>
              <a:gd name="connsiteY6" fmla="*/ 161925 h 319087"/>
              <a:gd name="connsiteX7" fmla="*/ 192881 w 690562"/>
              <a:gd name="connsiteY7" fmla="*/ 140494 h 319087"/>
              <a:gd name="connsiteX8" fmla="*/ 216693 w 690562"/>
              <a:gd name="connsiteY8" fmla="*/ 119062 h 319087"/>
              <a:gd name="connsiteX9" fmla="*/ 238125 w 690562"/>
              <a:gd name="connsiteY9" fmla="*/ 119062 h 319087"/>
              <a:gd name="connsiteX10" fmla="*/ 259556 w 690562"/>
              <a:gd name="connsiteY10" fmla="*/ 130969 h 319087"/>
              <a:gd name="connsiteX11" fmla="*/ 264318 w 690562"/>
              <a:gd name="connsiteY11" fmla="*/ 145256 h 319087"/>
              <a:gd name="connsiteX12" fmla="*/ 283368 w 690562"/>
              <a:gd name="connsiteY12" fmla="*/ 157162 h 319087"/>
              <a:gd name="connsiteX13" fmla="*/ 302418 w 690562"/>
              <a:gd name="connsiteY13" fmla="*/ 147637 h 319087"/>
              <a:gd name="connsiteX14" fmla="*/ 369093 w 690562"/>
              <a:gd name="connsiteY14" fmla="*/ 188119 h 319087"/>
              <a:gd name="connsiteX15" fmla="*/ 397668 w 690562"/>
              <a:gd name="connsiteY15" fmla="*/ 214312 h 319087"/>
              <a:gd name="connsiteX16" fmla="*/ 402431 w 690562"/>
              <a:gd name="connsiteY16" fmla="*/ 235744 h 319087"/>
              <a:gd name="connsiteX17" fmla="*/ 400050 w 690562"/>
              <a:gd name="connsiteY17" fmla="*/ 264319 h 319087"/>
              <a:gd name="connsiteX18" fmla="*/ 388143 w 690562"/>
              <a:gd name="connsiteY18" fmla="*/ 290512 h 319087"/>
              <a:gd name="connsiteX19" fmla="*/ 409575 w 690562"/>
              <a:gd name="connsiteY19" fmla="*/ 302419 h 319087"/>
              <a:gd name="connsiteX20" fmla="*/ 419100 w 690562"/>
              <a:gd name="connsiteY20" fmla="*/ 302419 h 319087"/>
              <a:gd name="connsiteX21" fmla="*/ 438150 w 690562"/>
              <a:gd name="connsiteY21" fmla="*/ 290512 h 319087"/>
              <a:gd name="connsiteX22" fmla="*/ 454818 w 690562"/>
              <a:gd name="connsiteY22" fmla="*/ 295275 h 319087"/>
              <a:gd name="connsiteX23" fmla="*/ 473868 w 690562"/>
              <a:gd name="connsiteY23" fmla="*/ 309562 h 319087"/>
              <a:gd name="connsiteX24" fmla="*/ 507206 w 690562"/>
              <a:gd name="connsiteY24" fmla="*/ 314325 h 319087"/>
              <a:gd name="connsiteX25" fmla="*/ 523875 w 690562"/>
              <a:gd name="connsiteY25" fmla="*/ 319087 h 319087"/>
              <a:gd name="connsiteX26" fmla="*/ 526256 w 690562"/>
              <a:gd name="connsiteY26" fmla="*/ 302419 h 319087"/>
              <a:gd name="connsiteX27" fmla="*/ 535781 w 690562"/>
              <a:gd name="connsiteY27" fmla="*/ 290512 h 319087"/>
              <a:gd name="connsiteX28" fmla="*/ 528637 w 690562"/>
              <a:gd name="connsiteY28" fmla="*/ 261937 h 319087"/>
              <a:gd name="connsiteX29" fmla="*/ 509587 w 690562"/>
              <a:gd name="connsiteY29" fmla="*/ 257175 h 319087"/>
              <a:gd name="connsiteX30" fmla="*/ 490537 w 690562"/>
              <a:gd name="connsiteY30" fmla="*/ 235744 h 319087"/>
              <a:gd name="connsiteX31" fmla="*/ 481012 w 690562"/>
              <a:gd name="connsiteY31" fmla="*/ 202406 h 319087"/>
              <a:gd name="connsiteX32" fmla="*/ 461962 w 690562"/>
              <a:gd name="connsiteY32" fmla="*/ 154781 h 319087"/>
              <a:gd name="connsiteX33" fmla="*/ 457200 w 690562"/>
              <a:gd name="connsiteY33" fmla="*/ 126206 h 319087"/>
              <a:gd name="connsiteX34" fmla="*/ 457200 w 690562"/>
              <a:gd name="connsiteY34" fmla="*/ 111919 h 319087"/>
              <a:gd name="connsiteX35" fmla="*/ 469106 w 690562"/>
              <a:gd name="connsiteY35" fmla="*/ 100012 h 319087"/>
              <a:gd name="connsiteX36" fmla="*/ 476250 w 690562"/>
              <a:gd name="connsiteY36" fmla="*/ 78581 h 319087"/>
              <a:gd name="connsiteX37" fmla="*/ 497681 w 690562"/>
              <a:gd name="connsiteY37" fmla="*/ 73819 h 319087"/>
              <a:gd name="connsiteX38" fmla="*/ 500062 w 690562"/>
              <a:gd name="connsiteY38" fmla="*/ 92869 h 319087"/>
              <a:gd name="connsiteX39" fmla="*/ 495300 w 690562"/>
              <a:gd name="connsiteY39" fmla="*/ 107156 h 319087"/>
              <a:gd name="connsiteX40" fmla="*/ 509587 w 690562"/>
              <a:gd name="connsiteY40" fmla="*/ 116681 h 319087"/>
              <a:gd name="connsiteX41" fmla="*/ 509587 w 690562"/>
              <a:gd name="connsiteY41" fmla="*/ 126206 h 319087"/>
              <a:gd name="connsiteX42" fmla="*/ 504825 w 690562"/>
              <a:gd name="connsiteY42" fmla="*/ 147637 h 319087"/>
              <a:gd name="connsiteX43" fmla="*/ 502443 w 690562"/>
              <a:gd name="connsiteY43" fmla="*/ 154781 h 319087"/>
              <a:gd name="connsiteX44" fmla="*/ 523875 w 690562"/>
              <a:gd name="connsiteY44" fmla="*/ 171450 h 319087"/>
              <a:gd name="connsiteX45" fmla="*/ 531018 w 690562"/>
              <a:gd name="connsiteY45" fmla="*/ 185737 h 319087"/>
              <a:gd name="connsiteX46" fmla="*/ 545306 w 690562"/>
              <a:gd name="connsiteY46" fmla="*/ 190500 h 319087"/>
              <a:gd name="connsiteX47" fmla="*/ 531018 w 690562"/>
              <a:gd name="connsiteY47" fmla="*/ 204787 h 319087"/>
              <a:gd name="connsiteX48" fmla="*/ 528637 w 690562"/>
              <a:gd name="connsiteY48" fmla="*/ 216694 h 319087"/>
              <a:gd name="connsiteX49" fmla="*/ 547687 w 690562"/>
              <a:gd name="connsiteY49" fmla="*/ 235744 h 319087"/>
              <a:gd name="connsiteX50" fmla="*/ 547687 w 690562"/>
              <a:gd name="connsiteY50" fmla="*/ 235744 h 319087"/>
              <a:gd name="connsiteX51" fmla="*/ 581025 w 690562"/>
              <a:gd name="connsiteY51" fmla="*/ 247650 h 319087"/>
              <a:gd name="connsiteX52" fmla="*/ 595312 w 690562"/>
              <a:gd name="connsiteY52" fmla="*/ 242887 h 319087"/>
              <a:gd name="connsiteX53" fmla="*/ 602456 w 690562"/>
              <a:gd name="connsiteY53" fmla="*/ 264319 h 319087"/>
              <a:gd name="connsiteX54" fmla="*/ 602456 w 690562"/>
              <a:gd name="connsiteY54" fmla="*/ 292894 h 319087"/>
              <a:gd name="connsiteX55" fmla="*/ 611981 w 690562"/>
              <a:gd name="connsiteY55" fmla="*/ 297656 h 319087"/>
              <a:gd name="connsiteX56" fmla="*/ 631031 w 690562"/>
              <a:gd name="connsiteY56" fmla="*/ 297656 h 319087"/>
              <a:gd name="connsiteX57" fmla="*/ 650081 w 690562"/>
              <a:gd name="connsiteY57" fmla="*/ 285750 h 319087"/>
              <a:gd name="connsiteX58" fmla="*/ 669131 w 690562"/>
              <a:gd name="connsiteY58" fmla="*/ 278606 h 319087"/>
              <a:gd name="connsiteX59" fmla="*/ 681037 w 690562"/>
              <a:gd name="connsiteY59" fmla="*/ 278606 h 319087"/>
              <a:gd name="connsiteX60" fmla="*/ 690562 w 690562"/>
              <a:gd name="connsiteY60" fmla="*/ 204787 h 319087"/>
              <a:gd name="connsiteX61" fmla="*/ 614362 w 690562"/>
              <a:gd name="connsiteY61" fmla="*/ 228600 h 319087"/>
              <a:gd name="connsiteX62" fmla="*/ 600075 w 690562"/>
              <a:gd name="connsiteY62" fmla="*/ 173831 h 319087"/>
              <a:gd name="connsiteX63" fmla="*/ 583406 w 690562"/>
              <a:gd name="connsiteY63" fmla="*/ 145256 h 319087"/>
              <a:gd name="connsiteX64" fmla="*/ 585787 w 690562"/>
              <a:gd name="connsiteY64" fmla="*/ 121444 h 319087"/>
              <a:gd name="connsiteX65" fmla="*/ 566737 w 690562"/>
              <a:gd name="connsiteY65" fmla="*/ 83344 h 319087"/>
              <a:gd name="connsiteX66" fmla="*/ 561975 w 690562"/>
              <a:gd name="connsiteY66" fmla="*/ 50006 h 319087"/>
              <a:gd name="connsiteX67" fmla="*/ 533400 w 690562"/>
              <a:gd name="connsiteY67" fmla="*/ 0 h 319087"/>
              <a:gd name="connsiteX68" fmla="*/ 411956 w 690562"/>
              <a:gd name="connsiteY68" fmla="*/ 42862 h 319087"/>
              <a:gd name="connsiteX69" fmla="*/ 319087 w 690562"/>
              <a:gd name="connsiteY69" fmla="*/ 71437 h 319087"/>
              <a:gd name="connsiteX70" fmla="*/ 257175 w 690562"/>
              <a:gd name="connsiteY70" fmla="*/ 92869 h 319087"/>
              <a:gd name="connsiteX71" fmla="*/ 147637 w 690562"/>
              <a:gd name="connsiteY71" fmla="*/ 126206 h 319087"/>
              <a:gd name="connsiteX72" fmla="*/ 64293 w 690562"/>
              <a:gd name="connsiteY72" fmla="*/ 157162 h 319087"/>
              <a:gd name="connsiteX73" fmla="*/ 0 w 690562"/>
              <a:gd name="connsiteY73" fmla="*/ 180975 h 319087"/>
              <a:gd name="connsiteX0" fmla="*/ 0 w 690562"/>
              <a:gd name="connsiteY0" fmla="*/ 180975 h 319087"/>
              <a:gd name="connsiteX1" fmla="*/ 40481 w 690562"/>
              <a:gd name="connsiteY1" fmla="*/ 238125 h 319087"/>
              <a:gd name="connsiteX2" fmla="*/ 76200 w 690562"/>
              <a:gd name="connsiteY2" fmla="*/ 207169 h 319087"/>
              <a:gd name="connsiteX3" fmla="*/ 92868 w 690562"/>
              <a:gd name="connsiteY3" fmla="*/ 209550 h 319087"/>
              <a:gd name="connsiteX4" fmla="*/ 104775 w 690562"/>
              <a:gd name="connsiteY4" fmla="*/ 161925 h 319087"/>
              <a:gd name="connsiteX5" fmla="*/ 145256 w 690562"/>
              <a:gd name="connsiteY5" fmla="*/ 169069 h 319087"/>
              <a:gd name="connsiteX6" fmla="*/ 171450 w 690562"/>
              <a:gd name="connsiteY6" fmla="*/ 161925 h 319087"/>
              <a:gd name="connsiteX7" fmla="*/ 192881 w 690562"/>
              <a:gd name="connsiteY7" fmla="*/ 140494 h 319087"/>
              <a:gd name="connsiteX8" fmla="*/ 216693 w 690562"/>
              <a:gd name="connsiteY8" fmla="*/ 119062 h 319087"/>
              <a:gd name="connsiteX9" fmla="*/ 238125 w 690562"/>
              <a:gd name="connsiteY9" fmla="*/ 119062 h 319087"/>
              <a:gd name="connsiteX10" fmla="*/ 259556 w 690562"/>
              <a:gd name="connsiteY10" fmla="*/ 130969 h 319087"/>
              <a:gd name="connsiteX11" fmla="*/ 264318 w 690562"/>
              <a:gd name="connsiteY11" fmla="*/ 145256 h 319087"/>
              <a:gd name="connsiteX12" fmla="*/ 283368 w 690562"/>
              <a:gd name="connsiteY12" fmla="*/ 157162 h 319087"/>
              <a:gd name="connsiteX13" fmla="*/ 302418 w 690562"/>
              <a:gd name="connsiteY13" fmla="*/ 147637 h 319087"/>
              <a:gd name="connsiteX14" fmla="*/ 361950 w 690562"/>
              <a:gd name="connsiteY14" fmla="*/ 195297 h 319087"/>
              <a:gd name="connsiteX15" fmla="*/ 397668 w 690562"/>
              <a:gd name="connsiteY15" fmla="*/ 214312 h 319087"/>
              <a:gd name="connsiteX16" fmla="*/ 402431 w 690562"/>
              <a:gd name="connsiteY16" fmla="*/ 235744 h 319087"/>
              <a:gd name="connsiteX17" fmla="*/ 400050 w 690562"/>
              <a:gd name="connsiteY17" fmla="*/ 264319 h 319087"/>
              <a:gd name="connsiteX18" fmla="*/ 388143 w 690562"/>
              <a:gd name="connsiteY18" fmla="*/ 290512 h 319087"/>
              <a:gd name="connsiteX19" fmla="*/ 409575 w 690562"/>
              <a:gd name="connsiteY19" fmla="*/ 302419 h 319087"/>
              <a:gd name="connsiteX20" fmla="*/ 419100 w 690562"/>
              <a:gd name="connsiteY20" fmla="*/ 302419 h 319087"/>
              <a:gd name="connsiteX21" fmla="*/ 438150 w 690562"/>
              <a:gd name="connsiteY21" fmla="*/ 290512 h 319087"/>
              <a:gd name="connsiteX22" fmla="*/ 454818 w 690562"/>
              <a:gd name="connsiteY22" fmla="*/ 295275 h 319087"/>
              <a:gd name="connsiteX23" fmla="*/ 473868 w 690562"/>
              <a:gd name="connsiteY23" fmla="*/ 309562 h 319087"/>
              <a:gd name="connsiteX24" fmla="*/ 507206 w 690562"/>
              <a:gd name="connsiteY24" fmla="*/ 314325 h 319087"/>
              <a:gd name="connsiteX25" fmla="*/ 523875 w 690562"/>
              <a:gd name="connsiteY25" fmla="*/ 319087 h 319087"/>
              <a:gd name="connsiteX26" fmla="*/ 526256 w 690562"/>
              <a:gd name="connsiteY26" fmla="*/ 302419 h 319087"/>
              <a:gd name="connsiteX27" fmla="*/ 535781 w 690562"/>
              <a:gd name="connsiteY27" fmla="*/ 290512 h 319087"/>
              <a:gd name="connsiteX28" fmla="*/ 528637 w 690562"/>
              <a:gd name="connsiteY28" fmla="*/ 261937 h 319087"/>
              <a:gd name="connsiteX29" fmla="*/ 509587 w 690562"/>
              <a:gd name="connsiteY29" fmla="*/ 257175 h 319087"/>
              <a:gd name="connsiteX30" fmla="*/ 490537 w 690562"/>
              <a:gd name="connsiteY30" fmla="*/ 235744 h 319087"/>
              <a:gd name="connsiteX31" fmla="*/ 481012 w 690562"/>
              <a:gd name="connsiteY31" fmla="*/ 202406 h 319087"/>
              <a:gd name="connsiteX32" fmla="*/ 461962 w 690562"/>
              <a:gd name="connsiteY32" fmla="*/ 154781 h 319087"/>
              <a:gd name="connsiteX33" fmla="*/ 457200 w 690562"/>
              <a:gd name="connsiteY33" fmla="*/ 126206 h 319087"/>
              <a:gd name="connsiteX34" fmla="*/ 457200 w 690562"/>
              <a:gd name="connsiteY34" fmla="*/ 111919 h 319087"/>
              <a:gd name="connsiteX35" fmla="*/ 469106 w 690562"/>
              <a:gd name="connsiteY35" fmla="*/ 100012 h 319087"/>
              <a:gd name="connsiteX36" fmla="*/ 476250 w 690562"/>
              <a:gd name="connsiteY36" fmla="*/ 78581 h 319087"/>
              <a:gd name="connsiteX37" fmla="*/ 497681 w 690562"/>
              <a:gd name="connsiteY37" fmla="*/ 73819 h 319087"/>
              <a:gd name="connsiteX38" fmla="*/ 500062 w 690562"/>
              <a:gd name="connsiteY38" fmla="*/ 92869 h 319087"/>
              <a:gd name="connsiteX39" fmla="*/ 495300 w 690562"/>
              <a:gd name="connsiteY39" fmla="*/ 107156 h 319087"/>
              <a:gd name="connsiteX40" fmla="*/ 509587 w 690562"/>
              <a:gd name="connsiteY40" fmla="*/ 116681 h 319087"/>
              <a:gd name="connsiteX41" fmla="*/ 509587 w 690562"/>
              <a:gd name="connsiteY41" fmla="*/ 126206 h 319087"/>
              <a:gd name="connsiteX42" fmla="*/ 504825 w 690562"/>
              <a:gd name="connsiteY42" fmla="*/ 147637 h 319087"/>
              <a:gd name="connsiteX43" fmla="*/ 502443 w 690562"/>
              <a:gd name="connsiteY43" fmla="*/ 154781 h 319087"/>
              <a:gd name="connsiteX44" fmla="*/ 523875 w 690562"/>
              <a:gd name="connsiteY44" fmla="*/ 171450 h 319087"/>
              <a:gd name="connsiteX45" fmla="*/ 531018 w 690562"/>
              <a:gd name="connsiteY45" fmla="*/ 185737 h 319087"/>
              <a:gd name="connsiteX46" fmla="*/ 545306 w 690562"/>
              <a:gd name="connsiteY46" fmla="*/ 190500 h 319087"/>
              <a:gd name="connsiteX47" fmla="*/ 531018 w 690562"/>
              <a:gd name="connsiteY47" fmla="*/ 204787 h 319087"/>
              <a:gd name="connsiteX48" fmla="*/ 528637 w 690562"/>
              <a:gd name="connsiteY48" fmla="*/ 216694 h 319087"/>
              <a:gd name="connsiteX49" fmla="*/ 547687 w 690562"/>
              <a:gd name="connsiteY49" fmla="*/ 235744 h 319087"/>
              <a:gd name="connsiteX50" fmla="*/ 547687 w 690562"/>
              <a:gd name="connsiteY50" fmla="*/ 235744 h 319087"/>
              <a:gd name="connsiteX51" fmla="*/ 581025 w 690562"/>
              <a:gd name="connsiteY51" fmla="*/ 247650 h 319087"/>
              <a:gd name="connsiteX52" fmla="*/ 595312 w 690562"/>
              <a:gd name="connsiteY52" fmla="*/ 242887 h 319087"/>
              <a:gd name="connsiteX53" fmla="*/ 602456 w 690562"/>
              <a:gd name="connsiteY53" fmla="*/ 264319 h 319087"/>
              <a:gd name="connsiteX54" fmla="*/ 602456 w 690562"/>
              <a:gd name="connsiteY54" fmla="*/ 292894 h 319087"/>
              <a:gd name="connsiteX55" fmla="*/ 611981 w 690562"/>
              <a:gd name="connsiteY55" fmla="*/ 297656 h 319087"/>
              <a:gd name="connsiteX56" fmla="*/ 631031 w 690562"/>
              <a:gd name="connsiteY56" fmla="*/ 297656 h 319087"/>
              <a:gd name="connsiteX57" fmla="*/ 650081 w 690562"/>
              <a:gd name="connsiteY57" fmla="*/ 285750 h 319087"/>
              <a:gd name="connsiteX58" fmla="*/ 669131 w 690562"/>
              <a:gd name="connsiteY58" fmla="*/ 278606 h 319087"/>
              <a:gd name="connsiteX59" fmla="*/ 681037 w 690562"/>
              <a:gd name="connsiteY59" fmla="*/ 278606 h 319087"/>
              <a:gd name="connsiteX60" fmla="*/ 690562 w 690562"/>
              <a:gd name="connsiteY60" fmla="*/ 204787 h 319087"/>
              <a:gd name="connsiteX61" fmla="*/ 614362 w 690562"/>
              <a:gd name="connsiteY61" fmla="*/ 228600 h 319087"/>
              <a:gd name="connsiteX62" fmla="*/ 600075 w 690562"/>
              <a:gd name="connsiteY62" fmla="*/ 173831 h 319087"/>
              <a:gd name="connsiteX63" fmla="*/ 583406 w 690562"/>
              <a:gd name="connsiteY63" fmla="*/ 145256 h 319087"/>
              <a:gd name="connsiteX64" fmla="*/ 585787 w 690562"/>
              <a:gd name="connsiteY64" fmla="*/ 121444 h 319087"/>
              <a:gd name="connsiteX65" fmla="*/ 566737 w 690562"/>
              <a:gd name="connsiteY65" fmla="*/ 83344 h 319087"/>
              <a:gd name="connsiteX66" fmla="*/ 561975 w 690562"/>
              <a:gd name="connsiteY66" fmla="*/ 50006 h 319087"/>
              <a:gd name="connsiteX67" fmla="*/ 533400 w 690562"/>
              <a:gd name="connsiteY67" fmla="*/ 0 h 319087"/>
              <a:gd name="connsiteX68" fmla="*/ 411956 w 690562"/>
              <a:gd name="connsiteY68" fmla="*/ 42862 h 319087"/>
              <a:gd name="connsiteX69" fmla="*/ 319087 w 690562"/>
              <a:gd name="connsiteY69" fmla="*/ 71437 h 319087"/>
              <a:gd name="connsiteX70" fmla="*/ 257175 w 690562"/>
              <a:gd name="connsiteY70" fmla="*/ 92869 h 319087"/>
              <a:gd name="connsiteX71" fmla="*/ 147637 w 690562"/>
              <a:gd name="connsiteY71" fmla="*/ 126206 h 319087"/>
              <a:gd name="connsiteX72" fmla="*/ 64293 w 690562"/>
              <a:gd name="connsiteY72" fmla="*/ 157162 h 319087"/>
              <a:gd name="connsiteX73" fmla="*/ 0 w 690562"/>
              <a:gd name="connsiteY73" fmla="*/ 180975 h 319087"/>
              <a:gd name="connsiteX0" fmla="*/ 0 w 690562"/>
              <a:gd name="connsiteY0" fmla="*/ 180975 h 319087"/>
              <a:gd name="connsiteX1" fmla="*/ 40481 w 690562"/>
              <a:gd name="connsiteY1" fmla="*/ 238125 h 319087"/>
              <a:gd name="connsiteX2" fmla="*/ 76200 w 690562"/>
              <a:gd name="connsiteY2" fmla="*/ 207169 h 319087"/>
              <a:gd name="connsiteX3" fmla="*/ 92868 w 690562"/>
              <a:gd name="connsiteY3" fmla="*/ 209550 h 319087"/>
              <a:gd name="connsiteX4" fmla="*/ 104775 w 690562"/>
              <a:gd name="connsiteY4" fmla="*/ 161925 h 319087"/>
              <a:gd name="connsiteX5" fmla="*/ 145256 w 690562"/>
              <a:gd name="connsiteY5" fmla="*/ 169069 h 319087"/>
              <a:gd name="connsiteX6" fmla="*/ 171450 w 690562"/>
              <a:gd name="connsiteY6" fmla="*/ 161925 h 319087"/>
              <a:gd name="connsiteX7" fmla="*/ 192881 w 690562"/>
              <a:gd name="connsiteY7" fmla="*/ 140494 h 319087"/>
              <a:gd name="connsiteX8" fmla="*/ 216693 w 690562"/>
              <a:gd name="connsiteY8" fmla="*/ 119062 h 319087"/>
              <a:gd name="connsiteX9" fmla="*/ 238125 w 690562"/>
              <a:gd name="connsiteY9" fmla="*/ 119062 h 319087"/>
              <a:gd name="connsiteX10" fmla="*/ 259556 w 690562"/>
              <a:gd name="connsiteY10" fmla="*/ 130969 h 319087"/>
              <a:gd name="connsiteX11" fmla="*/ 264318 w 690562"/>
              <a:gd name="connsiteY11" fmla="*/ 145256 h 319087"/>
              <a:gd name="connsiteX12" fmla="*/ 283368 w 690562"/>
              <a:gd name="connsiteY12" fmla="*/ 157162 h 319087"/>
              <a:gd name="connsiteX13" fmla="*/ 304800 w 690562"/>
              <a:gd name="connsiteY13" fmla="*/ 154817 h 319087"/>
              <a:gd name="connsiteX14" fmla="*/ 361950 w 690562"/>
              <a:gd name="connsiteY14" fmla="*/ 195297 h 319087"/>
              <a:gd name="connsiteX15" fmla="*/ 397668 w 690562"/>
              <a:gd name="connsiteY15" fmla="*/ 214312 h 319087"/>
              <a:gd name="connsiteX16" fmla="*/ 402431 w 690562"/>
              <a:gd name="connsiteY16" fmla="*/ 235744 h 319087"/>
              <a:gd name="connsiteX17" fmla="*/ 400050 w 690562"/>
              <a:gd name="connsiteY17" fmla="*/ 264319 h 319087"/>
              <a:gd name="connsiteX18" fmla="*/ 388143 w 690562"/>
              <a:gd name="connsiteY18" fmla="*/ 290512 h 319087"/>
              <a:gd name="connsiteX19" fmla="*/ 409575 w 690562"/>
              <a:gd name="connsiteY19" fmla="*/ 302419 h 319087"/>
              <a:gd name="connsiteX20" fmla="*/ 419100 w 690562"/>
              <a:gd name="connsiteY20" fmla="*/ 302419 h 319087"/>
              <a:gd name="connsiteX21" fmla="*/ 438150 w 690562"/>
              <a:gd name="connsiteY21" fmla="*/ 290512 h 319087"/>
              <a:gd name="connsiteX22" fmla="*/ 454818 w 690562"/>
              <a:gd name="connsiteY22" fmla="*/ 295275 h 319087"/>
              <a:gd name="connsiteX23" fmla="*/ 473868 w 690562"/>
              <a:gd name="connsiteY23" fmla="*/ 309562 h 319087"/>
              <a:gd name="connsiteX24" fmla="*/ 507206 w 690562"/>
              <a:gd name="connsiteY24" fmla="*/ 314325 h 319087"/>
              <a:gd name="connsiteX25" fmla="*/ 523875 w 690562"/>
              <a:gd name="connsiteY25" fmla="*/ 319087 h 319087"/>
              <a:gd name="connsiteX26" fmla="*/ 526256 w 690562"/>
              <a:gd name="connsiteY26" fmla="*/ 302419 h 319087"/>
              <a:gd name="connsiteX27" fmla="*/ 535781 w 690562"/>
              <a:gd name="connsiteY27" fmla="*/ 290512 h 319087"/>
              <a:gd name="connsiteX28" fmla="*/ 528637 w 690562"/>
              <a:gd name="connsiteY28" fmla="*/ 261937 h 319087"/>
              <a:gd name="connsiteX29" fmla="*/ 509587 w 690562"/>
              <a:gd name="connsiteY29" fmla="*/ 257175 h 319087"/>
              <a:gd name="connsiteX30" fmla="*/ 490537 w 690562"/>
              <a:gd name="connsiteY30" fmla="*/ 235744 h 319087"/>
              <a:gd name="connsiteX31" fmla="*/ 481012 w 690562"/>
              <a:gd name="connsiteY31" fmla="*/ 202406 h 319087"/>
              <a:gd name="connsiteX32" fmla="*/ 461962 w 690562"/>
              <a:gd name="connsiteY32" fmla="*/ 154781 h 319087"/>
              <a:gd name="connsiteX33" fmla="*/ 457200 w 690562"/>
              <a:gd name="connsiteY33" fmla="*/ 126206 h 319087"/>
              <a:gd name="connsiteX34" fmla="*/ 457200 w 690562"/>
              <a:gd name="connsiteY34" fmla="*/ 111919 h 319087"/>
              <a:gd name="connsiteX35" fmla="*/ 469106 w 690562"/>
              <a:gd name="connsiteY35" fmla="*/ 100012 h 319087"/>
              <a:gd name="connsiteX36" fmla="*/ 476250 w 690562"/>
              <a:gd name="connsiteY36" fmla="*/ 78581 h 319087"/>
              <a:gd name="connsiteX37" fmla="*/ 497681 w 690562"/>
              <a:gd name="connsiteY37" fmla="*/ 73819 h 319087"/>
              <a:gd name="connsiteX38" fmla="*/ 500062 w 690562"/>
              <a:gd name="connsiteY38" fmla="*/ 92869 h 319087"/>
              <a:gd name="connsiteX39" fmla="*/ 495300 w 690562"/>
              <a:gd name="connsiteY39" fmla="*/ 107156 h 319087"/>
              <a:gd name="connsiteX40" fmla="*/ 509587 w 690562"/>
              <a:gd name="connsiteY40" fmla="*/ 116681 h 319087"/>
              <a:gd name="connsiteX41" fmla="*/ 509587 w 690562"/>
              <a:gd name="connsiteY41" fmla="*/ 126206 h 319087"/>
              <a:gd name="connsiteX42" fmla="*/ 504825 w 690562"/>
              <a:gd name="connsiteY42" fmla="*/ 147637 h 319087"/>
              <a:gd name="connsiteX43" fmla="*/ 502443 w 690562"/>
              <a:gd name="connsiteY43" fmla="*/ 154781 h 319087"/>
              <a:gd name="connsiteX44" fmla="*/ 523875 w 690562"/>
              <a:gd name="connsiteY44" fmla="*/ 171450 h 319087"/>
              <a:gd name="connsiteX45" fmla="*/ 531018 w 690562"/>
              <a:gd name="connsiteY45" fmla="*/ 185737 h 319087"/>
              <a:gd name="connsiteX46" fmla="*/ 545306 w 690562"/>
              <a:gd name="connsiteY46" fmla="*/ 190500 h 319087"/>
              <a:gd name="connsiteX47" fmla="*/ 531018 w 690562"/>
              <a:gd name="connsiteY47" fmla="*/ 204787 h 319087"/>
              <a:gd name="connsiteX48" fmla="*/ 528637 w 690562"/>
              <a:gd name="connsiteY48" fmla="*/ 216694 h 319087"/>
              <a:gd name="connsiteX49" fmla="*/ 547687 w 690562"/>
              <a:gd name="connsiteY49" fmla="*/ 235744 h 319087"/>
              <a:gd name="connsiteX50" fmla="*/ 547687 w 690562"/>
              <a:gd name="connsiteY50" fmla="*/ 235744 h 319087"/>
              <a:gd name="connsiteX51" fmla="*/ 581025 w 690562"/>
              <a:gd name="connsiteY51" fmla="*/ 247650 h 319087"/>
              <a:gd name="connsiteX52" fmla="*/ 595312 w 690562"/>
              <a:gd name="connsiteY52" fmla="*/ 242887 h 319087"/>
              <a:gd name="connsiteX53" fmla="*/ 602456 w 690562"/>
              <a:gd name="connsiteY53" fmla="*/ 264319 h 319087"/>
              <a:gd name="connsiteX54" fmla="*/ 602456 w 690562"/>
              <a:gd name="connsiteY54" fmla="*/ 292894 h 319087"/>
              <a:gd name="connsiteX55" fmla="*/ 611981 w 690562"/>
              <a:gd name="connsiteY55" fmla="*/ 297656 h 319087"/>
              <a:gd name="connsiteX56" fmla="*/ 631031 w 690562"/>
              <a:gd name="connsiteY56" fmla="*/ 297656 h 319087"/>
              <a:gd name="connsiteX57" fmla="*/ 650081 w 690562"/>
              <a:gd name="connsiteY57" fmla="*/ 285750 h 319087"/>
              <a:gd name="connsiteX58" fmla="*/ 669131 w 690562"/>
              <a:gd name="connsiteY58" fmla="*/ 278606 h 319087"/>
              <a:gd name="connsiteX59" fmla="*/ 681037 w 690562"/>
              <a:gd name="connsiteY59" fmla="*/ 278606 h 319087"/>
              <a:gd name="connsiteX60" fmla="*/ 690562 w 690562"/>
              <a:gd name="connsiteY60" fmla="*/ 204787 h 319087"/>
              <a:gd name="connsiteX61" fmla="*/ 614362 w 690562"/>
              <a:gd name="connsiteY61" fmla="*/ 228600 h 319087"/>
              <a:gd name="connsiteX62" fmla="*/ 600075 w 690562"/>
              <a:gd name="connsiteY62" fmla="*/ 173831 h 319087"/>
              <a:gd name="connsiteX63" fmla="*/ 583406 w 690562"/>
              <a:gd name="connsiteY63" fmla="*/ 145256 h 319087"/>
              <a:gd name="connsiteX64" fmla="*/ 585787 w 690562"/>
              <a:gd name="connsiteY64" fmla="*/ 121444 h 319087"/>
              <a:gd name="connsiteX65" fmla="*/ 566737 w 690562"/>
              <a:gd name="connsiteY65" fmla="*/ 83344 h 319087"/>
              <a:gd name="connsiteX66" fmla="*/ 561975 w 690562"/>
              <a:gd name="connsiteY66" fmla="*/ 50006 h 319087"/>
              <a:gd name="connsiteX67" fmla="*/ 533400 w 690562"/>
              <a:gd name="connsiteY67" fmla="*/ 0 h 319087"/>
              <a:gd name="connsiteX68" fmla="*/ 411956 w 690562"/>
              <a:gd name="connsiteY68" fmla="*/ 42862 h 319087"/>
              <a:gd name="connsiteX69" fmla="*/ 319087 w 690562"/>
              <a:gd name="connsiteY69" fmla="*/ 71437 h 319087"/>
              <a:gd name="connsiteX70" fmla="*/ 257175 w 690562"/>
              <a:gd name="connsiteY70" fmla="*/ 92869 h 319087"/>
              <a:gd name="connsiteX71" fmla="*/ 147637 w 690562"/>
              <a:gd name="connsiteY71" fmla="*/ 126206 h 319087"/>
              <a:gd name="connsiteX72" fmla="*/ 64293 w 690562"/>
              <a:gd name="connsiteY72" fmla="*/ 157162 h 319087"/>
              <a:gd name="connsiteX73" fmla="*/ 0 w 690562"/>
              <a:gd name="connsiteY73" fmla="*/ 180975 h 319087"/>
              <a:gd name="connsiteX0" fmla="*/ 0 w 690562"/>
              <a:gd name="connsiteY0" fmla="*/ 180975 h 319087"/>
              <a:gd name="connsiteX1" fmla="*/ 40481 w 690562"/>
              <a:gd name="connsiteY1" fmla="*/ 238125 h 319087"/>
              <a:gd name="connsiteX2" fmla="*/ 76200 w 690562"/>
              <a:gd name="connsiteY2" fmla="*/ 207169 h 319087"/>
              <a:gd name="connsiteX3" fmla="*/ 92868 w 690562"/>
              <a:gd name="connsiteY3" fmla="*/ 209550 h 319087"/>
              <a:gd name="connsiteX4" fmla="*/ 104775 w 690562"/>
              <a:gd name="connsiteY4" fmla="*/ 161925 h 319087"/>
              <a:gd name="connsiteX5" fmla="*/ 145256 w 690562"/>
              <a:gd name="connsiteY5" fmla="*/ 169069 h 319087"/>
              <a:gd name="connsiteX6" fmla="*/ 171450 w 690562"/>
              <a:gd name="connsiteY6" fmla="*/ 161925 h 319087"/>
              <a:gd name="connsiteX7" fmla="*/ 192881 w 690562"/>
              <a:gd name="connsiteY7" fmla="*/ 140494 h 319087"/>
              <a:gd name="connsiteX8" fmla="*/ 216693 w 690562"/>
              <a:gd name="connsiteY8" fmla="*/ 119062 h 319087"/>
              <a:gd name="connsiteX9" fmla="*/ 238125 w 690562"/>
              <a:gd name="connsiteY9" fmla="*/ 119062 h 319087"/>
              <a:gd name="connsiteX10" fmla="*/ 259556 w 690562"/>
              <a:gd name="connsiteY10" fmla="*/ 130969 h 319087"/>
              <a:gd name="connsiteX11" fmla="*/ 264318 w 690562"/>
              <a:gd name="connsiteY11" fmla="*/ 145256 h 319087"/>
              <a:gd name="connsiteX12" fmla="*/ 283368 w 690562"/>
              <a:gd name="connsiteY12" fmla="*/ 157162 h 319087"/>
              <a:gd name="connsiteX13" fmla="*/ 304800 w 690562"/>
              <a:gd name="connsiteY13" fmla="*/ 154817 h 319087"/>
              <a:gd name="connsiteX14" fmla="*/ 361950 w 690562"/>
              <a:gd name="connsiteY14" fmla="*/ 195297 h 319087"/>
              <a:gd name="connsiteX15" fmla="*/ 397668 w 690562"/>
              <a:gd name="connsiteY15" fmla="*/ 214312 h 319087"/>
              <a:gd name="connsiteX16" fmla="*/ 402431 w 690562"/>
              <a:gd name="connsiteY16" fmla="*/ 235744 h 319087"/>
              <a:gd name="connsiteX17" fmla="*/ 400050 w 690562"/>
              <a:gd name="connsiteY17" fmla="*/ 264319 h 319087"/>
              <a:gd name="connsiteX18" fmla="*/ 388143 w 690562"/>
              <a:gd name="connsiteY18" fmla="*/ 290512 h 319087"/>
              <a:gd name="connsiteX19" fmla="*/ 409575 w 690562"/>
              <a:gd name="connsiteY19" fmla="*/ 302419 h 319087"/>
              <a:gd name="connsiteX20" fmla="*/ 419100 w 690562"/>
              <a:gd name="connsiteY20" fmla="*/ 302419 h 319087"/>
              <a:gd name="connsiteX21" fmla="*/ 438150 w 690562"/>
              <a:gd name="connsiteY21" fmla="*/ 290512 h 319087"/>
              <a:gd name="connsiteX22" fmla="*/ 473868 w 690562"/>
              <a:gd name="connsiteY22" fmla="*/ 309562 h 319087"/>
              <a:gd name="connsiteX23" fmla="*/ 507206 w 690562"/>
              <a:gd name="connsiteY23" fmla="*/ 314325 h 319087"/>
              <a:gd name="connsiteX24" fmla="*/ 523875 w 690562"/>
              <a:gd name="connsiteY24" fmla="*/ 319087 h 319087"/>
              <a:gd name="connsiteX25" fmla="*/ 526256 w 690562"/>
              <a:gd name="connsiteY25" fmla="*/ 302419 h 319087"/>
              <a:gd name="connsiteX26" fmla="*/ 535781 w 690562"/>
              <a:gd name="connsiteY26" fmla="*/ 290512 h 319087"/>
              <a:gd name="connsiteX27" fmla="*/ 528637 w 690562"/>
              <a:gd name="connsiteY27" fmla="*/ 261937 h 319087"/>
              <a:gd name="connsiteX28" fmla="*/ 509587 w 690562"/>
              <a:gd name="connsiteY28" fmla="*/ 257175 h 319087"/>
              <a:gd name="connsiteX29" fmla="*/ 490537 w 690562"/>
              <a:gd name="connsiteY29" fmla="*/ 235744 h 319087"/>
              <a:gd name="connsiteX30" fmla="*/ 481012 w 690562"/>
              <a:gd name="connsiteY30" fmla="*/ 202406 h 319087"/>
              <a:gd name="connsiteX31" fmla="*/ 461962 w 690562"/>
              <a:gd name="connsiteY31" fmla="*/ 154781 h 319087"/>
              <a:gd name="connsiteX32" fmla="*/ 457200 w 690562"/>
              <a:gd name="connsiteY32" fmla="*/ 126206 h 319087"/>
              <a:gd name="connsiteX33" fmla="*/ 457200 w 690562"/>
              <a:gd name="connsiteY33" fmla="*/ 111919 h 319087"/>
              <a:gd name="connsiteX34" fmla="*/ 469106 w 690562"/>
              <a:gd name="connsiteY34" fmla="*/ 100012 h 319087"/>
              <a:gd name="connsiteX35" fmla="*/ 476250 w 690562"/>
              <a:gd name="connsiteY35" fmla="*/ 78581 h 319087"/>
              <a:gd name="connsiteX36" fmla="*/ 497681 w 690562"/>
              <a:gd name="connsiteY36" fmla="*/ 73819 h 319087"/>
              <a:gd name="connsiteX37" fmla="*/ 500062 w 690562"/>
              <a:gd name="connsiteY37" fmla="*/ 92869 h 319087"/>
              <a:gd name="connsiteX38" fmla="*/ 495300 w 690562"/>
              <a:gd name="connsiteY38" fmla="*/ 107156 h 319087"/>
              <a:gd name="connsiteX39" fmla="*/ 509587 w 690562"/>
              <a:gd name="connsiteY39" fmla="*/ 116681 h 319087"/>
              <a:gd name="connsiteX40" fmla="*/ 509587 w 690562"/>
              <a:gd name="connsiteY40" fmla="*/ 126206 h 319087"/>
              <a:gd name="connsiteX41" fmla="*/ 504825 w 690562"/>
              <a:gd name="connsiteY41" fmla="*/ 147637 h 319087"/>
              <a:gd name="connsiteX42" fmla="*/ 502443 w 690562"/>
              <a:gd name="connsiteY42" fmla="*/ 154781 h 319087"/>
              <a:gd name="connsiteX43" fmla="*/ 523875 w 690562"/>
              <a:gd name="connsiteY43" fmla="*/ 171450 h 319087"/>
              <a:gd name="connsiteX44" fmla="*/ 531018 w 690562"/>
              <a:gd name="connsiteY44" fmla="*/ 185737 h 319087"/>
              <a:gd name="connsiteX45" fmla="*/ 545306 w 690562"/>
              <a:gd name="connsiteY45" fmla="*/ 190500 h 319087"/>
              <a:gd name="connsiteX46" fmla="*/ 531018 w 690562"/>
              <a:gd name="connsiteY46" fmla="*/ 204787 h 319087"/>
              <a:gd name="connsiteX47" fmla="*/ 528637 w 690562"/>
              <a:gd name="connsiteY47" fmla="*/ 216694 h 319087"/>
              <a:gd name="connsiteX48" fmla="*/ 547687 w 690562"/>
              <a:gd name="connsiteY48" fmla="*/ 235744 h 319087"/>
              <a:gd name="connsiteX49" fmla="*/ 547687 w 690562"/>
              <a:gd name="connsiteY49" fmla="*/ 235744 h 319087"/>
              <a:gd name="connsiteX50" fmla="*/ 581025 w 690562"/>
              <a:gd name="connsiteY50" fmla="*/ 247650 h 319087"/>
              <a:gd name="connsiteX51" fmla="*/ 595312 w 690562"/>
              <a:gd name="connsiteY51" fmla="*/ 242887 h 319087"/>
              <a:gd name="connsiteX52" fmla="*/ 602456 w 690562"/>
              <a:gd name="connsiteY52" fmla="*/ 264319 h 319087"/>
              <a:gd name="connsiteX53" fmla="*/ 602456 w 690562"/>
              <a:gd name="connsiteY53" fmla="*/ 292894 h 319087"/>
              <a:gd name="connsiteX54" fmla="*/ 611981 w 690562"/>
              <a:gd name="connsiteY54" fmla="*/ 297656 h 319087"/>
              <a:gd name="connsiteX55" fmla="*/ 631031 w 690562"/>
              <a:gd name="connsiteY55" fmla="*/ 297656 h 319087"/>
              <a:gd name="connsiteX56" fmla="*/ 650081 w 690562"/>
              <a:gd name="connsiteY56" fmla="*/ 285750 h 319087"/>
              <a:gd name="connsiteX57" fmla="*/ 669131 w 690562"/>
              <a:gd name="connsiteY57" fmla="*/ 278606 h 319087"/>
              <a:gd name="connsiteX58" fmla="*/ 681037 w 690562"/>
              <a:gd name="connsiteY58" fmla="*/ 278606 h 319087"/>
              <a:gd name="connsiteX59" fmla="*/ 690562 w 690562"/>
              <a:gd name="connsiteY59" fmla="*/ 204787 h 319087"/>
              <a:gd name="connsiteX60" fmla="*/ 614362 w 690562"/>
              <a:gd name="connsiteY60" fmla="*/ 228600 h 319087"/>
              <a:gd name="connsiteX61" fmla="*/ 600075 w 690562"/>
              <a:gd name="connsiteY61" fmla="*/ 173831 h 319087"/>
              <a:gd name="connsiteX62" fmla="*/ 583406 w 690562"/>
              <a:gd name="connsiteY62" fmla="*/ 145256 h 319087"/>
              <a:gd name="connsiteX63" fmla="*/ 585787 w 690562"/>
              <a:gd name="connsiteY63" fmla="*/ 121444 h 319087"/>
              <a:gd name="connsiteX64" fmla="*/ 566737 w 690562"/>
              <a:gd name="connsiteY64" fmla="*/ 83344 h 319087"/>
              <a:gd name="connsiteX65" fmla="*/ 561975 w 690562"/>
              <a:gd name="connsiteY65" fmla="*/ 50006 h 319087"/>
              <a:gd name="connsiteX66" fmla="*/ 533400 w 690562"/>
              <a:gd name="connsiteY66" fmla="*/ 0 h 319087"/>
              <a:gd name="connsiteX67" fmla="*/ 411956 w 690562"/>
              <a:gd name="connsiteY67" fmla="*/ 42862 h 319087"/>
              <a:gd name="connsiteX68" fmla="*/ 319087 w 690562"/>
              <a:gd name="connsiteY68" fmla="*/ 71437 h 319087"/>
              <a:gd name="connsiteX69" fmla="*/ 257175 w 690562"/>
              <a:gd name="connsiteY69" fmla="*/ 92869 h 319087"/>
              <a:gd name="connsiteX70" fmla="*/ 147637 w 690562"/>
              <a:gd name="connsiteY70" fmla="*/ 126206 h 319087"/>
              <a:gd name="connsiteX71" fmla="*/ 64293 w 690562"/>
              <a:gd name="connsiteY71" fmla="*/ 157162 h 319087"/>
              <a:gd name="connsiteX72" fmla="*/ 0 w 690562"/>
              <a:gd name="connsiteY72" fmla="*/ 180975 h 319087"/>
              <a:gd name="connsiteX0" fmla="*/ 0 w 690562"/>
              <a:gd name="connsiteY0" fmla="*/ 180975 h 319087"/>
              <a:gd name="connsiteX1" fmla="*/ 40481 w 690562"/>
              <a:gd name="connsiteY1" fmla="*/ 238125 h 319087"/>
              <a:gd name="connsiteX2" fmla="*/ 76200 w 690562"/>
              <a:gd name="connsiteY2" fmla="*/ 207169 h 319087"/>
              <a:gd name="connsiteX3" fmla="*/ 92868 w 690562"/>
              <a:gd name="connsiteY3" fmla="*/ 209550 h 319087"/>
              <a:gd name="connsiteX4" fmla="*/ 104775 w 690562"/>
              <a:gd name="connsiteY4" fmla="*/ 161925 h 319087"/>
              <a:gd name="connsiteX5" fmla="*/ 145256 w 690562"/>
              <a:gd name="connsiteY5" fmla="*/ 169069 h 319087"/>
              <a:gd name="connsiteX6" fmla="*/ 171450 w 690562"/>
              <a:gd name="connsiteY6" fmla="*/ 161925 h 319087"/>
              <a:gd name="connsiteX7" fmla="*/ 192881 w 690562"/>
              <a:gd name="connsiteY7" fmla="*/ 140494 h 319087"/>
              <a:gd name="connsiteX8" fmla="*/ 216693 w 690562"/>
              <a:gd name="connsiteY8" fmla="*/ 119062 h 319087"/>
              <a:gd name="connsiteX9" fmla="*/ 238125 w 690562"/>
              <a:gd name="connsiteY9" fmla="*/ 119062 h 319087"/>
              <a:gd name="connsiteX10" fmla="*/ 259556 w 690562"/>
              <a:gd name="connsiteY10" fmla="*/ 130969 h 319087"/>
              <a:gd name="connsiteX11" fmla="*/ 264318 w 690562"/>
              <a:gd name="connsiteY11" fmla="*/ 145256 h 319087"/>
              <a:gd name="connsiteX12" fmla="*/ 283368 w 690562"/>
              <a:gd name="connsiteY12" fmla="*/ 157162 h 319087"/>
              <a:gd name="connsiteX13" fmla="*/ 304800 w 690562"/>
              <a:gd name="connsiteY13" fmla="*/ 154817 h 319087"/>
              <a:gd name="connsiteX14" fmla="*/ 361950 w 690562"/>
              <a:gd name="connsiteY14" fmla="*/ 195297 h 319087"/>
              <a:gd name="connsiteX15" fmla="*/ 397668 w 690562"/>
              <a:gd name="connsiteY15" fmla="*/ 214312 h 319087"/>
              <a:gd name="connsiteX16" fmla="*/ 402431 w 690562"/>
              <a:gd name="connsiteY16" fmla="*/ 235744 h 319087"/>
              <a:gd name="connsiteX17" fmla="*/ 400050 w 690562"/>
              <a:gd name="connsiteY17" fmla="*/ 264319 h 319087"/>
              <a:gd name="connsiteX18" fmla="*/ 388143 w 690562"/>
              <a:gd name="connsiteY18" fmla="*/ 290512 h 319087"/>
              <a:gd name="connsiteX19" fmla="*/ 409575 w 690562"/>
              <a:gd name="connsiteY19" fmla="*/ 302419 h 319087"/>
              <a:gd name="connsiteX20" fmla="*/ 419100 w 690562"/>
              <a:gd name="connsiteY20" fmla="*/ 302419 h 319087"/>
              <a:gd name="connsiteX21" fmla="*/ 438150 w 690562"/>
              <a:gd name="connsiteY21" fmla="*/ 290512 h 319087"/>
              <a:gd name="connsiteX22" fmla="*/ 473868 w 690562"/>
              <a:gd name="connsiteY22" fmla="*/ 309562 h 319087"/>
              <a:gd name="connsiteX23" fmla="*/ 523875 w 690562"/>
              <a:gd name="connsiteY23" fmla="*/ 319087 h 319087"/>
              <a:gd name="connsiteX24" fmla="*/ 526256 w 690562"/>
              <a:gd name="connsiteY24" fmla="*/ 302419 h 319087"/>
              <a:gd name="connsiteX25" fmla="*/ 535781 w 690562"/>
              <a:gd name="connsiteY25" fmla="*/ 290512 h 319087"/>
              <a:gd name="connsiteX26" fmla="*/ 528637 w 690562"/>
              <a:gd name="connsiteY26" fmla="*/ 261937 h 319087"/>
              <a:gd name="connsiteX27" fmla="*/ 509587 w 690562"/>
              <a:gd name="connsiteY27" fmla="*/ 257175 h 319087"/>
              <a:gd name="connsiteX28" fmla="*/ 490537 w 690562"/>
              <a:gd name="connsiteY28" fmla="*/ 235744 h 319087"/>
              <a:gd name="connsiteX29" fmla="*/ 481012 w 690562"/>
              <a:gd name="connsiteY29" fmla="*/ 202406 h 319087"/>
              <a:gd name="connsiteX30" fmla="*/ 461962 w 690562"/>
              <a:gd name="connsiteY30" fmla="*/ 154781 h 319087"/>
              <a:gd name="connsiteX31" fmla="*/ 457200 w 690562"/>
              <a:gd name="connsiteY31" fmla="*/ 126206 h 319087"/>
              <a:gd name="connsiteX32" fmla="*/ 457200 w 690562"/>
              <a:gd name="connsiteY32" fmla="*/ 111919 h 319087"/>
              <a:gd name="connsiteX33" fmla="*/ 469106 w 690562"/>
              <a:gd name="connsiteY33" fmla="*/ 100012 h 319087"/>
              <a:gd name="connsiteX34" fmla="*/ 476250 w 690562"/>
              <a:gd name="connsiteY34" fmla="*/ 78581 h 319087"/>
              <a:gd name="connsiteX35" fmla="*/ 497681 w 690562"/>
              <a:gd name="connsiteY35" fmla="*/ 73819 h 319087"/>
              <a:gd name="connsiteX36" fmla="*/ 500062 w 690562"/>
              <a:gd name="connsiteY36" fmla="*/ 92869 h 319087"/>
              <a:gd name="connsiteX37" fmla="*/ 495300 w 690562"/>
              <a:gd name="connsiteY37" fmla="*/ 107156 h 319087"/>
              <a:gd name="connsiteX38" fmla="*/ 509587 w 690562"/>
              <a:gd name="connsiteY38" fmla="*/ 116681 h 319087"/>
              <a:gd name="connsiteX39" fmla="*/ 509587 w 690562"/>
              <a:gd name="connsiteY39" fmla="*/ 126206 h 319087"/>
              <a:gd name="connsiteX40" fmla="*/ 504825 w 690562"/>
              <a:gd name="connsiteY40" fmla="*/ 147637 h 319087"/>
              <a:gd name="connsiteX41" fmla="*/ 502443 w 690562"/>
              <a:gd name="connsiteY41" fmla="*/ 154781 h 319087"/>
              <a:gd name="connsiteX42" fmla="*/ 523875 w 690562"/>
              <a:gd name="connsiteY42" fmla="*/ 171450 h 319087"/>
              <a:gd name="connsiteX43" fmla="*/ 531018 w 690562"/>
              <a:gd name="connsiteY43" fmla="*/ 185737 h 319087"/>
              <a:gd name="connsiteX44" fmla="*/ 545306 w 690562"/>
              <a:gd name="connsiteY44" fmla="*/ 190500 h 319087"/>
              <a:gd name="connsiteX45" fmla="*/ 531018 w 690562"/>
              <a:gd name="connsiteY45" fmla="*/ 204787 h 319087"/>
              <a:gd name="connsiteX46" fmla="*/ 528637 w 690562"/>
              <a:gd name="connsiteY46" fmla="*/ 216694 h 319087"/>
              <a:gd name="connsiteX47" fmla="*/ 547687 w 690562"/>
              <a:gd name="connsiteY47" fmla="*/ 235744 h 319087"/>
              <a:gd name="connsiteX48" fmla="*/ 547687 w 690562"/>
              <a:gd name="connsiteY48" fmla="*/ 235744 h 319087"/>
              <a:gd name="connsiteX49" fmla="*/ 581025 w 690562"/>
              <a:gd name="connsiteY49" fmla="*/ 247650 h 319087"/>
              <a:gd name="connsiteX50" fmla="*/ 595312 w 690562"/>
              <a:gd name="connsiteY50" fmla="*/ 242887 h 319087"/>
              <a:gd name="connsiteX51" fmla="*/ 602456 w 690562"/>
              <a:gd name="connsiteY51" fmla="*/ 264319 h 319087"/>
              <a:gd name="connsiteX52" fmla="*/ 602456 w 690562"/>
              <a:gd name="connsiteY52" fmla="*/ 292894 h 319087"/>
              <a:gd name="connsiteX53" fmla="*/ 611981 w 690562"/>
              <a:gd name="connsiteY53" fmla="*/ 297656 h 319087"/>
              <a:gd name="connsiteX54" fmla="*/ 631031 w 690562"/>
              <a:gd name="connsiteY54" fmla="*/ 297656 h 319087"/>
              <a:gd name="connsiteX55" fmla="*/ 650081 w 690562"/>
              <a:gd name="connsiteY55" fmla="*/ 285750 h 319087"/>
              <a:gd name="connsiteX56" fmla="*/ 669131 w 690562"/>
              <a:gd name="connsiteY56" fmla="*/ 278606 h 319087"/>
              <a:gd name="connsiteX57" fmla="*/ 681037 w 690562"/>
              <a:gd name="connsiteY57" fmla="*/ 278606 h 319087"/>
              <a:gd name="connsiteX58" fmla="*/ 690562 w 690562"/>
              <a:gd name="connsiteY58" fmla="*/ 204787 h 319087"/>
              <a:gd name="connsiteX59" fmla="*/ 614362 w 690562"/>
              <a:gd name="connsiteY59" fmla="*/ 228600 h 319087"/>
              <a:gd name="connsiteX60" fmla="*/ 600075 w 690562"/>
              <a:gd name="connsiteY60" fmla="*/ 173831 h 319087"/>
              <a:gd name="connsiteX61" fmla="*/ 583406 w 690562"/>
              <a:gd name="connsiteY61" fmla="*/ 145256 h 319087"/>
              <a:gd name="connsiteX62" fmla="*/ 585787 w 690562"/>
              <a:gd name="connsiteY62" fmla="*/ 121444 h 319087"/>
              <a:gd name="connsiteX63" fmla="*/ 566737 w 690562"/>
              <a:gd name="connsiteY63" fmla="*/ 83344 h 319087"/>
              <a:gd name="connsiteX64" fmla="*/ 561975 w 690562"/>
              <a:gd name="connsiteY64" fmla="*/ 50006 h 319087"/>
              <a:gd name="connsiteX65" fmla="*/ 533400 w 690562"/>
              <a:gd name="connsiteY65" fmla="*/ 0 h 319087"/>
              <a:gd name="connsiteX66" fmla="*/ 411956 w 690562"/>
              <a:gd name="connsiteY66" fmla="*/ 42862 h 319087"/>
              <a:gd name="connsiteX67" fmla="*/ 319087 w 690562"/>
              <a:gd name="connsiteY67" fmla="*/ 71437 h 319087"/>
              <a:gd name="connsiteX68" fmla="*/ 257175 w 690562"/>
              <a:gd name="connsiteY68" fmla="*/ 92869 h 319087"/>
              <a:gd name="connsiteX69" fmla="*/ 147637 w 690562"/>
              <a:gd name="connsiteY69" fmla="*/ 126206 h 319087"/>
              <a:gd name="connsiteX70" fmla="*/ 64293 w 690562"/>
              <a:gd name="connsiteY70" fmla="*/ 157162 h 319087"/>
              <a:gd name="connsiteX71" fmla="*/ 0 w 690562"/>
              <a:gd name="connsiteY71" fmla="*/ 180975 h 319087"/>
              <a:gd name="connsiteX0" fmla="*/ 0 w 690562"/>
              <a:gd name="connsiteY0" fmla="*/ 180975 h 333493"/>
              <a:gd name="connsiteX1" fmla="*/ 40481 w 690562"/>
              <a:gd name="connsiteY1" fmla="*/ 238125 h 333493"/>
              <a:gd name="connsiteX2" fmla="*/ 76200 w 690562"/>
              <a:gd name="connsiteY2" fmla="*/ 207169 h 333493"/>
              <a:gd name="connsiteX3" fmla="*/ 92868 w 690562"/>
              <a:gd name="connsiteY3" fmla="*/ 209550 h 333493"/>
              <a:gd name="connsiteX4" fmla="*/ 104775 w 690562"/>
              <a:gd name="connsiteY4" fmla="*/ 161925 h 333493"/>
              <a:gd name="connsiteX5" fmla="*/ 145256 w 690562"/>
              <a:gd name="connsiteY5" fmla="*/ 169069 h 333493"/>
              <a:gd name="connsiteX6" fmla="*/ 171450 w 690562"/>
              <a:gd name="connsiteY6" fmla="*/ 161925 h 333493"/>
              <a:gd name="connsiteX7" fmla="*/ 192881 w 690562"/>
              <a:gd name="connsiteY7" fmla="*/ 140494 h 333493"/>
              <a:gd name="connsiteX8" fmla="*/ 216693 w 690562"/>
              <a:gd name="connsiteY8" fmla="*/ 119062 h 333493"/>
              <a:gd name="connsiteX9" fmla="*/ 238125 w 690562"/>
              <a:gd name="connsiteY9" fmla="*/ 119062 h 333493"/>
              <a:gd name="connsiteX10" fmla="*/ 259556 w 690562"/>
              <a:gd name="connsiteY10" fmla="*/ 130969 h 333493"/>
              <a:gd name="connsiteX11" fmla="*/ 264318 w 690562"/>
              <a:gd name="connsiteY11" fmla="*/ 145256 h 333493"/>
              <a:gd name="connsiteX12" fmla="*/ 283368 w 690562"/>
              <a:gd name="connsiteY12" fmla="*/ 157162 h 333493"/>
              <a:gd name="connsiteX13" fmla="*/ 304800 w 690562"/>
              <a:gd name="connsiteY13" fmla="*/ 154817 h 333493"/>
              <a:gd name="connsiteX14" fmla="*/ 361950 w 690562"/>
              <a:gd name="connsiteY14" fmla="*/ 195297 h 333493"/>
              <a:gd name="connsiteX15" fmla="*/ 397668 w 690562"/>
              <a:gd name="connsiteY15" fmla="*/ 214312 h 333493"/>
              <a:gd name="connsiteX16" fmla="*/ 402431 w 690562"/>
              <a:gd name="connsiteY16" fmla="*/ 235744 h 333493"/>
              <a:gd name="connsiteX17" fmla="*/ 400050 w 690562"/>
              <a:gd name="connsiteY17" fmla="*/ 264319 h 333493"/>
              <a:gd name="connsiteX18" fmla="*/ 388143 w 690562"/>
              <a:gd name="connsiteY18" fmla="*/ 290512 h 333493"/>
              <a:gd name="connsiteX19" fmla="*/ 409575 w 690562"/>
              <a:gd name="connsiteY19" fmla="*/ 302419 h 333493"/>
              <a:gd name="connsiteX20" fmla="*/ 419100 w 690562"/>
              <a:gd name="connsiteY20" fmla="*/ 302419 h 333493"/>
              <a:gd name="connsiteX21" fmla="*/ 438150 w 690562"/>
              <a:gd name="connsiteY21" fmla="*/ 290512 h 333493"/>
              <a:gd name="connsiteX22" fmla="*/ 473868 w 690562"/>
              <a:gd name="connsiteY22" fmla="*/ 333493 h 333493"/>
              <a:gd name="connsiteX23" fmla="*/ 523875 w 690562"/>
              <a:gd name="connsiteY23" fmla="*/ 319087 h 333493"/>
              <a:gd name="connsiteX24" fmla="*/ 526256 w 690562"/>
              <a:gd name="connsiteY24" fmla="*/ 302419 h 333493"/>
              <a:gd name="connsiteX25" fmla="*/ 535781 w 690562"/>
              <a:gd name="connsiteY25" fmla="*/ 290512 h 333493"/>
              <a:gd name="connsiteX26" fmla="*/ 528637 w 690562"/>
              <a:gd name="connsiteY26" fmla="*/ 261937 h 333493"/>
              <a:gd name="connsiteX27" fmla="*/ 509587 w 690562"/>
              <a:gd name="connsiteY27" fmla="*/ 257175 h 333493"/>
              <a:gd name="connsiteX28" fmla="*/ 490537 w 690562"/>
              <a:gd name="connsiteY28" fmla="*/ 235744 h 333493"/>
              <a:gd name="connsiteX29" fmla="*/ 481012 w 690562"/>
              <a:gd name="connsiteY29" fmla="*/ 202406 h 333493"/>
              <a:gd name="connsiteX30" fmla="*/ 461962 w 690562"/>
              <a:gd name="connsiteY30" fmla="*/ 154781 h 333493"/>
              <a:gd name="connsiteX31" fmla="*/ 457200 w 690562"/>
              <a:gd name="connsiteY31" fmla="*/ 126206 h 333493"/>
              <a:gd name="connsiteX32" fmla="*/ 457200 w 690562"/>
              <a:gd name="connsiteY32" fmla="*/ 111919 h 333493"/>
              <a:gd name="connsiteX33" fmla="*/ 469106 w 690562"/>
              <a:gd name="connsiteY33" fmla="*/ 100012 h 333493"/>
              <a:gd name="connsiteX34" fmla="*/ 476250 w 690562"/>
              <a:gd name="connsiteY34" fmla="*/ 78581 h 333493"/>
              <a:gd name="connsiteX35" fmla="*/ 497681 w 690562"/>
              <a:gd name="connsiteY35" fmla="*/ 73819 h 333493"/>
              <a:gd name="connsiteX36" fmla="*/ 500062 w 690562"/>
              <a:gd name="connsiteY36" fmla="*/ 92869 h 333493"/>
              <a:gd name="connsiteX37" fmla="*/ 495300 w 690562"/>
              <a:gd name="connsiteY37" fmla="*/ 107156 h 333493"/>
              <a:gd name="connsiteX38" fmla="*/ 509587 w 690562"/>
              <a:gd name="connsiteY38" fmla="*/ 116681 h 333493"/>
              <a:gd name="connsiteX39" fmla="*/ 509587 w 690562"/>
              <a:gd name="connsiteY39" fmla="*/ 126206 h 333493"/>
              <a:gd name="connsiteX40" fmla="*/ 504825 w 690562"/>
              <a:gd name="connsiteY40" fmla="*/ 147637 h 333493"/>
              <a:gd name="connsiteX41" fmla="*/ 502443 w 690562"/>
              <a:gd name="connsiteY41" fmla="*/ 154781 h 333493"/>
              <a:gd name="connsiteX42" fmla="*/ 523875 w 690562"/>
              <a:gd name="connsiteY42" fmla="*/ 171450 h 333493"/>
              <a:gd name="connsiteX43" fmla="*/ 531018 w 690562"/>
              <a:gd name="connsiteY43" fmla="*/ 185737 h 333493"/>
              <a:gd name="connsiteX44" fmla="*/ 545306 w 690562"/>
              <a:gd name="connsiteY44" fmla="*/ 190500 h 333493"/>
              <a:gd name="connsiteX45" fmla="*/ 531018 w 690562"/>
              <a:gd name="connsiteY45" fmla="*/ 204787 h 333493"/>
              <a:gd name="connsiteX46" fmla="*/ 528637 w 690562"/>
              <a:gd name="connsiteY46" fmla="*/ 216694 h 333493"/>
              <a:gd name="connsiteX47" fmla="*/ 547687 w 690562"/>
              <a:gd name="connsiteY47" fmla="*/ 235744 h 333493"/>
              <a:gd name="connsiteX48" fmla="*/ 547687 w 690562"/>
              <a:gd name="connsiteY48" fmla="*/ 235744 h 333493"/>
              <a:gd name="connsiteX49" fmla="*/ 581025 w 690562"/>
              <a:gd name="connsiteY49" fmla="*/ 247650 h 333493"/>
              <a:gd name="connsiteX50" fmla="*/ 595312 w 690562"/>
              <a:gd name="connsiteY50" fmla="*/ 242887 h 333493"/>
              <a:gd name="connsiteX51" fmla="*/ 602456 w 690562"/>
              <a:gd name="connsiteY51" fmla="*/ 264319 h 333493"/>
              <a:gd name="connsiteX52" fmla="*/ 602456 w 690562"/>
              <a:gd name="connsiteY52" fmla="*/ 292894 h 333493"/>
              <a:gd name="connsiteX53" fmla="*/ 611981 w 690562"/>
              <a:gd name="connsiteY53" fmla="*/ 297656 h 333493"/>
              <a:gd name="connsiteX54" fmla="*/ 631031 w 690562"/>
              <a:gd name="connsiteY54" fmla="*/ 297656 h 333493"/>
              <a:gd name="connsiteX55" fmla="*/ 650081 w 690562"/>
              <a:gd name="connsiteY55" fmla="*/ 285750 h 333493"/>
              <a:gd name="connsiteX56" fmla="*/ 669131 w 690562"/>
              <a:gd name="connsiteY56" fmla="*/ 278606 h 333493"/>
              <a:gd name="connsiteX57" fmla="*/ 681037 w 690562"/>
              <a:gd name="connsiteY57" fmla="*/ 278606 h 333493"/>
              <a:gd name="connsiteX58" fmla="*/ 690562 w 690562"/>
              <a:gd name="connsiteY58" fmla="*/ 204787 h 333493"/>
              <a:gd name="connsiteX59" fmla="*/ 614362 w 690562"/>
              <a:gd name="connsiteY59" fmla="*/ 228600 h 333493"/>
              <a:gd name="connsiteX60" fmla="*/ 600075 w 690562"/>
              <a:gd name="connsiteY60" fmla="*/ 173831 h 333493"/>
              <a:gd name="connsiteX61" fmla="*/ 583406 w 690562"/>
              <a:gd name="connsiteY61" fmla="*/ 145256 h 333493"/>
              <a:gd name="connsiteX62" fmla="*/ 585787 w 690562"/>
              <a:gd name="connsiteY62" fmla="*/ 121444 h 333493"/>
              <a:gd name="connsiteX63" fmla="*/ 566737 w 690562"/>
              <a:gd name="connsiteY63" fmla="*/ 83344 h 333493"/>
              <a:gd name="connsiteX64" fmla="*/ 561975 w 690562"/>
              <a:gd name="connsiteY64" fmla="*/ 50006 h 333493"/>
              <a:gd name="connsiteX65" fmla="*/ 533400 w 690562"/>
              <a:gd name="connsiteY65" fmla="*/ 0 h 333493"/>
              <a:gd name="connsiteX66" fmla="*/ 411956 w 690562"/>
              <a:gd name="connsiteY66" fmla="*/ 42862 h 333493"/>
              <a:gd name="connsiteX67" fmla="*/ 319087 w 690562"/>
              <a:gd name="connsiteY67" fmla="*/ 71437 h 333493"/>
              <a:gd name="connsiteX68" fmla="*/ 257175 w 690562"/>
              <a:gd name="connsiteY68" fmla="*/ 92869 h 333493"/>
              <a:gd name="connsiteX69" fmla="*/ 147637 w 690562"/>
              <a:gd name="connsiteY69" fmla="*/ 126206 h 333493"/>
              <a:gd name="connsiteX70" fmla="*/ 64293 w 690562"/>
              <a:gd name="connsiteY70" fmla="*/ 157162 h 333493"/>
              <a:gd name="connsiteX71" fmla="*/ 0 w 690562"/>
              <a:gd name="connsiteY71" fmla="*/ 180975 h 333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690562" h="333493">
                <a:moveTo>
                  <a:pt x="0" y="180975"/>
                </a:moveTo>
                <a:lnTo>
                  <a:pt x="40481" y="238125"/>
                </a:lnTo>
                <a:lnTo>
                  <a:pt x="76200" y="207169"/>
                </a:lnTo>
                <a:lnTo>
                  <a:pt x="92868" y="209550"/>
                </a:lnTo>
                <a:lnTo>
                  <a:pt x="104775" y="161925"/>
                </a:lnTo>
                <a:lnTo>
                  <a:pt x="145256" y="169069"/>
                </a:lnTo>
                <a:lnTo>
                  <a:pt x="171450" y="161925"/>
                </a:lnTo>
                <a:lnTo>
                  <a:pt x="192881" y="140494"/>
                </a:lnTo>
                <a:lnTo>
                  <a:pt x="216693" y="119062"/>
                </a:lnTo>
                <a:lnTo>
                  <a:pt x="238125" y="119062"/>
                </a:lnTo>
                <a:lnTo>
                  <a:pt x="259556" y="130969"/>
                </a:lnTo>
                <a:lnTo>
                  <a:pt x="264318" y="145256"/>
                </a:lnTo>
                <a:lnTo>
                  <a:pt x="283368" y="157162"/>
                </a:lnTo>
                <a:lnTo>
                  <a:pt x="304800" y="154817"/>
                </a:lnTo>
                <a:lnTo>
                  <a:pt x="361950" y="195297"/>
                </a:lnTo>
                <a:lnTo>
                  <a:pt x="397668" y="214312"/>
                </a:lnTo>
                <a:lnTo>
                  <a:pt x="402431" y="235744"/>
                </a:lnTo>
                <a:lnTo>
                  <a:pt x="400050" y="264319"/>
                </a:lnTo>
                <a:lnTo>
                  <a:pt x="388143" y="290512"/>
                </a:lnTo>
                <a:lnTo>
                  <a:pt x="409575" y="302419"/>
                </a:lnTo>
                <a:lnTo>
                  <a:pt x="419100" y="302419"/>
                </a:lnTo>
                <a:lnTo>
                  <a:pt x="438150" y="290512"/>
                </a:lnTo>
                <a:lnTo>
                  <a:pt x="473868" y="333493"/>
                </a:lnTo>
                <a:lnTo>
                  <a:pt x="523875" y="319087"/>
                </a:lnTo>
                <a:lnTo>
                  <a:pt x="526256" y="302419"/>
                </a:lnTo>
                <a:lnTo>
                  <a:pt x="535781" y="290512"/>
                </a:lnTo>
                <a:lnTo>
                  <a:pt x="528637" y="261937"/>
                </a:lnTo>
                <a:lnTo>
                  <a:pt x="509587" y="257175"/>
                </a:lnTo>
                <a:lnTo>
                  <a:pt x="490537" y="235744"/>
                </a:lnTo>
                <a:lnTo>
                  <a:pt x="481012" y="202406"/>
                </a:lnTo>
                <a:lnTo>
                  <a:pt x="461962" y="154781"/>
                </a:lnTo>
                <a:lnTo>
                  <a:pt x="457200" y="126206"/>
                </a:lnTo>
                <a:lnTo>
                  <a:pt x="457200" y="111919"/>
                </a:lnTo>
                <a:lnTo>
                  <a:pt x="469106" y="100012"/>
                </a:lnTo>
                <a:lnTo>
                  <a:pt x="476250" y="78581"/>
                </a:lnTo>
                <a:lnTo>
                  <a:pt x="497681" y="73819"/>
                </a:lnTo>
                <a:lnTo>
                  <a:pt x="500062" y="92869"/>
                </a:lnTo>
                <a:lnTo>
                  <a:pt x="495300" y="107156"/>
                </a:lnTo>
                <a:lnTo>
                  <a:pt x="509587" y="116681"/>
                </a:lnTo>
                <a:lnTo>
                  <a:pt x="509587" y="126206"/>
                </a:lnTo>
                <a:lnTo>
                  <a:pt x="504825" y="147637"/>
                </a:lnTo>
                <a:lnTo>
                  <a:pt x="502443" y="154781"/>
                </a:lnTo>
                <a:lnTo>
                  <a:pt x="523875" y="171450"/>
                </a:lnTo>
                <a:lnTo>
                  <a:pt x="531018" y="185737"/>
                </a:lnTo>
                <a:lnTo>
                  <a:pt x="545306" y="190500"/>
                </a:lnTo>
                <a:lnTo>
                  <a:pt x="531018" y="204787"/>
                </a:lnTo>
                <a:lnTo>
                  <a:pt x="528637" y="216694"/>
                </a:lnTo>
                <a:lnTo>
                  <a:pt x="547687" y="235744"/>
                </a:lnTo>
                <a:lnTo>
                  <a:pt x="547687" y="235744"/>
                </a:lnTo>
                <a:lnTo>
                  <a:pt x="581025" y="247650"/>
                </a:lnTo>
                <a:lnTo>
                  <a:pt x="595312" y="242887"/>
                </a:lnTo>
                <a:lnTo>
                  <a:pt x="602456" y="264319"/>
                </a:lnTo>
                <a:lnTo>
                  <a:pt x="602456" y="292894"/>
                </a:lnTo>
                <a:lnTo>
                  <a:pt x="611981" y="297656"/>
                </a:lnTo>
                <a:lnTo>
                  <a:pt x="631031" y="297656"/>
                </a:lnTo>
                <a:lnTo>
                  <a:pt x="650081" y="285750"/>
                </a:lnTo>
                <a:lnTo>
                  <a:pt x="669131" y="278606"/>
                </a:lnTo>
                <a:lnTo>
                  <a:pt x="681037" y="278606"/>
                </a:lnTo>
                <a:lnTo>
                  <a:pt x="690562" y="204787"/>
                </a:lnTo>
                <a:lnTo>
                  <a:pt x="614362" y="228600"/>
                </a:lnTo>
                <a:lnTo>
                  <a:pt x="600075" y="173831"/>
                </a:lnTo>
                <a:lnTo>
                  <a:pt x="583406" y="145256"/>
                </a:lnTo>
                <a:lnTo>
                  <a:pt x="585787" y="121444"/>
                </a:lnTo>
                <a:lnTo>
                  <a:pt x="566737" y="83344"/>
                </a:lnTo>
                <a:lnTo>
                  <a:pt x="561975" y="50006"/>
                </a:lnTo>
                <a:lnTo>
                  <a:pt x="533400" y="0"/>
                </a:lnTo>
                <a:lnTo>
                  <a:pt x="411956" y="42862"/>
                </a:lnTo>
                <a:lnTo>
                  <a:pt x="319087" y="71437"/>
                </a:lnTo>
                <a:lnTo>
                  <a:pt x="257175" y="92869"/>
                </a:lnTo>
                <a:lnTo>
                  <a:pt x="147637" y="126206"/>
                </a:lnTo>
                <a:lnTo>
                  <a:pt x="64293" y="157162"/>
                </a:lnTo>
                <a:lnTo>
                  <a:pt x="0" y="180975"/>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47" name="Freeform 46"/>
          <p:cNvSpPr/>
          <p:nvPr/>
        </p:nvSpPr>
        <p:spPr>
          <a:xfrm>
            <a:off x="6965369" y="2708292"/>
            <a:ext cx="871370" cy="637321"/>
          </a:xfrm>
          <a:custGeom>
            <a:avLst/>
            <a:gdLst>
              <a:gd name="connsiteX0" fmla="*/ 0 w 895350"/>
              <a:gd name="connsiteY0" fmla="*/ 230981 h 647700"/>
              <a:gd name="connsiteX1" fmla="*/ 69056 w 895350"/>
              <a:gd name="connsiteY1" fmla="*/ 461962 h 647700"/>
              <a:gd name="connsiteX2" fmla="*/ 128587 w 895350"/>
              <a:gd name="connsiteY2" fmla="*/ 647700 h 647700"/>
              <a:gd name="connsiteX3" fmla="*/ 461962 w 895350"/>
              <a:gd name="connsiteY3" fmla="*/ 554831 h 647700"/>
              <a:gd name="connsiteX4" fmla="*/ 840581 w 895350"/>
              <a:gd name="connsiteY4" fmla="*/ 426244 h 647700"/>
              <a:gd name="connsiteX5" fmla="*/ 859631 w 895350"/>
              <a:gd name="connsiteY5" fmla="*/ 354806 h 647700"/>
              <a:gd name="connsiteX6" fmla="*/ 895350 w 895350"/>
              <a:gd name="connsiteY6" fmla="*/ 321469 h 647700"/>
              <a:gd name="connsiteX7" fmla="*/ 885825 w 895350"/>
              <a:gd name="connsiteY7" fmla="*/ 273844 h 647700"/>
              <a:gd name="connsiteX8" fmla="*/ 819150 w 895350"/>
              <a:gd name="connsiteY8" fmla="*/ 257175 h 647700"/>
              <a:gd name="connsiteX9" fmla="*/ 819150 w 895350"/>
              <a:gd name="connsiteY9" fmla="*/ 223837 h 647700"/>
              <a:gd name="connsiteX10" fmla="*/ 804862 w 895350"/>
              <a:gd name="connsiteY10" fmla="*/ 188119 h 647700"/>
              <a:gd name="connsiteX11" fmla="*/ 816769 w 895350"/>
              <a:gd name="connsiteY11" fmla="*/ 80962 h 647700"/>
              <a:gd name="connsiteX12" fmla="*/ 781050 w 895350"/>
              <a:gd name="connsiteY12" fmla="*/ 40481 h 647700"/>
              <a:gd name="connsiteX13" fmla="*/ 733425 w 895350"/>
              <a:gd name="connsiteY13" fmla="*/ 9525 h 647700"/>
              <a:gd name="connsiteX14" fmla="*/ 702469 w 895350"/>
              <a:gd name="connsiteY14" fmla="*/ 0 h 647700"/>
              <a:gd name="connsiteX15" fmla="*/ 397669 w 895350"/>
              <a:gd name="connsiteY15" fmla="*/ 95250 h 647700"/>
              <a:gd name="connsiteX16" fmla="*/ 50006 w 895350"/>
              <a:gd name="connsiteY16" fmla="*/ 200025 h 647700"/>
              <a:gd name="connsiteX17" fmla="*/ 40481 w 895350"/>
              <a:gd name="connsiteY17" fmla="*/ 195262 h 647700"/>
              <a:gd name="connsiteX18" fmla="*/ 0 w 895350"/>
              <a:gd name="connsiteY18" fmla="*/ 230981 h 647700"/>
              <a:gd name="connsiteX0" fmla="*/ 0 w 895350"/>
              <a:gd name="connsiteY0" fmla="*/ 230981 h 647700"/>
              <a:gd name="connsiteX1" fmla="*/ 69056 w 895350"/>
              <a:gd name="connsiteY1" fmla="*/ 461962 h 647700"/>
              <a:gd name="connsiteX2" fmla="*/ 128587 w 895350"/>
              <a:gd name="connsiteY2" fmla="*/ 647700 h 647700"/>
              <a:gd name="connsiteX3" fmla="*/ 461962 w 895350"/>
              <a:gd name="connsiteY3" fmla="*/ 554831 h 647700"/>
              <a:gd name="connsiteX4" fmla="*/ 840581 w 895350"/>
              <a:gd name="connsiteY4" fmla="*/ 426244 h 647700"/>
              <a:gd name="connsiteX5" fmla="*/ 859631 w 895350"/>
              <a:gd name="connsiteY5" fmla="*/ 354806 h 647700"/>
              <a:gd name="connsiteX6" fmla="*/ 895350 w 895350"/>
              <a:gd name="connsiteY6" fmla="*/ 321469 h 647700"/>
              <a:gd name="connsiteX7" fmla="*/ 885825 w 895350"/>
              <a:gd name="connsiteY7" fmla="*/ 273844 h 647700"/>
              <a:gd name="connsiteX8" fmla="*/ 819150 w 895350"/>
              <a:gd name="connsiteY8" fmla="*/ 257175 h 647700"/>
              <a:gd name="connsiteX9" fmla="*/ 819150 w 895350"/>
              <a:gd name="connsiteY9" fmla="*/ 223837 h 647700"/>
              <a:gd name="connsiteX10" fmla="*/ 804862 w 895350"/>
              <a:gd name="connsiteY10" fmla="*/ 188119 h 647700"/>
              <a:gd name="connsiteX11" fmla="*/ 816769 w 895350"/>
              <a:gd name="connsiteY11" fmla="*/ 80962 h 647700"/>
              <a:gd name="connsiteX12" fmla="*/ 781050 w 895350"/>
              <a:gd name="connsiteY12" fmla="*/ 40481 h 647700"/>
              <a:gd name="connsiteX13" fmla="*/ 733425 w 895350"/>
              <a:gd name="connsiteY13" fmla="*/ 9525 h 647700"/>
              <a:gd name="connsiteX14" fmla="*/ 702469 w 895350"/>
              <a:gd name="connsiteY14" fmla="*/ 0 h 647700"/>
              <a:gd name="connsiteX15" fmla="*/ 397669 w 895350"/>
              <a:gd name="connsiteY15" fmla="*/ 95250 h 647700"/>
              <a:gd name="connsiteX16" fmla="*/ 64293 w 895350"/>
              <a:gd name="connsiteY16" fmla="*/ 188118 h 647700"/>
              <a:gd name="connsiteX17" fmla="*/ 40481 w 895350"/>
              <a:gd name="connsiteY17" fmla="*/ 195262 h 647700"/>
              <a:gd name="connsiteX18" fmla="*/ 0 w 895350"/>
              <a:gd name="connsiteY18" fmla="*/ 230981 h 647700"/>
              <a:gd name="connsiteX0" fmla="*/ 0 w 902493"/>
              <a:gd name="connsiteY0" fmla="*/ 245268 h 647700"/>
              <a:gd name="connsiteX1" fmla="*/ 76199 w 902493"/>
              <a:gd name="connsiteY1" fmla="*/ 461962 h 647700"/>
              <a:gd name="connsiteX2" fmla="*/ 135730 w 902493"/>
              <a:gd name="connsiteY2" fmla="*/ 647700 h 647700"/>
              <a:gd name="connsiteX3" fmla="*/ 469105 w 902493"/>
              <a:gd name="connsiteY3" fmla="*/ 554831 h 647700"/>
              <a:gd name="connsiteX4" fmla="*/ 847724 w 902493"/>
              <a:gd name="connsiteY4" fmla="*/ 426244 h 647700"/>
              <a:gd name="connsiteX5" fmla="*/ 866774 w 902493"/>
              <a:gd name="connsiteY5" fmla="*/ 354806 h 647700"/>
              <a:gd name="connsiteX6" fmla="*/ 902493 w 902493"/>
              <a:gd name="connsiteY6" fmla="*/ 321469 h 647700"/>
              <a:gd name="connsiteX7" fmla="*/ 892968 w 902493"/>
              <a:gd name="connsiteY7" fmla="*/ 273844 h 647700"/>
              <a:gd name="connsiteX8" fmla="*/ 826293 w 902493"/>
              <a:gd name="connsiteY8" fmla="*/ 257175 h 647700"/>
              <a:gd name="connsiteX9" fmla="*/ 826293 w 902493"/>
              <a:gd name="connsiteY9" fmla="*/ 223837 h 647700"/>
              <a:gd name="connsiteX10" fmla="*/ 812005 w 902493"/>
              <a:gd name="connsiteY10" fmla="*/ 188119 h 647700"/>
              <a:gd name="connsiteX11" fmla="*/ 823912 w 902493"/>
              <a:gd name="connsiteY11" fmla="*/ 80962 h 647700"/>
              <a:gd name="connsiteX12" fmla="*/ 788193 w 902493"/>
              <a:gd name="connsiteY12" fmla="*/ 40481 h 647700"/>
              <a:gd name="connsiteX13" fmla="*/ 740568 w 902493"/>
              <a:gd name="connsiteY13" fmla="*/ 9525 h 647700"/>
              <a:gd name="connsiteX14" fmla="*/ 709612 w 902493"/>
              <a:gd name="connsiteY14" fmla="*/ 0 h 647700"/>
              <a:gd name="connsiteX15" fmla="*/ 404812 w 902493"/>
              <a:gd name="connsiteY15" fmla="*/ 95250 h 647700"/>
              <a:gd name="connsiteX16" fmla="*/ 71436 w 902493"/>
              <a:gd name="connsiteY16" fmla="*/ 188118 h 647700"/>
              <a:gd name="connsiteX17" fmla="*/ 47624 w 902493"/>
              <a:gd name="connsiteY17" fmla="*/ 195262 h 647700"/>
              <a:gd name="connsiteX18" fmla="*/ 0 w 902493"/>
              <a:gd name="connsiteY18" fmla="*/ 245268 h 647700"/>
              <a:gd name="connsiteX0" fmla="*/ 0 w 902493"/>
              <a:gd name="connsiteY0" fmla="*/ 245268 h 647700"/>
              <a:gd name="connsiteX1" fmla="*/ 135730 w 902493"/>
              <a:gd name="connsiteY1" fmla="*/ 647700 h 647700"/>
              <a:gd name="connsiteX2" fmla="*/ 469105 w 902493"/>
              <a:gd name="connsiteY2" fmla="*/ 554831 h 647700"/>
              <a:gd name="connsiteX3" fmla="*/ 847724 w 902493"/>
              <a:gd name="connsiteY3" fmla="*/ 426244 h 647700"/>
              <a:gd name="connsiteX4" fmla="*/ 866774 w 902493"/>
              <a:gd name="connsiteY4" fmla="*/ 354806 h 647700"/>
              <a:gd name="connsiteX5" fmla="*/ 902493 w 902493"/>
              <a:gd name="connsiteY5" fmla="*/ 321469 h 647700"/>
              <a:gd name="connsiteX6" fmla="*/ 892968 w 902493"/>
              <a:gd name="connsiteY6" fmla="*/ 273844 h 647700"/>
              <a:gd name="connsiteX7" fmla="*/ 826293 w 902493"/>
              <a:gd name="connsiteY7" fmla="*/ 257175 h 647700"/>
              <a:gd name="connsiteX8" fmla="*/ 826293 w 902493"/>
              <a:gd name="connsiteY8" fmla="*/ 223837 h 647700"/>
              <a:gd name="connsiteX9" fmla="*/ 812005 w 902493"/>
              <a:gd name="connsiteY9" fmla="*/ 188119 h 647700"/>
              <a:gd name="connsiteX10" fmla="*/ 823912 w 902493"/>
              <a:gd name="connsiteY10" fmla="*/ 80962 h 647700"/>
              <a:gd name="connsiteX11" fmla="*/ 788193 w 902493"/>
              <a:gd name="connsiteY11" fmla="*/ 40481 h 647700"/>
              <a:gd name="connsiteX12" fmla="*/ 740568 w 902493"/>
              <a:gd name="connsiteY12" fmla="*/ 9525 h 647700"/>
              <a:gd name="connsiteX13" fmla="*/ 709612 w 902493"/>
              <a:gd name="connsiteY13" fmla="*/ 0 h 647700"/>
              <a:gd name="connsiteX14" fmla="*/ 404812 w 902493"/>
              <a:gd name="connsiteY14" fmla="*/ 95250 h 647700"/>
              <a:gd name="connsiteX15" fmla="*/ 71436 w 902493"/>
              <a:gd name="connsiteY15" fmla="*/ 188118 h 647700"/>
              <a:gd name="connsiteX16" fmla="*/ 47624 w 902493"/>
              <a:gd name="connsiteY16" fmla="*/ 195262 h 647700"/>
              <a:gd name="connsiteX17" fmla="*/ 0 w 902493"/>
              <a:gd name="connsiteY17" fmla="*/ 245268 h 647700"/>
              <a:gd name="connsiteX0" fmla="*/ 0 w 902493"/>
              <a:gd name="connsiteY0" fmla="*/ 245268 h 657225"/>
              <a:gd name="connsiteX1" fmla="*/ 128586 w 902493"/>
              <a:gd name="connsiteY1" fmla="*/ 657225 h 657225"/>
              <a:gd name="connsiteX2" fmla="*/ 469105 w 902493"/>
              <a:gd name="connsiteY2" fmla="*/ 554831 h 657225"/>
              <a:gd name="connsiteX3" fmla="*/ 847724 w 902493"/>
              <a:gd name="connsiteY3" fmla="*/ 426244 h 657225"/>
              <a:gd name="connsiteX4" fmla="*/ 866774 w 902493"/>
              <a:gd name="connsiteY4" fmla="*/ 354806 h 657225"/>
              <a:gd name="connsiteX5" fmla="*/ 902493 w 902493"/>
              <a:gd name="connsiteY5" fmla="*/ 321469 h 657225"/>
              <a:gd name="connsiteX6" fmla="*/ 892968 w 902493"/>
              <a:gd name="connsiteY6" fmla="*/ 273844 h 657225"/>
              <a:gd name="connsiteX7" fmla="*/ 826293 w 902493"/>
              <a:gd name="connsiteY7" fmla="*/ 257175 h 657225"/>
              <a:gd name="connsiteX8" fmla="*/ 826293 w 902493"/>
              <a:gd name="connsiteY8" fmla="*/ 223837 h 657225"/>
              <a:gd name="connsiteX9" fmla="*/ 812005 w 902493"/>
              <a:gd name="connsiteY9" fmla="*/ 188119 h 657225"/>
              <a:gd name="connsiteX10" fmla="*/ 823912 w 902493"/>
              <a:gd name="connsiteY10" fmla="*/ 80962 h 657225"/>
              <a:gd name="connsiteX11" fmla="*/ 788193 w 902493"/>
              <a:gd name="connsiteY11" fmla="*/ 40481 h 657225"/>
              <a:gd name="connsiteX12" fmla="*/ 740568 w 902493"/>
              <a:gd name="connsiteY12" fmla="*/ 9525 h 657225"/>
              <a:gd name="connsiteX13" fmla="*/ 709612 w 902493"/>
              <a:gd name="connsiteY13" fmla="*/ 0 h 657225"/>
              <a:gd name="connsiteX14" fmla="*/ 404812 w 902493"/>
              <a:gd name="connsiteY14" fmla="*/ 95250 h 657225"/>
              <a:gd name="connsiteX15" fmla="*/ 71436 w 902493"/>
              <a:gd name="connsiteY15" fmla="*/ 188118 h 657225"/>
              <a:gd name="connsiteX16" fmla="*/ 47624 w 902493"/>
              <a:gd name="connsiteY16" fmla="*/ 195262 h 657225"/>
              <a:gd name="connsiteX17" fmla="*/ 0 w 902493"/>
              <a:gd name="connsiteY17" fmla="*/ 245268 h 657225"/>
              <a:gd name="connsiteX0" fmla="*/ 0 w 902493"/>
              <a:gd name="connsiteY0" fmla="*/ 245268 h 657225"/>
              <a:gd name="connsiteX1" fmla="*/ 128586 w 902493"/>
              <a:gd name="connsiteY1" fmla="*/ 657225 h 657225"/>
              <a:gd name="connsiteX2" fmla="*/ 469105 w 902493"/>
              <a:gd name="connsiteY2" fmla="*/ 554831 h 657225"/>
              <a:gd name="connsiteX3" fmla="*/ 847724 w 902493"/>
              <a:gd name="connsiteY3" fmla="*/ 426244 h 657225"/>
              <a:gd name="connsiteX4" fmla="*/ 873918 w 902493"/>
              <a:gd name="connsiteY4" fmla="*/ 366712 h 657225"/>
              <a:gd name="connsiteX5" fmla="*/ 902493 w 902493"/>
              <a:gd name="connsiteY5" fmla="*/ 321469 h 657225"/>
              <a:gd name="connsiteX6" fmla="*/ 892968 w 902493"/>
              <a:gd name="connsiteY6" fmla="*/ 273844 h 657225"/>
              <a:gd name="connsiteX7" fmla="*/ 826293 w 902493"/>
              <a:gd name="connsiteY7" fmla="*/ 257175 h 657225"/>
              <a:gd name="connsiteX8" fmla="*/ 826293 w 902493"/>
              <a:gd name="connsiteY8" fmla="*/ 223837 h 657225"/>
              <a:gd name="connsiteX9" fmla="*/ 812005 w 902493"/>
              <a:gd name="connsiteY9" fmla="*/ 188119 h 657225"/>
              <a:gd name="connsiteX10" fmla="*/ 823912 w 902493"/>
              <a:gd name="connsiteY10" fmla="*/ 80962 h 657225"/>
              <a:gd name="connsiteX11" fmla="*/ 788193 w 902493"/>
              <a:gd name="connsiteY11" fmla="*/ 40481 h 657225"/>
              <a:gd name="connsiteX12" fmla="*/ 740568 w 902493"/>
              <a:gd name="connsiteY12" fmla="*/ 9525 h 657225"/>
              <a:gd name="connsiteX13" fmla="*/ 709612 w 902493"/>
              <a:gd name="connsiteY13" fmla="*/ 0 h 657225"/>
              <a:gd name="connsiteX14" fmla="*/ 404812 w 902493"/>
              <a:gd name="connsiteY14" fmla="*/ 95250 h 657225"/>
              <a:gd name="connsiteX15" fmla="*/ 71436 w 902493"/>
              <a:gd name="connsiteY15" fmla="*/ 188118 h 657225"/>
              <a:gd name="connsiteX16" fmla="*/ 47624 w 902493"/>
              <a:gd name="connsiteY16" fmla="*/ 195262 h 657225"/>
              <a:gd name="connsiteX17" fmla="*/ 0 w 902493"/>
              <a:gd name="connsiteY17" fmla="*/ 245268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02493" h="657225">
                <a:moveTo>
                  <a:pt x="0" y="245268"/>
                </a:moveTo>
                <a:lnTo>
                  <a:pt x="128586" y="657225"/>
                </a:lnTo>
                <a:lnTo>
                  <a:pt x="469105" y="554831"/>
                </a:lnTo>
                <a:lnTo>
                  <a:pt x="847724" y="426244"/>
                </a:lnTo>
                <a:lnTo>
                  <a:pt x="873918" y="366712"/>
                </a:lnTo>
                <a:lnTo>
                  <a:pt x="902493" y="321469"/>
                </a:lnTo>
                <a:lnTo>
                  <a:pt x="892968" y="273844"/>
                </a:lnTo>
                <a:lnTo>
                  <a:pt x="826293" y="257175"/>
                </a:lnTo>
                <a:lnTo>
                  <a:pt x="826293" y="223837"/>
                </a:lnTo>
                <a:lnTo>
                  <a:pt x="812005" y="188119"/>
                </a:lnTo>
                <a:lnTo>
                  <a:pt x="823912" y="80962"/>
                </a:lnTo>
                <a:lnTo>
                  <a:pt x="788193" y="40481"/>
                </a:lnTo>
                <a:lnTo>
                  <a:pt x="740568" y="9525"/>
                </a:lnTo>
                <a:lnTo>
                  <a:pt x="709612" y="0"/>
                </a:lnTo>
                <a:lnTo>
                  <a:pt x="404812" y="95250"/>
                </a:lnTo>
                <a:lnTo>
                  <a:pt x="71436" y="188118"/>
                </a:lnTo>
                <a:lnTo>
                  <a:pt x="47624" y="195262"/>
                </a:lnTo>
                <a:lnTo>
                  <a:pt x="0" y="245268"/>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grpSp>
        <p:nvGrpSpPr>
          <p:cNvPr id="48" name="Group 47"/>
          <p:cNvGrpSpPr/>
          <p:nvPr/>
        </p:nvGrpSpPr>
        <p:grpSpPr>
          <a:xfrm>
            <a:off x="4610114" y="1947978"/>
            <a:ext cx="964183" cy="1108440"/>
            <a:chOff x="4393406" y="1081031"/>
            <a:chExt cx="997744" cy="1143057"/>
          </a:xfrm>
          <a:solidFill>
            <a:schemeClr val="bg1">
              <a:lumMod val="75000"/>
            </a:schemeClr>
          </a:solidFill>
        </p:grpSpPr>
        <p:sp>
          <p:nvSpPr>
            <p:cNvPr id="87" name="Freeform 86"/>
            <p:cNvSpPr/>
            <p:nvPr/>
          </p:nvSpPr>
          <p:spPr>
            <a:xfrm>
              <a:off x="4393406" y="1166813"/>
              <a:ext cx="997744" cy="1057275"/>
            </a:xfrm>
            <a:custGeom>
              <a:avLst/>
              <a:gdLst>
                <a:gd name="connsiteX0" fmla="*/ 0 w 997744"/>
                <a:gd name="connsiteY0" fmla="*/ 11906 h 1057275"/>
                <a:gd name="connsiteX1" fmla="*/ 26194 w 997744"/>
                <a:gd name="connsiteY1" fmla="*/ 83343 h 1057275"/>
                <a:gd name="connsiteX2" fmla="*/ 26194 w 997744"/>
                <a:gd name="connsiteY2" fmla="*/ 200025 h 1057275"/>
                <a:gd name="connsiteX3" fmla="*/ 54769 w 997744"/>
                <a:gd name="connsiteY3" fmla="*/ 230981 h 1057275"/>
                <a:gd name="connsiteX4" fmla="*/ 92869 w 997744"/>
                <a:gd name="connsiteY4" fmla="*/ 316706 h 1057275"/>
                <a:gd name="connsiteX5" fmla="*/ 92869 w 997744"/>
                <a:gd name="connsiteY5" fmla="*/ 426243 h 1057275"/>
                <a:gd name="connsiteX6" fmla="*/ 126207 w 997744"/>
                <a:gd name="connsiteY6" fmla="*/ 538162 h 1057275"/>
                <a:gd name="connsiteX7" fmla="*/ 116682 w 997744"/>
                <a:gd name="connsiteY7" fmla="*/ 590550 h 1057275"/>
                <a:gd name="connsiteX8" fmla="*/ 126207 w 997744"/>
                <a:gd name="connsiteY8" fmla="*/ 602456 h 1057275"/>
                <a:gd name="connsiteX9" fmla="*/ 114300 w 997744"/>
                <a:gd name="connsiteY9" fmla="*/ 678656 h 1057275"/>
                <a:gd name="connsiteX10" fmla="*/ 161925 w 997744"/>
                <a:gd name="connsiteY10" fmla="*/ 709612 h 1057275"/>
                <a:gd name="connsiteX11" fmla="*/ 178594 w 997744"/>
                <a:gd name="connsiteY11" fmla="*/ 1057275 h 1057275"/>
                <a:gd name="connsiteX12" fmla="*/ 547688 w 997744"/>
                <a:gd name="connsiteY12" fmla="*/ 1026318 h 1057275"/>
                <a:gd name="connsiteX13" fmla="*/ 916782 w 997744"/>
                <a:gd name="connsiteY13" fmla="*/ 962025 h 1057275"/>
                <a:gd name="connsiteX14" fmla="*/ 890588 w 997744"/>
                <a:gd name="connsiteY14" fmla="*/ 897731 h 1057275"/>
                <a:gd name="connsiteX15" fmla="*/ 869157 w 997744"/>
                <a:gd name="connsiteY15" fmla="*/ 907256 h 1057275"/>
                <a:gd name="connsiteX16" fmla="*/ 838200 w 997744"/>
                <a:gd name="connsiteY16" fmla="*/ 871537 h 1057275"/>
                <a:gd name="connsiteX17" fmla="*/ 804863 w 997744"/>
                <a:gd name="connsiteY17" fmla="*/ 871537 h 1057275"/>
                <a:gd name="connsiteX18" fmla="*/ 766763 w 997744"/>
                <a:gd name="connsiteY18" fmla="*/ 814387 h 1057275"/>
                <a:gd name="connsiteX19" fmla="*/ 709613 w 997744"/>
                <a:gd name="connsiteY19" fmla="*/ 792956 h 1057275"/>
                <a:gd name="connsiteX20" fmla="*/ 673894 w 997744"/>
                <a:gd name="connsiteY20" fmla="*/ 783431 h 1057275"/>
                <a:gd name="connsiteX21" fmla="*/ 673894 w 997744"/>
                <a:gd name="connsiteY21" fmla="*/ 783431 h 1057275"/>
                <a:gd name="connsiteX22" fmla="*/ 645319 w 997744"/>
                <a:gd name="connsiteY22" fmla="*/ 716756 h 1057275"/>
                <a:gd name="connsiteX23" fmla="*/ 666750 w 997744"/>
                <a:gd name="connsiteY23" fmla="*/ 669131 h 1057275"/>
                <a:gd name="connsiteX24" fmla="*/ 623888 w 997744"/>
                <a:gd name="connsiteY24" fmla="*/ 588168 h 1057275"/>
                <a:gd name="connsiteX25" fmla="*/ 683419 w 997744"/>
                <a:gd name="connsiteY25" fmla="*/ 519112 h 1057275"/>
                <a:gd name="connsiteX26" fmla="*/ 681038 w 997744"/>
                <a:gd name="connsiteY26" fmla="*/ 435768 h 1057275"/>
                <a:gd name="connsiteX27" fmla="*/ 704850 w 997744"/>
                <a:gd name="connsiteY27" fmla="*/ 371475 h 1057275"/>
                <a:gd name="connsiteX28" fmla="*/ 731044 w 997744"/>
                <a:gd name="connsiteY28" fmla="*/ 345281 h 1057275"/>
                <a:gd name="connsiteX29" fmla="*/ 788194 w 997744"/>
                <a:gd name="connsiteY29" fmla="*/ 292893 h 1057275"/>
                <a:gd name="connsiteX30" fmla="*/ 819150 w 997744"/>
                <a:gd name="connsiteY30" fmla="*/ 238125 h 1057275"/>
                <a:gd name="connsiteX31" fmla="*/ 912019 w 997744"/>
                <a:gd name="connsiteY31" fmla="*/ 171450 h 1057275"/>
                <a:gd name="connsiteX32" fmla="*/ 997744 w 997744"/>
                <a:gd name="connsiteY32" fmla="*/ 107156 h 1057275"/>
                <a:gd name="connsiteX33" fmla="*/ 945357 w 997744"/>
                <a:gd name="connsiteY33" fmla="*/ 97631 h 1057275"/>
                <a:gd name="connsiteX34" fmla="*/ 869157 w 997744"/>
                <a:gd name="connsiteY34" fmla="*/ 107156 h 1057275"/>
                <a:gd name="connsiteX35" fmla="*/ 823913 w 997744"/>
                <a:gd name="connsiteY35" fmla="*/ 104775 h 1057275"/>
                <a:gd name="connsiteX36" fmla="*/ 807244 w 997744"/>
                <a:gd name="connsiteY36" fmla="*/ 92868 h 1057275"/>
                <a:gd name="connsiteX37" fmla="*/ 766763 w 997744"/>
                <a:gd name="connsiteY37" fmla="*/ 111918 h 1057275"/>
                <a:gd name="connsiteX38" fmla="*/ 738188 w 997744"/>
                <a:gd name="connsiteY38" fmla="*/ 104775 h 1057275"/>
                <a:gd name="connsiteX39" fmla="*/ 700088 w 997744"/>
                <a:gd name="connsiteY39" fmla="*/ 88106 h 1057275"/>
                <a:gd name="connsiteX40" fmla="*/ 676275 w 997744"/>
                <a:gd name="connsiteY40" fmla="*/ 71437 h 1057275"/>
                <a:gd name="connsiteX41" fmla="*/ 638175 w 997744"/>
                <a:gd name="connsiteY41" fmla="*/ 78581 h 1057275"/>
                <a:gd name="connsiteX42" fmla="*/ 588169 w 997744"/>
                <a:gd name="connsiteY42" fmla="*/ 50006 h 1057275"/>
                <a:gd name="connsiteX43" fmla="*/ 561975 w 997744"/>
                <a:gd name="connsiteY43" fmla="*/ 52387 h 1057275"/>
                <a:gd name="connsiteX44" fmla="*/ 504825 w 997744"/>
                <a:gd name="connsiteY44" fmla="*/ 57150 h 1057275"/>
                <a:gd name="connsiteX45" fmla="*/ 459582 w 997744"/>
                <a:gd name="connsiteY45" fmla="*/ 57150 h 1057275"/>
                <a:gd name="connsiteX46" fmla="*/ 438150 w 997744"/>
                <a:gd name="connsiteY46" fmla="*/ 42862 h 1057275"/>
                <a:gd name="connsiteX47" fmla="*/ 381000 w 997744"/>
                <a:gd name="connsiteY47" fmla="*/ 33337 h 1057275"/>
                <a:gd name="connsiteX48" fmla="*/ 328613 w 997744"/>
                <a:gd name="connsiteY48" fmla="*/ 16668 h 1057275"/>
                <a:gd name="connsiteX49" fmla="*/ 295275 w 997744"/>
                <a:gd name="connsiteY49" fmla="*/ 16668 h 1057275"/>
                <a:gd name="connsiteX50" fmla="*/ 264319 w 997744"/>
                <a:gd name="connsiteY50" fmla="*/ 16668 h 1057275"/>
                <a:gd name="connsiteX51" fmla="*/ 238125 w 997744"/>
                <a:gd name="connsiteY51" fmla="*/ 9525 h 1057275"/>
                <a:gd name="connsiteX52" fmla="*/ 230982 w 997744"/>
                <a:gd name="connsiteY52" fmla="*/ 0 h 1057275"/>
                <a:gd name="connsiteX53" fmla="*/ 147638 w 997744"/>
                <a:gd name="connsiteY53" fmla="*/ 9525 h 1057275"/>
                <a:gd name="connsiteX54" fmla="*/ 83344 w 997744"/>
                <a:gd name="connsiteY54" fmla="*/ 7143 h 1057275"/>
                <a:gd name="connsiteX55" fmla="*/ 0 w 997744"/>
                <a:gd name="connsiteY55" fmla="*/ 11906 h 105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Lst>
              <a:rect l="l" t="t" r="r" b="b"/>
              <a:pathLst>
                <a:path w="997744" h="1057275">
                  <a:moveTo>
                    <a:pt x="0" y="11906"/>
                  </a:moveTo>
                  <a:lnTo>
                    <a:pt x="26194" y="83343"/>
                  </a:lnTo>
                  <a:lnTo>
                    <a:pt x="26194" y="200025"/>
                  </a:lnTo>
                  <a:lnTo>
                    <a:pt x="54769" y="230981"/>
                  </a:lnTo>
                  <a:lnTo>
                    <a:pt x="92869" y="316706"/>
                  </a:lnTo>
                  <a:lnTo>
                    <a:pt x="92869" y="426243"/>
                  </a:lnTo>
                  <a:lnTo>
                    <a:pt x="126207" y="538162"/>
                  </a:lnTo>
                  <a:lnTo>
                    <a:pt x="116682" y="590550"/>
                  </a:lnTo>
                  <a:lnTo>
                    <a:pt x="126207" y="602456"/>
                  </a:lnTo>
                  <a:lnTo>
                    <a:pt x="114300" y="678656"/>
                  </a:lnTo>
                  <a:lnTo>
                    <a:pt x="161925" y="709612"/>
                  </a:lnTo>
                  <a:lnTo>
                    <a:pt x="178594" y="1057275"/>
                  </a:lnTo>
                  <a:lnTo>
                    <a:pt x="547688" y="1026318"/>
                  </a:lnTo>
                  <a:lnTo>
                    <a:pt x="916782" y="962025"/>
                  </a:lnTo>
                  <a:lnTo>
                    <a:pt x="890588" y="897731"/>
                  </a:lnTo>
                  <a:lnTo>
                    <a:pt x="869157" y="907256"/>
                  </a:lnTo>
                  <a:lnTo>
                    <a:pt x="838200" y="871537"/>
                  </a:lnTo>
                  <a:lnTo>
                    <a:pt x="804863" y="871537"/>
                  </a:lnTo>
                  <a:lnTo>
                    <a:pt x="766763" y="814387"/>
                  </a:lnTo>
                  <a:lnTo>
                    <a:pt x="709613" y="792956"/>
                  </a:lnTo>
                  <a:lnTo>
                    <a:pt x="673894" y="783431"/>
                  </a:lnTo>
                  <a:lnTo>
                    <a:pt x="673894" y="783431"/>
                  </a:lnTo>
                  <a:lnTo>
                    <a:pt x="645319" y="716756"/>
                  </a:lnTo>
                  <a:lnTo>
                    <a:pt x="666750" y="669131"/>
                  </a:lnTo>
                  <a:lnTo>
                    <a:pt x="623888" y="588168"/>
                  </a:lnTo>
                  <a:lnTo>
                    <a:pt x="683419" y="519112"/>
                  </a:lnTo>
                  <a:cubicBezTo>
                    <a:pt x="682625" y="491331"/>
                    <a:pt x="681832" y="463549"/>
                    <a:pt x="681038" y="435768"/>
                  </a:cubicBezTo>
                  <a:lnTo>
                    <a:pt x="704850" y="371475"/>
                  </a:lnTo>
                  <a:lnTo>
                    <a:pt x="731044" y="345281"/>
                  </a:lnTo>
                  <a:lnTo>
                    <a:pt x="788194" y="292893"/>
                  </a:lnTo>
                  <a:lnTo>
                    <a:pt x="819150" y="238125"/>
                  </a:lnTo>
                  <a:lnTo>
                    <a:pt x="912019" y="171450"/>
                  </a:lnTo>
                  <a:lnTo>
                    <a:pt x="997744" y="107156"/>
                  </a:lnTo>
                  <a:lnTo>
                    <a:pt x="945357" y="97631"/>
                  </a:lnTo>
                  <a:lnTo>
                    <a:pt x="869157" y="107156"/>
                  </a:lnTo>
                  <a:lnTo>
                    <a:pt x="823913" y="104775"/>
                  </a:lnTo>
                  <a:lnTo>
                    <a:pt x="807244" y="92868"/>
                  </a:lnTo>
                  <a:lnTo>
                    <a:pt x="766763" y="111918"/>
                  </a:lnTo>
                  <a:lnTo>
                    <a:pt x="738188" y="104775"/>
                  </a:lnTo>
                  <a:lnTo>
                    <a:pt x="700088" y="88106"/>
                  </a:lnTo>
                  <a:lnTo>
                    <a:pt x="676275" y="71437"/>
                  </a:lnTo>
                  <a:lnTo>
                    <a:pt x="638175" y="78581"/>
                  </a:lnTo>
                  <a:lnTo>
                    <a:pt x="588169" y="50006"/>
                  </a:lnTo>
                  <a:lnTo>
                    <a:pt x="561975" y="52387"/>
                  </a:lnTo>
                  <a:lnTo>
                    <a:pt x="504825" y="57150"/>
                  </a:lnTo>
                  <a:lnTo>
                    <a:pt x="459582" y="57150"/>
                  </a:lnTo>
                  <a:lnTo>
                    <a:pt x="438150" y="42862"/>
                  </a:lnTo>
                  <a:lnTo>
                    <a:pt x="381000" y="33337"/>
                  </a:lnTo>
                  <a:lnTo>
                    <a:pt x="328613" y="16668"/>
                  </a:lnTo>
                  <a:lnTo>
                    <a:pt x="295275" y="16668"/>
                  </a:lnTo>
                  <a:lnTo>
                    <a:pt x="264319" y="16668"/>
                  </a:lnTo>
                  <a:lnTo>
                    <a:pt x="238125" y="9525"/>
                  </a:lnTo>
                  <a:lnTo>
                    <a:pt x="230982" y="0"/>
                  </a:lnTo>
                  <a:lnTo>
                    <a:pt x="147638" y="9525"/>
                  </a:lnTo>
                  <a:lnTo>
                    <a:pt x="83344" y="7143"/>
                  </a:lnTo>
                  <a:lnTo>
                    <a:pt x="0" y="11906"/>
                  </a:lnTo>
                  <a:close/>
                </a:path>
              </a:pathLst>
            </a:custGeom>
            <a:grp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88" name="Freeform 87"/>
            <p:cNvSpPr/>
            <p:nvPr/>
          </p:nvSpPr>
          <p:spPr>
            <a:xfrm>
              <a:off x="4638510" y="1081031"/>
              <a:ext cx="35928" cy="59741"/>
            </a:xfrm>
            <a:custGeom>
              <a:avLst/>
              <a:gdLst>
                <a:gd name="connsiteX0" fmla="*/ 28575 w 28575"/>
                <a:gd name="connsiteY0" fmla="*/ 0 h 42863"/>
                <a:gd name="connsiteX1" fmla="*/ 0 w 28575"/>
                <a:gd name="connsiteY1" fmla="*/ 42863 h 42863"/>
                <a:gd name="connsiteX2" fmla="*/ 28575 w 28575"/>
                <a:gd name="connsiteY2" fmla="*/ 0 h 42863"/>
                <a:gd name="connsiteX0" fmla="*/ 35885 w 35928"/>
                <a:gd name="connsiteY0" fmla="*/ 2617 h 45483"/>
                <a:gd name="connsiteX1" fmla="*/ 7310 w 35928"/>
                <a:gd name="connsiteY1" fmla="*/ 45480 h 45483"/>
                <a:gd name="connsiteX2" fmla="*/ 166 w 35928"/>
                <a:gd name="connsiteY2" fmla="*/ 4999 h 45483"/>
                <a:gd name="connsiteX3" fmla="*/ 35885 w 35928"/>
                <a:gd name="connsiteY3" fmla="*/ 2617 h 45483"/>
                <a:gd name="connsiteX0" fmla="*/ 35885 w 35928"/>
                <a:gd name="connsiteY0" fmla="*/ 16725 h 59741"/>
                <a:gd name="connsiteX1" fmla="*/ 7310 w 35928"/>
                <a:gd name="connsiteY1" fmla="*/ 59588 h 59741"/>
                <a:gd name="connsiteX2" fmla="*/ 166 w 35928"/>
                <a:gd name="connsiteY2" fmla="*/ 57 h 59741"/>
                <a:gd name="connsiteX3" fmla="*/ 35885 w 35928"/>
                <a:gd name="connsiteY3" fmla="*/ 16725 h 59741"/>
              </a:gdLst>
              <a:ahLst/>
              <a:cxnLst>
                <a:cxn ang="0">
                  <a:pos x="connsiteX0" y="connsiteY0"/>
                </a:cxn>
                <a:cxn ang="0">
                  <a:pos x="connsiteX1" y="connsiteY1"/>
                </a:cxn>
                <a:cxn ang="0">
                  <a:pos x="connsiteX2" y="connsiteY2"/>
                </a:cxn>
                <a:cxn ang="0">
                  <a:pos x="connsiteX3" y="connsiteY3"/>
                </a:cxn>
              </a:cxnLst>
              <a:rect l="l" t="t" r="r" b="b"/>
              <a:pathLst>
                <a:path w="35928" h="59741">
                  <a:moveTo>
                    <a:pt x="35885" y="16725"/>
                  </a:moveTo>
                  <a:cubicBezTo>
                    <a:pt x="37076" y="26647"/>
                    <a:pt x="13263" y="62366"/>
                    <a:pt x="7310" y="59588"/>
                  </a:cubicBezTo>
                  <a:cubicBezTo>
                    <a:pt x="1357" y="56810"/>
                    <a:pt x="-628" y="4820"/>
                    <a:pt x="166" y="57"/>
                  </a:cubicBezTo>
                  <a:cubicBezTo>
                    <a:pt x="12072" y="-737"/>
                    <a:pt x="34694" y="6803"/>
                    <a:pt x="35885" y="16725"/>
                  </a:cubicBezTo>
                  <a:close/>
                </a:path>
              </a:pathLst>
            </a:custGeom>
            <a:grp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grpSp>
      <p:grpSp>
        <p:nvGrpSpPr>
          <p:cNvPr id="49" name="Group 48"/>
          <p:cNvGrpSpPr/>
          <p:nvPr/>
        </p:nvGrpSpPr>
        <p:grpSpPr>
          <a:xfrm>
            <a:off x="5539781" y="2190493"/>
            <a:ext cx="1136771" cy="981381"/>
            <a:chOff x="5355431" y="1331119"/>
            <a:chExt cx="1176338" cy="1012031"/>
          </a:xfrm>
          <a:solidFill>
            <a:schemeClr val="bg1">
              <a:lumMod val="75000"/>
            </a:schemeClr>
          </a:solidFill>
        </p:grpSpPr>
        <p:sp>
          <p:nvSpPr>
            <p:cNvPr id="85" name="Freeform 84"/>
            <p:cNvSpPr/>
            <p:nvPr/>
          </p:nvSpPr>
          <p:spPr>
            <a:xfrm>
              <a:off x="5355431" y="1331119"/>
              <a:ext cx="833438" cy="397669"/>
            </a:xfrm>
            <a:custGeom>
              <a:avLst/>
              <a:gdLst>
                <a:gd name="connsiteX0" fmla="*/ 0 w 833438"/>
                <a:gd name="connsiteY0" fmla="*/ 223837 h 397669"/>
                <a:gd name="connsiteX1" fmla="*/ 90488 w 833438"/>
                <a:gd name="connsiteY1" fmla="*/ 276225 h 397669"/>
                <a:gd name="connsiteX2" fmla="*/ 154782 w 833438"/>
                <a:gd name="connsiteY2" fmla="*/ 271462 h 397669"/>
                <a:gd name="connsiteX3" fmla="*/ 290513 w 833438"/>
                <a:gd name="connsiteY3" fmla="*/ 292894 h 397669"/>
                <a:gd name="connsiteX4" fmla="*/ 309563 w 833438"/>
                <a:gd name="connsiteY4" fmla="*/ 288131 h 397669"/>
                <a:gd name="connsiteX5" fmla="*/ 335757 w 833438"/>
                <a:gd name="connsiteY5" fmla="*/ 328612 h 397669"/>
                <a:gd name="connsiteX6" fmla="*/ 369094 w 833438"/>
                <a:gd name="connsiteY6" fmla="*/ 321469 h 397669"/>
                <a:gd name="connsiteX7" fmla="*/ 352425 w 833438"/>
                <a:gd name="connsiteY7" fmla="*/ 354806 h 397669"/>
                <a:gd name="connsiteX8" fmla="*/ 381000 w 833438"/>
                <a:gd name="connsiteY8" fmla="*/ 397669 h 397669"/>
                <a:gd name="connsiteX9" fmla="*/ 402432 w 833438"/>
                <a:gd name="connsiteY9" fmla="*/ 376237 h 397669"/>
                <a:gd name="connsiteX10" fmla="*/ 423863 w 833438"/>
                <a:gd name="connsiteY10" fmla="*/ 342900 h 397669"/>
                <a:gd name="connsiteX11" fmla="*/ 447675 w 833438"/>
                <a:gd name="connsiteY11" fmla="*/ 304800 h 397669"/>
                <a:gd name="connsiteX12" fmla="*/ 452438 w 833438"/>
                <a:gd name="connsiteY12" fmla="*/ 273844 h 397669"/>
                <a:gd name="connsiteX13" fmla="*/ 452438 w 833438"/>
                <a:gd name="connsiteY13" fmla="*/ 273844 h 397669"/>
                <a:gd name="connsiteX14" fmla="*/ 469107 w 833438"/>
                <a:gd name="connsiteY14" fmla="*/ 278606 h 397669"/>
                <a:gd name="connsiteX15" fmla="*/ 471488 w 833438"/>
                <a:gd name="connsiteY15" fmla="*/ 290512 h 397669"/>
                <a:gd name="connsiteX16" fmla="*/ 476250 w 833438"/>
                <a:gd name="connsiteY16" fmla="*/ 297656 h 397669"/>
                <a:gd name="connsiteX17" fmla="*/ 490538 w 833438"/>
                <a:gd name="connsiteY17" fmla="*/ 269081 h 397669"/>
                <a:gd name="connsiteX18" fmla="*/ 514350 w 833438"/>
                <a:gd name="connsiteY18" fmla="*/ 264319 h 397669"/>
                <a:gd name="connsiteX19" fmla="*/ 507207 w 833438"/>
                <a:gd name="connsiteY19" fmla="*/ 280987 h 397669"/>
                <a:gd name="connsiteX20" fmla="*/ 502444 w 833438"/>
                <a:gd name="connsiteY20" fmla="*/ 297656 h 397669"/>
                <a:gd name="connsiteX21" fmla="*/ 514350 w 833438"/>
                <a:gd name="connsiteY21" fmla="*/ 307181 h 397669"/>
                <a:gd name="connsiteX22" fmla="*/ 547688 w 833438"/>
                <a:gd name="connsiteY22" fmla="*/ 264319 h 397669"/>
                <a:gd name="connsiteX23" fmla="*/ 554832 w 833438"/>
                <a:gd name="connsiteY23" fmla="*/ 245269 h 397669"/>
                <a:gd name="connsiteX24" fmla="*/ 566738 w 833438"/>
                <a:gd name="connsiteY24" fmla="*/ 238125 h 397669"/>
                <a:gd name="connsiteX25" fmla="*/ 592932 w 833438"/>
                <a:gd name="connsiteY25" fmla="*/ 230981 h 397669"/>
                <a:gd name="connsiteX26" fmla="*/ 626269 w 833438"/>
                <a:gd name="connsiteY26" fmla="*/ 192881 h 397669"/>
                <a:gd name="connsiteX27" fmla="*/ 671513 w 833438"/>
                <a:gd name="connsiteY27" fmla="*/ 183356 h 397669"/>
                <a:gd name="connsiteX28" fmla="*/ 716757 w 833438"/>
                <a:gd name="connsiteY28" fmla="*/ 185737 h 397669"/>
                <a:gd name="connsiteX29" fmla="*/ 738188 w 833438"/>
                <a:gd name="connsiteY29" fmla="*/ 204787 h 397669"/>
                <a:gd name="connsiteX30" fmla="*/ 762000 w 833438"/>
                <a:gd name="connsiteY30" fmla="*/ 204787 h 397669"/>
                <a:gd name="connsiteX31" fmla="*/ 762000 w 833438"/>
                <a:gd name="connsiteY31" fmla="*/ 176212 h 397669"/>
                <a:gd name="connsiteX32" fmla="*/ 781050 w 833438"/>
                <a:gd name="connsiteY32" fmla="*/ 169069 h 397669"/>
                <a:gd name="connsiteX33" fmla="*/ 823913 w 833438"/>
                <a:gd name="connsiteY33" fmla="*/ 183356 h 397669"/>
                <a:gd name="connsiteX34" fmla="*/ 833438 w 833438"/>
                <a:gd name="connsiteY34" fmla="*/ 161925 h 397669"/>
                <a:gd name="connsiteX35" fmla="*/ 828675 w 833438"/>
                <a:gd name="connsiteY35" fmla="*/ 138112 h 397669"/>
                <a:gd name="connsiteX36" fmla="*/ 807244 w 833438"/>
                <a:gd name="connsiteY36" fmla="*/ 138112 h 397669"/>
                <a:gd name="connsiteX37" fmla="*/ 802482 w 833438"/>
                <a:gd name="connsiteY37" fmla="*/ 130969 h 397669"/>
                <a:gd name="connsiteX38" fmla="*/ 795338 w 833438"/>
                <a:gd name="connsiteY38" fmla="*/ 109537 h 397669"/>
                <a:gd name="connsiteX39" fmla="*/ 764382 w 833438"/>
                <a:gd name="connsiteY39" fmla="*/ 102394 h 397669"/>
                <a:gd name="connsiteX40" fmla="*/ 745332 w 833438"/>
                <a:gd name="connsiteY40" fmla="*/ 119062 h 397669"/>
                <a:gd name="connsiteX41" fmla="*/ 723900 w 833438"/>
                <a:gd name="connsiteY41" fmla="*/ 126206 h 397669"/>
                <a:gd name="connsiteX42" fmla="*/ 695325 w 833438"/>
                <a:gd name="connsiteY42" fmla="*/ 128587 h 397669"/>
                <a:gd name="connsiteX43" fmla="*/ 666750 w 833438"/>
                <a:gd name="connsiteY43" fmla="*/ 116681 h 397669"/>
                <a:gd name="connsiteX44" fmla="*/ 681038 w 833438"/>
                <a:gd name="connsiteY44" fmla="*/ 80962 h 397669"/>
                <a:gd name="connsiteX45" fmla="*/ 683419 w 833438"/>
                <a:gd name="connsiteY45" fmla="*/ 59531 h 397669"/>
                <a:gd name="connsiteX46" fmla="*/ 671513 w 833438"/>
                <a:gd name="connsiteY46" fmla="*/ 57150 h 397669"/>
                <a:gd name="connsiteX47" fmla="*/ 647700 w 833438"/>
                <a:gd name="connsiteY47" fmla="*/ 69056 h 397669"/>
                <a:gd name="connsiteX48" fmla="*/ 628650 w 833438"/>
                <a:gd name="connsiteY48" fmla="*/ 95250 h 397669"/>
                <a:gd name="connsiteX49" fmla="*/ 581025 w 833438"/>
                <a:gd name="connsiteY49" fmla="*/ 102394 h 397669"/>
                <a:gd name="connsiteX50" fmla="*/ 533400 w 833438"/>
                <a:gd name="connsiteY50" fmla="*/ 119062 h 397669"/>
                <a:gd name="connsiteX51" fmla="*/ 502444 w 833438"/>
                <a:gd name="connsiteY51" fmla="*/ 140494 h 397669"/>
                <a:gd name="connsiteX52" fmla="*/ 492919 w 833438"/>
                <a:gd name="connsiteY52" fmla="*/ 164306 h 397669"/>
                <a:gd name="connsiteX53" fmla="*/ 478632 w 833438"/>
                <a:gd name="connsiteY53" fmla="*/ 166687 h 397669"/>
                <a:gd name="connsiteX54" fmla="*/ 442913 w 833438"/>
                <a:gd name="connsiteY54" fmla="*/ 159544 h 397669"/>
                <a:gd name="connsiteX55" fmla="*/ 388144 w 833438"/>
                <a:gd name="connsiteY55" fmla="*/ 159544 h 397669"/>
                <a:gd name="connsiteX56" fmla="*/ 350044 w 833438"/>
                <a:gd name="connsiteY56" fmla="*/ 119062 h 397669"/>
                <a:gd name="connsiteX57" fmla="*/ 326232 w 833438"/>
                <a:gd name="connsiteY57" fmla="*/ 111919 h 397669"/>
                <a:gd name="connsiteX58" fmla="*/ 288132 w 833438"/>
                <a:gd name="connsiteY58" fmla="*/ 114300 h 397669"/>
                <a:gd name="connsiteX59" fmla="*/ 259557 w 833438"/>
                <a:gd name="connsiteY59" fmla="*/ 116681 h 397669"/>
                <a:gd name="connsiteX60" fmla="*/ 250032 w 833438"/>
                <a:gd name="connsiteY60" fmla="*/ 128587 h 397669"/>
                <a:gd name="connsiteX61" fmla="*/ 238125 w 833438"/>
                <a:gd name="connsiteY61" fmla="*/ 121444 h 397669"/>
                <a:gd name="connsiteX62" fmla="*/ 235744 w 833438"/>
                <a:gd name="connsiteY62" fmla="*/ 76200 h 397669"/>
                <a:gd name="connsiteX63" fmla="*/ 252413 w 833438"/>
                <a:gd name="connsiteY63" fmla="*/ 47625 h 397669"/>
                <a:gd name="connsiteX64" fmla="*/ 285750 w 833438"/>
                <a:gd name="connsiteY64" fmla="*/ 40481 h 397669"/>
                <a:gd name="connsiteX65" fmla="*/ 280988 w 833438"/>
                <a:gd name="connsiteY65" fmla="*/ 21431 h 397669"/>
                <a:gd name="connsiteX66" fmla="*/ 304800 w 833438"/>
                <a:gd name="connsiteY66" fmla="*/ 2381 h 397669"/>
                <a:gd name="connsiteX67" fmla="*/ 273844 w 833438"/>
                <a:gd name="connsiteY67" fmla="*/ 0 h 397669"/>
                <a:gd name="connsiteX68" fmla="*/ 254794 w 833438"/>
                <a:gd name="connsiteY68" fmla="*/ 21431 h 397669"/>
                <a:gd name="connsiteX69" fmla="*/ 207169 w 833438"/>
                <a:gd name="connsiteY69" fmla="*/ 26194 h 397669"/>
                <a:gd name="connsiteX70" fmla="*/ 176213 w 833438"/>
                <a:gd name="connsiteY70" fmla="*/ 54769 h 397669"/>
                <a:gd name="connsiteX71" fmla="*/ 166688 w 833438"/>
                <a:gd name="connsiteY71" fmla="*/ 88106 h 397669"/>
                <a:gd name="connsiteX72" fmla="*/ 147638 w 833438"/>
                <a:gd name="connsiteY72" fmla="*/ 109537 h 397669"/>
                <a:gd name="connsiteX73" fmla="*/ 121444 w 833438"/>
                <a:gd name="connsiteY73" fmla="*/ 116681 h 397669"/>
                <a:gd name="connsiteX74" fmla="*/ 71438 w 833438"/>
                <a:gd name="connsiteY74" fmla="*/ 159544 h 397669"/>
                <a:gd name="connsiteX75" fmla="*/ 47625 w 833438"/>
                <a:gd name="connsiteY75" fmla="*/ 161925 h 397669"/>
                <a:gd name="connsiteX76" fmla="*/ 0 w 833438"/>
                <a:gd name="connsiteY76" fmla="*/ 223837 h 397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833438" h="397669">
                  <a:moveTo>
                    <a:pt x="0" y="223837"/>
                  </a:moveTo>
                  <a:lnTo>
                    <a:pt x="90488" y="276225"/>
                  </a:lnTo>
                  <a:lnTo>
                    <a:pt x="154782" y="271462"/>
                  </a:lnTo>
                  <a:lnTo>
                    <a:pt x="290513" y="292894"/>
                  </a:lnTo>
                  <a:lnTo>
                    <a:pt x="309563" y="288131"/>
                  </a:lnTo>
                  <a:lnTo>
                    <a:pt x="335757" y="328612"/>
                  </a:lnTo>
                  <a:lnTo>
                    <a:pt x="369094" y="321469"/>
                  </a:lnTo>
                  <a:lnTo>
                    <a:pt x="352425" y="354806"/>
                  </a:lnTo>
                  <a:lnTo>
                    <a:pt x="381000" y="397669"/>
                  </a:lnTo>
                  <a:lnTo>
                    <a:pt x="402432" y="376237"/>
                  </a:lnTo>
                  <a:lnTo>
                    <a:pt x="423863" y="342900"/>
                  </a:lnTo>
                  <a:lnTo>
                    <a:pt x="447675" y="304800"/>
                  </a:lnTo>
                  <a:lnTo>
                    <a:pt x="452438" y="273844"/>
                  </a:lnTo>
                  <a:lnTo>
                    <a:pt x="452438" y="273844"/>
                  </a:lnTo>
                  <a:lnTo>
                    <a:pt x="469107" y="278606"/>
                  </a:lnTo>
                  <a:lnTo>
                    <a:pt x="471488" y="290512"/>
                  </a:lnTo>
                  <a:lnTo>
                    <a:pt x="476250" y="297656"/>
                  </a:lnTo>
                  <a:lnTo>
                    <a:pt x="490538" y="269081"/>
                  </a:lnTo>
                  <a:lnTo>
                    <a:pt x="514350" y="264319"/>
                  </a:lnTo>
                  <a:lnTo>
                    <a:pt x="507207" y="280987"/>
                  </a:lnTo>
                  <a:lnTo>
                    <a:pt x="502444" y="297656"/>
                  </a:lnTo>
                  <a:lnTo>
                    <a:pt x="514350" y="307181"/>
                  </a:lnTo>
                  <a:lnTo>
                    <a:pt x="547688" y="264319"/>
                  </a:lnTo>
                  <a:lnTo>
                    <a:pt x="554832" y="245269"/>
                  </a:lnTo>
                  <a:lnTo>
                    <a:pt x="566738" y="238125"/>
                  </a:lnTo>
                  <a:lnTo>
                    <a:pt x="592932" y="230981"/>
                  </a:lnTo>
                  <a:lnTo>
                    <a:pt x="626269" y="192881"/>
                  </a:lnTo>
                  <a:lnTo>
                    <a:pt x="671513" y="183356"/>
                  </a:lnTo>
                  <a:lnTo>
                    <a:pt x="716757" y="185737"/>
                  </a:lnTo>
                  <a:lnTo>
                    <a:pt x="738188" y="204787"/>
                  </a:lnTo>
                  <a:lnTo>
                    <a:pt x="762000" y="204787"/>
                  </a:lnTo>
                  <a:lnTo>
                    <a:pt x="762000" y="176212"/>
                  </a:lnTo>
                  <a:lnTo>
                    <a:pt x="781050" y="169069"/>
                  </a:lnTo>
                  <a:lnTo>
                    <a:pt x="823913" y="183356"/>
                  </a:lnTo>
                  <a:lnTo>
                    <a:pt x="833438" y="161925"/>
                  </a:lnTo>
                  <a:lnTo>
                    <a:pt x="828675" y="138112"/>
                  </a:lnTo>
                  <a:lnTo>
                    <a:pt x="807244" y="138112"/>
                  </a:lnTo>
                  <a:lnTo>
                    <a:pt x="802482" y="130969"/>
                  </a:lnTo>
                  <a:lnTo>
                    <a:pt x="795338" y="109537"/>
                  </a:lnTo>
                  <a:lnTo>
                    <a:pt x="764382" y="102394"/>
                  </a:lnTo>
                  <a:lnTo>
                    <a:pt x="745332" y="119062"/>
                  </a:lnTo>
                  <a:lnTo>
                    <a:pt x="723900" y="126206"/>
                  </a:lnTo>
                  <a:lnTo>
                    <a:pt x="695325" y="128587"/>
                  </a:lnTo>
                  <a:lnTo>
                    <a:pt x="666750" y="116681"/>
                  </a:lnTo>
                  <a:lnTo>
                    <a:pt x="681038" y="80962"/>
                  </a:lnTo>
                  <a:lnTo>
                    <a:pt x="683419" y="59531"/>
                  </a:lnTo>
                  <a:lnTo>
                    <a:pt x="671513" y="57150"/>
                  </a:lnTo>
                  <a:lnTo>
                    <a:pt x="647700" y="69056"/>
                  </a:lnTo>
                  <a:lnTo>
                    <a:pt x="628650" y="95250"/>
                  </a:lnTo>
                  <a:lnTo>
                    <a:pt x="581025" y="102394"/>
                  </a:lnTo>
                  <a:lnTo>
                    <a:pt x="533400" y="119062"/>
                  </a:lnTo>
                  <a:lnTo>
                    <a:pt x="502444" y="140494"/>
                  </a:lnTo>
                  <a:lnTo>
                    <a:pt x="492919" y="164306"/>
                  </a:lnTo>
                  <a:lnTo>
                    <a:pt x="478632" y="166687"/>
                  </a:lnTo>
                  <a:lnTo>
                    <a:pt x="442913" y="159544"/>
                  </a:lnTo>
                  <a:lnTo>
                    <a:pt x="388144" y="159544"/>
                  </a:lnTo>
                  <a:lnTo>
                    <a:pt x="350044" y="119062"/>
                  </a:lnTo>
                  <a:lnTo>
                    <a:pt x="326232" y="111919"/>
                  </a:lnTo>
                  <a:lnTo>
                    <a:pt x="288132" y="114300"/>
                  </a:lnTo>
                  <a:lnTo>
                    <a:pt x="259557" y="116681"/>
                  </a:lnTo>
                  <a:lnTo>
                    <a:pt x="250032" y="128587"/>
                  </a:lnTo>
                  <a:lnTo>
                    <a:pt x="238125" y="121444"/>
                  </a:lnTo>
                  <a:lnTo>
                    <a:pt x="235744" y="76200"/>
                  </a:lnTo>
                  <a:lnTo>
                    <a:pt x="252413" y="47625"/>
                  </a:lnTo>
                  <a:lnTo>
                    <a:pt x="285750" y="40481"/>
                  </a:lnTo>
                  <a:lnTo>
                    <a:pt x="280988" y="21431"/>
                  </a:lnTo>
                  <a:lnTo>
                    <a:pt x="304800" y="2381"/>
                  </a:lnTo>
                  <a:lnTo>
                    <a:pt x="273844" y="0"/>
                  </a:lnTo>
                  <a:lnTo>
                    <a:pt x="254794" y="21431"/>
                  </a:lnTo>
                  <a:lnTo>
                    <a:pt x="207169" y="26194"/>
                  </a:lnTo>
                  <a:lnTo>
                    <a:pt x="176213" y="54769"/>
                  </a:lnTo>
                  <a:lnTo>
                    <a:pt x="166688" y="88106"/>
                  </a:lnTo>
                  <a:lnTo>
                    <a:pt x="147638" y="109537"/>
                  </a:lnTo>
                  <a:lnTo>
                    <a:pt x="121444" y="116681"/>
                  </a:lnTo>
                  <a:lnTo>
                    <a:pt x="71438" y="159544"/>
                  </a:lnTo>
                  <a:lnTo>
                    <a:pt x="47625" y="161925"/>
                  </a:lnTo>
                  <a:lnTo>
                    <a:pt x="0" y="223837"/>
                  </a:lnTo>
                  <a:close/>
                </a:path>
              </a:pathLst>
            </a:custGeom>
            <a:grp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86" name="Freeform 85"/>
            <p:cNvSpPr/>
            <p:nvPr/>
          </p:nvSpPr>
          <p:spPr>
            <a:xfrm>
              <a:off x="5938838" y="1557338"/>
              <a:ext cx="592931" cy="785812"/>
            </a:xfrm>
            <a:custGeom>
              <a:avLst/>
              <a:gdLst>
                <a:gd name="connsiteX0" fmla="*/ 78581 w 592931"/>
                <a:gd name="connsiteY0" fmla="*/ 130968 h 785812"/>
                <a:gd name="connsiteX1" fmla="*/ 30956 w 592931"/>
                <a:gd name="connsiteY1" fmla="*/ 190500 h 785812"/>
                <a:gd name="connsiteX2" fmla="*/ 21431 w 592931"/>
                <a:gd name="connsiteY2" fmla="*/ 219075 h 785812"/>
                <a:gd name="connsiteX3" fmla="*/ 9525 w 592931"/>
                <a:gd name="connsiteY3" fmla="*/ 261937 h 785812"/>
                <a:gd name="connsiteX4" fmla="*/ 16668 w 592931"/>
                <a:gd name="connsiteY4" fmla="*/ 292893 h 785812"/>
                <a:gd name="connsiteX5" fmla="*/ 0 w 592931"/>
                <a:gd name="connsiteY5" fmla="*/ 342900 h 785812"/>
                <a:gd name="connsiteX6" fmla="*/ 0 w 592931"/>
                <a:gd name="connsiteY6" fmla="*/ 359568 h 785812"/>
                <a:gd name="connsiteX7" fmla="*/ 16668 w 592931"/>
                <a:gd name="connsiteY7" fmla="*/ 390525 h 785812"/>
                <a:gd name="connsiteX8" fmla="*/ 7143 w 592931"/>
                <a:gd name="connsiteY8" fmla="*/ 431006 h 785812"/>
                <a:gd name="connsiteX9" fmla="*/ 33337 w 592931"/>
                <a:gd name="connsiteY9" fmla="*/ 459581 h 785812"/>
                <a:gd name="connsiteX10" fmla="*/ 52387 w 592931"/>
                <a:gd name="connsiteY10" fmla="*/ 488156 h 785812"/>
                <a:gd name="connsiteX11" fmla="*/ 66675 w 592931"/>
                <a:gd name="connsiteY11" fmla="*/ 521493 h 785812"/>
                <a:gd name="connsiteX12" fmla="*/ 71437 w 592931"/>
                <a:gd name="connsiteY12" fmla="*/ 561975 h 785812"/>
                <a:gd name="connsiteX13" fmla="*/ 78581 w 592931"/>
                <a:gd name="connsiteY13" fmla="*/ 628650 h 785812"/>
                <a:gd name="connsiteX14" fmla="*/ 38100 w 592931"/>
                <a:gd name="connsiteY14" fmla="*/ 785812 h 785812"/>
                <a:gd name="connsiteX15" fmla="*/ 61912 w 592931"/>
                <a:gd name="connsiteY15" fmla="*/ 785812 h 785812"/>
                <a:gd name="connsiteX16" fmla="*/ 304800 w 592931"/>
                <a:gd name="connsiteY16" fmla="*/ 731043 h 785812"/>
                <a:gd name="connsiteX17" fmla="*/ 311943 w 592931"/>
                <a:gd name="connsiteY17" fmla="*/ 752475 h 785812"/>
                <a:gd name="connsiteX18" fmla="*/ 504825 w 592931"/>
                <a:gd name="connsiteY18" fmla="*/ 697706 h 785812"/>
                <a:gd name="connsiteX19" fmla="*/ 523875 w 592931"/>
                <a:gd name="connsiteY19" fmla="*/ 673893 h 785812"/>
                <a:gd name="connsiteX20" fmla="*/ 535781 w 592931"/>
                <a:gd name="connsiteY20" fmla="*/ 635793 h 785812"/>
                <a:gd name="connsiteX21" fmla="*/ 519112 w 592931"/>
                <a:gd name="connsiteY21" fmla="*/ 611981 h 785812"/>
                <a:gd name="connsiteX22" fmla="*/ 535781 w 592931"/>
                <a:gd name="connsiteY22" fmla="*/ 583406 h 785812"/>
                <a:gd name="connsiteX23" fmla="*/ 578643 w 592931"/>
                <a:gd name="connsiteY23" fmla="*/ 540543 h 785812"/>
                <a:gd name="connsiteX24" fmla="*/ 592931 w 592931"/>
                <a:gd name="connsiteY24" fmla="*/ 495300 h 785812"/>
                <a:gd name="connsiteX25" fmla="*/ 585787 w 592931"/>
                <a:gd name="connsiteY25" fmla="*/ 423862 h 785812"/>
                <a:gd name="connsiteX26" fmla="*/ 554831 w 592931"/>
                <a:gd name="connsiteY26" fmla="*/ 357187 h 785812"/>
                <a:gd name="connsiteX27" fmla="*/ 531018 w 592931"/>
                <a:gd name="connsiteY27" fmla="*/ 292893 h 785812"/>
                <a:gd name="connsiteX28" fmla="*/ 500062 w 592931"/>
                <a:gd name="connsiteY28" fmla="*/ 271462 h 785812"/>
                <a:gd name="connsiteX29" fmla="*/ 452437 w 592931"/>
                <a:gd name="connsiteY29" fmla="*/ 271462 h 785812"/>
                <a:gd name="connsiteX30" fmla="*/ 416718 w 592931"/>
                <a:gd name="connsiteY30" fmla="*/ 330993 h 785812"/>
                <a:gd name="connsiteX31" fmla="*/ 404812 w 592931"/>
                <a:gd name="connsiteY31" fmla="*/ 350043 h 785812"/>
                <a:gd name="connsiteX32" fmla="*/ 404812 w 592931"/>
                <a:gd name="connsiteY32" fmla="*/ 350043 h 785812"/>
                <a:gd name="connsiteX33" fmla="*/ 364331 w 592931"/>
                <a:gd name="connsiteY33" fmla="*/ 342900 h 785812"/>
                <a:gd name="connsiteX34" fmla="*/ 366712 w 592931"/>
                <a:gd name="connsiteY34" fmla="*/ 311943 h 785812"/>
                <a:gd name="connsiteX35" fmla="*/ 376237 w 592931"/>
                <a:gd name="connsiteY35" fmla="*/ 290512 h 785812"/>
                <a:gd name="connsiteX36" fmla="*/ 388143 w 592931"/>
                <a:gd name="connsiteY36" fmla="*/ 269081 h 785812"/>
                <a:gd name="connsiteX37" fmla="*/ 395287 w 592931"/>
                <a:gd name="connsiteY37" fmla="*/ 252412 h 785812"/>
                <a:gd name="connsiteX38" fmla="*/ 411956 w 592931"/>
                <a:gd name="connsiteY38" fmla="*/ 202406 h 785812"/>
                <a:gd name="connsiteX39" fmla="*/ 400050 w 592931"/>
                <a:gd name="connsiteY39" fmla="*/ 123825 h 785812"/>
                <a:gd name="connsiteX40" fmla="*/ 371475 w 592931"/>
                <a:gd name="connsiteY40" fmla="*/ 100012 h 785812"/>
                <a:gd name="connsiteX41" fmla="*/ 373856 w 592931"/>
                <a:gd name="connsiteY41" fmla="*/ 88106 h 785812"/>
                <a:gd name="connsiteX42" fmla="*/ 381000 w 592931"/>
                <a:gd name="connsiteY42" fmla="*/ 71437 h 785812"/>
                <a:gd name="connsiteX43" fmla="*/ 376237 w 592931"/>
                <a:gd name="connsiteY43" fmla="*/ 59531 h 785812"/>
                <a:gd name="connsiteX44" fmla="*/ 340518 w 592931"/>
                <a:gd name="connsiteY44" fmla="*/ 52387 h 785812"/>
                <a:gd name="connsiteX45" fmla="*/ 321468 w 592931"/>
                <a:gd name="connsiteY45" fmla="*/ 42862 h 785812"/>
                <a:gd name="connsiteX46" fmla="*/ 311943 w 592931"/>
                <a:gd name="connsiteY46" fmla="*/ 30956 h 785812"/>
                <a:gd name="connsiteX47" fmla="*/ 283368 w 592931"/>
                <a:gd name="connsiteY47" fmla="*/ 35718 h 785812"/>
                <a:gd name="connsiteX48" fmla="*/ 261937 w 592931"/>
                <a:gd name="connsiteY48" fmla="*/ 28575 h 785812"/>
                <a:gd name="connsiteX49" fmla="*/ 238125 w 592931"/>
                <a:gd name="connsiteY49" fmla="*/ 14287 h 785812"/>
                <a:gd name="connsiteX50" fmla="*/ 211931 w 592931"/>
                <a:gd name="connsiteY50" fmla="*/ 21431 h 785812"/>
                <a:gd name="connsiteX51" fmla="*/ 197643 w 592931"/>
                <a:gd name="connsiteY51" fmla="*/ 19050 h 785812"/>
                <a:gd name="connsiteX52" fmla="*/ 169068 w 592931"/>
                <a:gd name="connsiteY52" fmla="*/ 0 h 785812"/>
                <a:gd name="connsiteX53" fmla="*/ 142875 w 592931"/>
                <a:gd name="connsiteY53" fmla="*/ 30956 h 785812"/>
                <a:gd name="connsiteX54" fmla="*/ 135731 w 592931"/>
                <a:gd name="connsiteY54" fmla="*/ 66675 h 785812"/>
                <a:gd name="connsiteX55" fmla="*/ 135731 w 592931"/>
                <a:gd name="connsiteY55" fmla="*/ 71437 h 785812"/>
                <a:gd name="connsiteX56" fmla="*/ 154781 w 592931"/>
                <a:gd name="connsiteY56" fmla="*/ 76200 h 785812"/>
                <a:gd name="connsiteX57" fmla="*/ 133350 w 592931"/>
                <a:gd name="connsiteY57" fmla="*/ 90487 h 785812"/>
                <a:gd name="connsiteX58" fmla="*/ 78581 w 592931"/>
                <a:gd name="connsiteY58" fmla="*/ 130968 h 785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592931" h="785812">
                  <a:moveTo>
                    <a:pt x="78581" y="130968"/>
                  </a:moveTo>
                  <a:lnTo>
                    <a:pt x="30956" y="190500"/>
                  </a:lnTo>
                  <a:lnTo>
                    <a:pt x="21431" y="219075"/>
                  </a:lnTo>
                  <a:lnTo>
                    <a:pt x="9525" y="261937"/>
                  </a:lnTo>
                  <a:lnTo>
                    <a:pt x="16668" y="292893"/>
                  </a:lnTo>
                  <a:lnTo>
                    <a:pt x="0" y="342900"/>
                  </a:lnTo>
                  <a:lnTo>
                    <a:pt x="0" y="359568"/>
                  </a:lnTo>
                  <a:lnTo>
                    <a:pt x="16668" y="390525"/>
                  </a:lnTo>
                  <a:lnTo>
                    <a:pt x="7143" y="431006"/>
                  </a:lnTo>
                  <a:lnTo>
                    <a:pt x="33337" y="459581"/>
                  </a:lnTo>
                  <a:lnTo>
                    <a:pt x="52387" y="488156"/>
                  </a:lnTo>
                  <a:lnTo>
                    <a:pt x="66675" y="521493"/>
                  </a:lnTo>
                  <a:lnTo>
                    <a:pt x="71437" y="561975"/>
                  </a:lnTo>
                  <a:lnTo>
                    <a:pt x="78581" y="628650"/>
                  </a:lnTo>
                  <a:lnTo>
                    <a:pt x="38100" y="785812"/>
                  </a:lnTo>
                  <a:lnTo>
                    <a:pt x="61912" y="785812"/>
                  </a:lnTo>
                  <a:lnTo>
                    <a:pt x="304800" y="731043"/>
                  </a:lnTo>
                  <a:lnTo>
                    <a:pt x="311943" y="752475"/>
                  </a:lnTo>
                  <a:lnTo>
                    <a:pt x="504825" y="697706"/>
                  </a:lnTo>
                  <a:lnTo>
                    <a:pt x="523875" y="673893"/>
                  </a:lnTo>
                  <a:lnTo>
                    <a:pt x="535781" y="635793"/>
                  </a:lnTo>
                  <a:lnTo>
                    <a:pt x="519112" y="611981"/>
                  </a:lnTo>
                  <a:lnTo>
                    <a:pt x="535781" y="583406"/>
                  </a:lnTo>
                  <a:lnTo>
                    <a:pt x="578643" y="540543"/>
                  </a:lnTo>
                  <a:lnTo>
                    <a:pt x="592931" y="495300"/>
                  </a:lnTo>
                  <a:lnTo>
                    <a:pt x="585787" y="423862"/>
                  </a:lnTo>
                  <a:lnTo>
                    <a:pt x="554831" y="357187"/>
                  </a:lnTo>
                  <a:lnTo>
                    <a:pt x="531018" y="292893"/>
                  </a:lnTo>
                  <a:lnTo>
                    <a:pt x="500062" y="271462"/>
                  </a:lnTo>
                  <a:lnTo>
                    <a:pt x="452437" y="271462"/>
                  </a:lnTo>
                  <a:lnTo>
                    <a:pt x="416718" y="330993"/>
                  </a:lnTo>
                  <a:lnTo>
                    <a:pt x="404812" y="350043"/>
                  </a:lnTo>
                  <a:lnTo>
                    <a:pt x="404812" y="350043"/>
                  </a:lnTo>
                  <a:lnTo>
                    <a:pt x="364331" y="342900"/>
                  </a:lnTo>
                  <a:lnTo>
                    <a:pt x="366712" y="311943"/>
                  </a:lnTo>
                  <a:lnTo>
                    <a:pt x="376237" y="290512"/>
                  </a:lnTo>
                  <a:lnTo>
                    <a:pt x="388143" y="269081"/>
                  </a:lnTo>
                  <a:lnTo>
                    <a:pt x="395287" y="252412"/>
                  </a:lnTo>
                  <a:lnTo>
                    <a:pt x="411956" y="202406"/>
                  </a:lnTo>
                  <a:lnTo>
                    <a:pt x="400050" y="123825"/>
                  </a:lnTo>
                  <a:lnTo>
                    <a:pt x="371475" y="100012"/>
                  </a:lnTo>
                  <a:lnTo>
                    <a:pt x="373856" y="88106"/>
                  </a:lnTo>
                  <a:lnTo>
                    <a:pt x="381000" y="71437"/>
                  </a:lnTo>
                  <a:lnTo>
                    <a:pt x="376237" y="59531"/>
                  </a:lnTo>
                  <a:lnTo>
                    <a:pt x="340518" y="52387"/>
                  </a:lnTo>
                  <a:lnTo>
                    <a:pt x="321468" y="42862"/>
                  </a:lnTo>
                  <a:lnTo>
                    <a:pt x="311943" y="30956"/>
                  </a:lnTo>
                  <a:lnTo>
                    <a:pt x="283368" y="35718"/>
                  </a:lnTo>
                  <a:lnTo>
                    <a:pt x="261937" y="28575"/>
                  </a:lnTo>
                  <a:lnTo>
                    <a:pt x="238125" y="14287"/>
                  </a:lnTo>
                  <a:lnTo>
                    <a:pt x="211931" y="21431"/>
                  </a:lnTo>
                  <a:lnTo>
                    <a:pt x="197643" y="19050"/>
                  </a:lnTo>
                  <a:lnTo>
                    <a:pt x="169068" y="0"/>
                  </a:lnTo>
                  <a:lnTo>
                    <a:pt x="142875" y="30956"/>
                  </a:lnTo>
                  <a:lnTo>
                    <a:pt x="135731" y="66675"/>
                  </a:lnTo>
                  <a:lnTo>
                    <a:pt x="135731" y="71437"/>
                  </a:lnTo>
                  <a:lnTo>
                    <a:pt x="154781" y="76200"/>
                  </a:lnTo>
                  <a:lnTo>
                    <a:pt x="133350" y="90487"/>
                  </a:lnTo>
                  <a:lnTo>
                    <a:pt x="78581" y="130968"/>
                  </a:lnTo>
                  <a:close/>
                </a:path>
              </a:pathLst>
            </a:custGeom>
            <a:grp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grpSp>
      <p:grpSp>
        <p:nvGrpSpPr>
          <p:cNvPr id="50" name="Group 49"/>
          <p:cNvGrpSpPr/>
          <p:nvPr/>
        </p:nvGrpSpPr>
        <p:grpSpPr>
          <a:xfrm>
            <a:off x="7026326" y="2084272"/>
            <a:ext cx="1152878" cy="805889"/>
            <a:chOff x="6893719" y="1221581"/>
            <a:chExt cx="1193006" cy="831057"/>
          </a:xfrm>
          <a:solidFill>
            <a:schemeClr val="bg1">
              <a:lumMod val="75000"/>
            </a:schemeClr>
          </a:solidFill>
        </p:grpSpPr>
        <p:sp>
          <p:nvSpPr>
            <p:cNvPr id="83" name="Freeform 82"/>
            <p:cNvSpPr/>
            <p:nvPr/>
          </p:nvSpPr>
          <p:spPr>
            <a:xfrm>
              <a:off x="6893719" y="1221581"/>
              <a:ext cx="978694" cy="831057"/>
            </a:xfrm>
            <a:custGeom>
              <a:avLst/>
              <a:gdLst>
                <a:gd name="connsiteX0" fmla="*/ 0 w 978694"/>
                <a:gd name="connsiteY0" fmla="*/ 831057 h 831057"/>
                <a:gd name="connsiteX1" fmla="*/ 657225 w 978694"/>
                <a:gd name="connsiteY1" fmla="*/ 647700 h 831057"/>
                <a:gd name="connsiteX2" fmla="*/ 709612 w 978694"/>
                <a:gd name="connsiteY2" fmla="*/ 673894 h 831057"/>
                <a:gd name="connsiteX3" fmla="*/ 769144 w 978694"/>
                <a:gd name="connsiteY3" fmla="*/ 733425 h 831057"/>
                <a:gd name="connsiteX4" fmla="*/ 821531 w 978694"/>
                <a:gd name="connsiteY4" fmla="*/ 733425 h 831057"/>
                <a:gd name="connsiteX5" fmla="*/ 866775 w 978694"/>
                <a:gd name="connsiteY5" fmla="*/ 747713 h 831057"/>
                <a:gd name="connsiteX6" fmla="*/ 909637 w 978694"/>
                <a:gd name="connsiteY6" fmla="*/ 745332 h 831057"/>
                <a:gd name="connsiteX7" fmla="*/ 942975 w 978694"/>
                <a:gd name="connsiteY7" fmla="*/ 757238 h 831057"/>
                <a:gd name="connsiteX8" fmla="*/ 962025 w 978694"/>
                <a:gd name="connsiteY8" fmla="*/ 747713 h 831057"/>
                <a:gd name="connsiteX9" fmla="*/ 978694 w 978694"/>
                <a:gd name="connsiteY9" fmla="*/ 690563 h 831057"/>
                <a:gd name="connsiteX10" fmla="*/ 919162 w 978694"/>
                <a:gd name="connsiteY10" fmla="*/ 581025 h 831057"/>
                <a:gd name="connsiteX11" fmla="*/ 912019 w 978694"/>
                <a:gd name="connsiteY11" fmla="*/ 507207 h 831057"/>
                <a:gd name="connsiteX12" fmla="*/ 895350 w 978694"/>
                <a:gd name="connsiteY12" fmla="*/ 471488 h 831057"/>
                <a:gd name="connsiteX13" fmla="*/ 890587 w 978694"/>
                <a:gd name="connsiteY13" fmla="*/ 383382 h 831057"/>
                <a:gd name="connsiteX14" fmla="*/ 833437 w 978694"/>
                <a:gd name="connsiteY14" fmla="*/ 204788 h 831057"/>
                <a:gd name="connsiteX15" fmla="*/ 800100 w 978694"/>
                <a:gd name="connsiteY15" fmla="*/ 176213 h 831057"/>
                <a:gd name="connsiteX16" fmla="*/ 769144 w 978694"/>
                <a:gd name="connsiteY16" fmla="*/ 85725 h 831057"/>
                <a:gd name="connsiteX17" fmla="*/ 757237 w 978694"/>
                <a:gd name="connsiteY17" fmla="*/ 50007 h 831057"/>
                <a:gd name="connsiteX18" fmla="*/ 740569 w 978694"/>
                <a:gd name="connsiteY18" fmla="*/ 0 h 831057"/>
                <a:gd name="connsiteX19" fmla="*/ 528637 w 978694"/>
                <a:gd name="connsiteY19" fmla="*/ 83344 h 831057"/>
                <a:gd name="connsiteX20" fmla="*/ 485775 w 978694"/>
                <a:gd name="connsiteY20" fmla="*/ 123825 h 831057"/>
                <a:gd name="connsiteX21" fmla="*/ 471487 w 978694"/>
                <a:gd name="connsiteY21" fmla="*/ 178594 h 831057"/>
                <a:gd name="connsiteX22" fmla="*/ 471487 w 978694"/>
                <a:gd name="connsiteY22" fmla="*/ 221457 h 831057"/>
                <a:gd name="connsiteX23" fmla="*/ 461962 w 978694"/>
                <a:gd name="connsiteY23" fmla="*/ 242888 h 831057"/>
                <a:gd name="connsiteX24" fmla="*/ 421481 w 978694"/>
                <a:gd name="connsiteY24" fmla="*/ 278607 h 831057"/>
                <a:gd name="connsiteX25" fmla="*/ 411956 w 978694"/>
                <a:gd name="connsiteY25" fmla="*/ 302419 h 831057"/>
                <a:gd name="connsiteX26" fmla="*/ 411956 w 978694"/>
                <a:gd name="connsiteY26" fmla="*/ 302419 h 831057"/>
                <a:gd name="connsiteX27" fmla="*/ 435769 w 978694"/>
                <a:gd name="connsiteY27" fmla="*/ 307182 h 831057"/>
                <a:gd name="connsiteX28" fmla="*/ 457200 w 978694"/>
                <a:gd name="connsiteY28" fmla="*/ 326232 h 831057"/>
                <a:gd name="connsiteX29" fmla="*/ 435769 w 978694"/>
                <a:gd name="connsiteY29" fmla="*/ 369094 h 831057"/>
                <a:gd name="connsiteX30" fmla="*/ 466725 w 978694"/>
                <a:gd name="connsiteY30" fmla="*/ 400050 h 831057"/>
                <a:gd name="connsiteX31" fmla="*/ 461962 w 978694"/>
                <a:gd name="connsiteY31" fmla="*/ 431007 h 831057"/>
                <a:gd name="connsiteX32" fmla="*/ 426244 w 978694"/>
                <a:gd name="connsiteY32" fmla="*/ 433388 h 831057"/>
                <a:gd name="connsiteX33" fmla="*/ 373856 w 978694"/>
                <a:gd name="connsiteY33" fmla="*/ 483394 h 831057"/>
                <a:gd name="connsiteX34" fmla="*/ 330994 w 978694"/>
                <a:gd name="connsiteY34" fmla="*/ 507207 h 831057"/>
                <a:gd name="connsiteX35" fmla="*/ 309562 w 978694"/>
                <a:gd name="connsiteY35" fmla="*/ 526257 h 831057"/>
                <a:gd name="connsiteX36" fmla="*/ 283369 w 978694"/>
                <a:gd name="connsiteY36" fmla="*/ 526257 h 831057"/>
                <a:gd name="connsiteX37" fmla="*/ 235744 w 978694"/>
                <a:gd name="connsiteY37" fmla="*/ 523875 h 831057"/>
                <a:gd name="connsiteX38" fmla="*/ 178594 w 978694"/>
                <a:gd name="connsiteY38" fmla="*/ 547688 h 831057"/>
                <a:gd name="connsiteX39" fmla="*/ 123825 w 978694"/>
                <a:gd name="connsiteY39" fmla="*/ 569119 h 831057"/>
                <a:gd name="connsiteX40" fmla="*/ 123825 w 978694"/>
                <a:gd name="connsiteY40" fmla="*/ 569119 h 831057"/>
                <a:gd name="connsiteX41" fmla="*/ 109537 w 978694"/>
                <a:gd name="connsiteY41" fmla="*/ 633413 h 831057"/>
                <a:gd name="connsiteX42" fmla="*/ 109537 w 978694"/>
                <a:gd name="connsiteY42" fmla="*/ 633413 h 831057"/>
                <a:gd name="connsiteX43" fmla="*/ 140494 w 978694"/>
                <a:gd name="connsiteY43" fmla="*/ 640557 h 831057"/>
                <a:gd name="connsiteX44" fmla="*/ 147637 w 978694"/>
                <a:gd name="connsiteY44" fmla="*/ 671513 h 831057"/>
                <a:gd name="connsiteX45" fmla="*/ 138112 w 978694"/>
                <a:gd name="connsiteY45" fmla="*/ 702469 h 831057"/>
                <a:gd name="connsiteX46" fmla="*/ 0 w 978694"/>
                <a:gd name="connsiteY46" fmla="*/ 831057 h 83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978694" h="831057">
                  <a:moveTo>
                    <a:pt x="0" y="831057"/>
                  </a:moveTo>
                  <a:lnTo>
                    <a:pt x="657225" y="647700"/>
                  </a:lnTo>
                  <a:lnTo>
                    <a:pt x="709612" y="673894"/>
                  </a:lnTo>
                  <a:lnTo>
                    <a:pt x="769144" y="733425"/>
                  </a:lnTo>
                  <a:lnTo>
                    <a:pt x="821531" y="733425"/>
                  </a:lnTo>
                  <a:lnTo>
                    <a:pt x="866775" y="747713"/>
                  </a:lnTo>
                  <a:lnTo>
                    <a:pt x="909637" y="745332"/>
                  </a:lnTo>
                  <a:lnTo>
                    <a:pt x="942975" y="757238"/>
                  </a:lnTo>
                  <a:lnTo>
                    <a:pt x="962025" y="747713"/>
                  </a:lnTo>
                  <a:lnTo>
                    <a:pt x="978694" y="690563"/>
                  </a:lnTo>
                  <a:lnTo>
                    <a:pt x="919162" y="581025"/>
                  </a:lnTo>
                  <a:lnTo>
                    <a:pt x="912019" y="507207"/>
                  </a:lnTo>
                  <a:lnTo>
                    <a:pt x="895350" y="471488"/>
                  </a:lnTo>
                  <a:lnTo>
                    <a:pt x="890587" y="383382"/>
                  </a:lnTo>
                  <a:lnTo>
                    <a:pt x="833437" y="204788"/>
                  </a:lnTo>
                  <a:lnTo>
                    <a:pt x="800100" y="176213"/>
                  </a:lnTo>
                  <a:lnTo>
                    <a:pt x="769144" y="85725"/>
                  </a:lnTo>
                  <a:lnTo>
                    <a:pt x="757237" y="50007"/>
                  </a:lnTo>
                  <a:lnTo>
                    <a:pt x="740569" y="0"/>
                  </a:lnTo>
                  <a:lnTo>
                    <a:pt x="528637" y="83344"/>
                  </a:lnTo>
                  <a:lnTo>
                    <a:pt x="485775" y="123825"/>
                  </a:lnTo>
                  <a:lnTo>
                    <a:pt x="471487" y="178594"/>
                  </a:lnTo>
                  <a:lnTo>
                    <a:pt x="471487" y="221457"/>
                  </a:lnTo>
                  <a:lnTo>
                    <a:pt x="461962" y="242888"/>
                  </a:lnTo>
                  <a:lnTo>
                    <a:pt x="421481" y="278607"/>
                  </a:lnTo>
                  <a:lnTo>
                    <a:pt x="411956" y="302419"/>
                  </a:lnTo>
                  <a:lnTo>
                    <a:pt x="411956" y="302419"/>
                  </a:lnTo>
                  <a:lnTo>
                    <a:pt x="435769" y="307182"/>
                  </a:lnTo>
                  <a:lnTo>
                    <a:pt x="457200" y="326232"/>
                  </a:lnTo>
                  <a:lnTo>
                    <a:pt x="435769" y="369094"/>
                  </a:lnTo>
                  <a:lnTo>
                    <a:pt x="466725" y="400050"/>
                  </a:lnTo>
                  <a:lnTo>
                    <a:pt x="461962" y="431007"/>
                  </a:lnTo>
                  <a:lnTo>
                    <a:pt x="426244" y="433388"/>
                  </a:lnTo>
                  <a:lnTo>
                    <a:pt x="373856" y="483394"/>
                  </a:lnTo>
                  <a:lnTo>
                    <a:pt x="330994" y="507207"/>
                  </a:lnTo>
                  <a:lnTo>
                    <a:pt x="309562" y="526257"/>
                  </a:lnTo>
                  <a:lnTo>
                    <a:pt x="283369" y="526257"/>
                  </a:lnTo>
                  <a:lnTo>
                    <a:pt x="235744" y="523875"/>
                  </a:lnTo>
                  <a:lnTo>
                    <a:pt x="178594" y="547688"/>
                  </a:lnTo>
                  <a:lnTo>
                    <a:pt x="123825" y="569119"/>
                  </a:lnTo>
                  <a:lnTo>
                    <a:pt x="123825" y="569119"/>
                  </a:lnTo>
                  <a:lnTo>
                    <a:pt x="109537" y="633413"/>
                  </a:lnTo>
                  <a:lnTo>
                    <a:pt x="109537" y="633413"/>
                  </a:lnTo>
                  <a:lnTo>
                    <a:pt x="140494" y="640557"/>
                  </a:lnTo>
                  <a:lnTo>
                    <a:pt x="147637" y="671513"/>
                  </a:lnTo>
                  <a:lnTo>
                    <a:pt x="138112" y="702469"/>
                  </a:lnTo>
                  <a:lnTo>
                    <a:pt x="0" y="831057"/>
                  </a:lnTo>
                  <a:close/>
                </a:path>
              </a:pathLst>
            </a:custGeom>
            <a:grp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84" name="Freeform 83"/>
            <p:cNvSpPr/>
            <p:nvPr/>
          </p:nvSpPr>
          <p:spPr>
            <a:xfrm>
              <a:off x="7831932" y="1854994"/>
              <a:ext cx="254793" cy="192881"/>
            </a:xfrm>
            <a:custGeom>
              <a:avLst/>
              <a:gdLst>
                <a:gd name="connsiteX0" fmla="*/ 0 w 245269"/>
                <a:gd name="connsiteY0" fmla="*/ 192881 h 192881"/>
                <a:gd name="connsiteX1" fmla="*/ 97632 w 245269"/>
                <a:gd name="connsiteY1" fmla="*/ 130969 h 192881"/>
                <a:gd name="connsiteX2" fmla="*/ 142875 w 245269"/>
                <a:gd name="connsiteY2" fmla="*/ 92869 h 192881"/>
                <a:gd name="connsiteX3" fmla="*/ 245269 w 245269"/>
                <a:gd name="connsiteY3" fmla="*/ 0 h 192881"/>
                <a:gd name="connsiteX4" fmla="*/ 226219 w 245269"/>
                <a:gd name="connsiteY4" fmla="*/ 2381 h 192881"/>
                <a:gd name="connsiteX5" fmla="*/ 197644 w 245269"/>
                <a:gd name="connsiteY5" fmla="*/ 28575 h 192881"/>
                <a:gd name="connsiteX6" fmla="*/ 166688 w 245269"/>
                <a:gd name="connsiteY6" fmla="*/ 28575 h 192881"/>
                <a:gd name="connsiteX7" fmla="*/ 150019 w 245269"/>
                <a:gd name="connsiteY7" fmla="*/ 47625 h 192881"/>
                <a:gd name="connsiteX8" fmla="*/ 126207 w 245269"/>
                <a:gd name="connsiteY8" fmla="*/ 50006 h 192881"/>
                <a:gd name="connsiteX9" fmla="*/ 83344 w 245269"/>
                <a:gd name="connsiteY9" fmla="*/ 78581 h 192881"/>
                <a:gd name="connsiteX10" fmla="*/ 54769 w 245269"/>
                <a:gd name="connsiteY10" fmla="*/ 92869 h 192881"/>
                <a:gd name="connsiteX11" fmla="*/ 30957 w 245269"/>
                <a:gd name="connsiteY11" fmla="*/ 119062 h 192881"/>
                <a:gd name="connsiteX12" fmla="*/ 0 w 245269"/>
                <a:gd name="connsiteY12" fmla="*/ 192881 h 192881"/>
                <a:gd name="connsiteX0" fmla="*/ 0 w 245269"/>
                <a:gd name="connsiteY0" fmla="*/ 192881 h 192881"/>
                <a:gd name="connsiteX1" fmla="*/ 97632 w 245269"/>
                <a:gd name="connsiteY1" fmla="*/ 130969 h 192881"/>
                <a:gd name="connsiteX2" fmla="*/ 142875 w 245269"/>
                <a:gd name="connsiteY2" fmla="*/ 92869 h 192881"/>
                <a:gd name="connsiteX3" fmla="*/ 245269 w 245269"/>
                <a:gd name="connsiteY3" fmla="*/ 0 h 192881"/>
                <a:gd name="connsiteX4" fmla="*/ 226219 w 245269"/>
                <a:gd name="connsiteY4" fmla="*/ 2381 h 192881"/>
                <a:gd name="connsiteX5" fmla="*/ 197644 w 245269"/>
                <a:gd name="connsiteY5" fmla="*/ 28575 h 192881"/>
                <a:gd name="connsiteX6" fmla="*/ 166688 w 245269"/>
                <a:gd name="connsiteY6" fmla="*/ 28575 h 192881"/>
                <a:gd name="connsiteX7" fmla="*/ 150019 w 245269"/>
                <a:gd name="connsiteY7" fmla="*/ 47625 h 192881"/>
                <a:gd name="connsiteX8" fmla="*/ 126207 w 245269"/>
                <a:gd name="connsiteY8" fmla="*/ 50006 h 192881"/>
                <a:gd name="connsiteX9" fmla="*/ 83344 w 245269"/>
                <a:gd name="connsiteY9" fmla="*/ 78581 h 192881"/>
                <a:gd name="connsiteX10" fmla="*/ 54769 w 245269"/>
                <a:gd name="connsiteY10" fmla="*/ 92869 h 192881"/>
                <a:gd name="connsiteX11" fmla="*/ 30957 w 245269"/>
                <a:gd name="connsiteY11" fmla="*/ 119062 h 192881"/>
                <a:gd name="connsiteX12" fmla="*/ 14288 w 245269"/>
                <a:gd name="connsiteY12" fmla="*/ 152400 h 192881"/>
                <a:gd name="connsiteX13" fmla="*/ 0 w 245269"/>
                <a:gd name="connsiteY13" fmla="*/ 192881 h 192881"/>
                <a:gd name="connsiteX0" fmla="*/ 9524 w 254793"/>
                <a:gd name="connsiteY0" fmla="*/ 192881 h 192881"/>
                <a:gd name="connsiteX1" fmla="*/ 107156 w 254793"/>
                <a:gd name="connsiteY1" fmla="*/ 130969 h 192881"/>
                <a:gd name="connsiteX2" fmla="*/ 152399 w 254793"/>
                <a:gd name="connsiteY2" fmla="*/ 92869 h 192881"/>
                <a:gd name="connsiteX3" fmla="*/ 254793 w 254793"/>
                <a:gd name="connsiteY3" fmla="*/ 0 h 192881"/>
                <a:gd name="connsiteX4" fmla="*/ 235743 w 254793"/>
                <a:gd name="connsiteY4" fmla="*/ 2381 h 192881"/>
                <a:gd name="connsiteX5" fmla="*/ 207168 w 254793"/>
                <a:gd name="connsiteY5" fmla="*/ 28575 h 192881"/>
                <a:gd name="connsiteX6" fmla="*/ 176212 w 254793"/>
                <a:gd name="connsiteY6" fmla="*/ 28575 h 192881"/>
                <a:gd name="connsiteX7" fmla="*/ 159543 w 254793"/>
                <a:gd name="connsiteY7" fmla="*/ 47625 h 192881"/>
                <a:gd name="connsiteX8" fmla="*/ 135731 w 254793"/>
                <a:gd name="connsiteY8" fmla="*/ 50006 h 192881"/>
                <a:gd name="connsiteX9" fmla="*/ 92868 w 254793"/>
                <a:gd name="connsiteY9" fmla="*/ 78581 h 192881"/>
                <a:gd name="connsiteX10" fmla="*/ 64293 w 254793"/>
                <a:gd name="connsiteY10" fmla="*/ 92869 h 192881"/>
                <a:gd name="connsiteX11" fmla="*/ 40481 w 254793"/>
                <a:gd name="connsiteY11" fmla="*/ 119062 h 192881"/>
                <a:gd name="connsiteX12" fmla="*/ 0 w 254793"/>
                <a:gd name="connsiteY12" fmla="*/ 159544 h 192881"/>
                <a:gd name="connsiteX13" fmla="*/ 9524 w 254793"/>
                <a:gd name="connsiteY13" fmla="*/ 192881 h 19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4793" h="192881">
                  <a:moveTo>
                    <a:pt x="9524" y="192881"/>
                  </a:moveTo>
                  <a:lnTo>
                    <a:pt x="107156" y="130969"/>
                  </a:lnTo>
                  <a:lnTo>
                    <a:pt x="152399" y="92869"/>
                  </a:lnTo>
                  <a:lnTo>
                    <a:pt x="254793" y="0"/>
                  </a:lnTo>
                  <a:lnTo>
                    <a:pt x="235743" y="2381"/>
                  </a:lnTo>
                  <a:lnTo>
                    <a:pt x="207168" y="28575"/>
                  </a:lnTo>
                  <a:lnTo>
                    <a:pt x="176212" y="28575"/>
                  </a:lnTo>
                  <a:lnTo>
                    <a:pt x="159543" y="47625"/>
                  </a:lnTo>
                  <a:lnTo>
                    <a:pt x="135731" y="50006"/>
                  </a:lnTo>
                  <a:lnTo>
                    <a:pt x="92868" y="78581"/>
                  </a:lnTo>
                  <a:lnTo>
                    <a:pt x="64293" y="92869"/>
                  </a:lnTo>
                  <a:lnTo>
                    <a:pt x="40481" y="119062"/>
                  </a:lnTo>
                  <a:lnTo>
                    <a:pt x="0" y="159544"/>
                  </a:lnTo>
                  <a:lnTo>
                    <a:pt x="9524" y="192881"/>
                  </a:lnTo>
                  <a:close/>
                </a:path>
              </a:pathLst>
            </a:custGeom>
            <a:grp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grpSp>
      <p:grpSp>
        <p:nvGrpSpPr>
          <p:cNvPr id="51" name="Group 50"/>
          <p:cNvGrpSpPr/>
          <p:nvPr/>
        </p:nvGrpSpPr>
        <p:grpSpPr>
          <a:xfrm>
            <a:off x="6775502" y="3278094"/>
            <a:ext cx="1102252" cy="741232"/>
            <a:chOff x="6634163" y="2452688"/>
            <a:chExt cx="1140619" cy="764381"/>
          </a:xfrm>
          <a:solidFill>
            <a:schemeClr val="bg1">
              <a:lumMod val="75000"/>
            </a:schemeClr>
          </a:solidFill>
        </p:grpSpPr>
        <p:sp>
          <p:nvSpPr>
            <p:cNvPr id="81" name="Freeform 80"/>
            <p:cNvSpPr/>
            <p:nvPr/>
          </p:nvSpPr>
          <p:spPr>
            <a:xfrm>
              <a:off x="6634163" y="2452688"/>
              <a:ext cx="1131093" cy="764381"/>
            </a:xfrm>
            <a:custGeom>
              <a:avLst/>
              <a:gdLst>
                <a:gd name="connsiteX0" fmla="*/ 0 w 1131093"/>
                <a:gd name="connsiteY0" fmla="*/ 764381 h 764381"/>
                <a:gd name="connsiteX1" fmla="*/ 57150 w 1131093"/>
                <a:gd name="connsiteY1" fmla="*/ 754856 h 764381"/>
                <a:gd name="connsiteX2" fmla="*/ 1131093 w 1131093"/>
                <a:gd name="connsiteY2" fmla="*/ 404812 h 764381"/>
                <a:gd name="connsiteX3" fmla="*/ 1100137 w 1131093"/>
                <a:gd name="connsiteY3" fmla="*/ 373856 h 764381"/>
                <a:gd name="connsiteX4" fmla="*/ 1078706 w 1131093"/>
                <a:gd name="connsiteY4" fmla="*/ 388143 h 764381"/>
                <a:gd name="connsiteX5" fmla="*/ 1050131 w 1131093"/>
                <a:gd name="connsiteY5" fmla="*/ 388143 h 764381"/>
                <a:gd name="connsiteX6" fmla="*/ 1023937 w 1131093"/>
                <a:gd name="connsiteY6" fmla="*/ 369093 h 764381"/>
                <a:gd name="connsiteX7" fmla="*/ 985837 w 1131093"/>
                <a:gd name="connsiteY7" fmla="*/ 371475 h 764381"/>
                <a:gd name="connsiteX8" fmla="*/ 985837 w 1131093"/>
                <a:gd name="connsiteY8" fmla="*/ 371475 h 764381"/>
                <a:gd name="connsiteX9" fmla="*/ 1012031 w 1131093"/>
                <a:gd name="connsiteY9" fmla="*/ 345281 h 764381"/>
                <a:gd name="connsiteX10" fmla="*/ 1038225 w 1131093"/>
                <a:gd name="connsiteY10" fmla="*/ 354806 h 764381"/>
                <a:gd name="connsiteX11" fmla="*/ 1062037 w 1131093"/>
                <a:gd name="connsiteY11" fmla="*/ 366712 h 764381"/>
                <a:gd name="connsiteX12" fmla="*/ 1057275 w 1131093"/>
                <a:gd name="connsiteY12" fmla="*/ 345281 h 764381"/>
                <a:gd name="connsiteX13" fmla="*/ 1040606 w 1131093"/>
                <a:gd name="connsiteY13" fmla="*/ 330993 h 764381"/>
                <a:gd name="connsiteX14" fmla="*/ 1016793 w 1131093"/>
                <a:gd name="connsiteY14" fmla="*/ 330993 h 764381"/>
                <a:gd name="connsiteX15" fmla="*/ 997743 w 1131093"/>
                <a:gd name="connsiteY15" fmla="*/ 300037 h 764381"/>
                <a:gd name="connsiteX16" fmla="*/ 1026318 w 1131093"/>
                <a:gd name="connsiteY16" fmla="*/ 300037 h 764381"/>
                <a:gd name="connsiteX17" fmla="*/ 1028700 w 1131093"/>
                <a:gd name="connsiteY17" fmla="*/ 280987 h 764381"/>
                <a:gd name="connsiteX18" fmla="*/ 957262 w 1131093"/>
                <a:gd name="connsiteY18" fmla="*/ 233362 h 764381"/>
                <a:gd name="connsiteX19" fmla="*/ 976312 w 1131093"/>
                <a:gd name="connsiteY19" fmla="*/ 216693 h 764381"/>
                <a:gd name="connsiteX20" fmla="*/ 1016793 w 1131093"/>
                <a:gd name="connsiteY20" fmla="*/ 238125 h 764381"/>
                <a:gd name="connsiteX21" fmla="*/ 1019175 w 1131093"/>
                <a:gd name="connsiteY21" fmla="*/ 207168 h 764381"/>
                <a:gd name="connsiteX22" fmla="*/ 983456 w 1131093"/>
                <a:gd name="connsiteY22" fmla="*/ 169068 h 764381"/>
                <a:gd name="connsiteX23" fmla="*/ 926306 w 1131093"/>
                <a:gd name="connsiteY23" fmla="*/ 171450 h 764381"/>
                <a:gd name="connsiteX24" fmla="*/ 897731 w 1131093"/>
                <a:gd name="connsiteY24" fmla="*/ 147637 h 764381"/>
                <a:gd name="connsiteX25" fmla="*/ 873918 w 1131093"/>
                <a:gd name="connsiteY25" fmla="*/ 150018 h 764381"/>
                <a:gd name="connsiteX26" fmla="*/ 850106 w 1131093"/>
                <a:gd name="connsiteY26" fmla="*/ 138112 h 764381"/>
                <a:gd name="connsiteX27" fmla="*/ 859631 w 1131093"/>
                <a:gd name="connsiteY27" fmla="*/ 73818 h 764381"/>
                <a:gd name="connsiteX28" fmla="*/ 826293 w 1131093"/>
                <a:gd name="connsiteY28" fmla="*/ 42862 h 764381"/>
                <a:gd name="connsiteX29" fmla="*/ 754856 w 1131093"/>
                <a:gd name="connsiteY29" fmla="*/ 0 h 764381"/>
                <a:gd name="connsiteX30" fmla="*/ 728662 w 1131093"/>
                <a:gd name="connsiteY30" fmla="*/ 14287 h 764381"/>
                <a:gd name="connsiteX31" fmla="*/ 721518 w 1131093"/>
                <a:gd name="connsiteY31" fmla="*/ 42862 h 764381"/>
                <a:gd name="connsiteX32" fmla="*/ 714375 w 1131093"/>
                <a:gd name="connsiteY32" fmla="*/ 50006 h 764381"/>
                <a:gd name="connsiteX33" fmla="*/ 666750 w 1131093"/>
                <a:gd name="connsiteY33" fmla="*/ 35718 h 764381"/>
                <a:gd name="connsiteX34" fmla="*/ 645318 w 1131093"/>
                <a:gd name="connsiteY34" fmla="*/ 42862 h 764381"/>
                <a:gd name="connsiteX35" fmla="*/ 647700 w 1131093"/>
                <a:gd name="connsiteY35" fmla="*/ 73818 h 764381"/>
                <a:gd name="connsiteX36" fmla="*/ 566737 w 1131093"/>
                <a:gd name="connsiteY36" fmla="*/ 180975 h 764381"/>
                <a:gd name="connsiteX37" fmla="*/ 559593 w 1131093"/>
                <a:gd name="connsiteY37" fmla="*/ 226218 h 764381"/>
                <a:gd name="connsiteX38" fmla="*/ 500062 w 1131093"/>
                <a:gd name="connsiteY38" fmla="*/ 261937 h 764381"/>
                <a:gd name="connsiteX39" fmla="*/ 466725 w 1131093"/>
                <a:gd name="connsiteY39" fmla="*/ 328612 h 764381"/>
                <a:gd name="connsiteX40" fmla="*/ 450056 w 1131093"/>
                <a:gd name="connsiteY40" fmla="*/ 364331 h 764381"/>
                <a:gd name="connsiteX41" fmla="*/ 435768 w 1131093"/>
                <a:gd name="connsiteY41" fmla="*/ 476250 h 764381"/>
                <a:gd name="connsiteX42" fmla="*/ 433387 w 1131093"/>
                <a:gd name="connsiteY42" fmla="*/ 490537 h 764381"/>
                <a:gd name="connsiteX43" fmla="*/ 381000 w 1131093"/>
                <a:gd name="connsiteY43" fmla="*/ 516731 h 764381"/>
                <a:gd name="connsiteX44" fmla="*/ 326231 w 1131093"/>
                <a:gd name="connsiteY44" fmla="*/ 540543 h 764381"/>
                <a:gd name="connsiteX45" fmla="*/ 297656 w 1131093"/>
                <a:gd name="connsiteY45" fmla="*/ 554831 h 764381"/>
                <a:gd name="connsiteX46" fmla="*/ 285750 w 1131093"/>
                <a:gd name="connsiteY46" fmla="*/ 597693 h 764381"/>
                <a:gd name="connsiteX47" fmla="*/ 242887 w 1131093"/>
                <a:gd name="connsiteY47" fmla="*/ 576262 h 764381"/>
                <a:gd name="connsiteX48" fmla="*/ 226218 w 1131093"/>
                <a:gd name="connsiteY48" fmla="*/ 573881 h 764381"/>
                <a:gd name="connsiteX49" fmla="*/ 176212 w 1131093"/>
                <a:gd name="connsiteY49" fmla="*/ 521493 h 764381"/>
                <a:gd name="connsiteX50" fmla="*/ 159543 w 1131093"/>
                <a:gd name="connsiteY50" fmla="*/ 531018 h 764381"/>
                <a:gd name="connsiteX51" fmla="*/ 157162 w 1131093"/>
                <a:gd name="connsiteY51" fmla="*/ 581025 h 764381"/>
                <a:gd name="connsiteX52" fmla="*/ 100012 w 1131093"/>
                <a:gd name="connsiteY52" fmla="*/ 626268 h 764381"/>
                <a:gd name="connsiteX53" fmla="*/ 85725 w 1131093"/>
                <a:gd name="connsiteY53" fmla="*/ 683418 h 764381"/>
                <a:gd name="connsiteX54" fmla="*/ 0 w 1131093"/>
                <a:gd name="connsiteY54" fmla="*/ 764381 h 764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1131093" h="764381">
                  <a:moveTo>
                    <a:pt x="0" y="764381"/>
                  </a:moveTo>
                  <a:lnTo>
                    <a:pt x="57150" y="754856"/>
                  </a:lnTo>
                  <a:lnTo>
                    <a:pt x="1131093" y="404812"/>
                  </a:lnTo>
                  <a:lnTo>
                    <a:pt x="1100137" y="373856"/>
                  </a:lnTo>
                  <a:lnTo>
                    <a:pt x="1078706" y="388143"/>
                  </a:lnTo>
                  <a:lnTo>
                    <a:pt x="1050131" y="388143"/>
                  </a:lnTo>
                  <a:lnTo>
                    <a:pt x="1023937" y="369093"/>
                  </a:lnTo>
                  <a:lnTo>
                    <a:pt x="985837" y="371475"/>
                  </a:lnTo>
                  <a:lnTo>
                    <a:pt x="985837" y="371475"/>
                  </a:lnTo>
                  <a:lnTo>
                    <a:pt x="1012031" y="345281"/>
                  </a:lnTo>
                  <a:lnTo>
                    <a:pt x="1038225" y="354806"/>
                  </a:lnTo>
                  <a:lnTo>
                    <a:pt x="1062037" y="366712"/>
                  </a:lnTo>
                  <a:lnTo>
                    <a:pt x="1057275" y="345281"/>
                  </a:lnTo>
                  <a:lnTo>
                    <a:pt x="1040606" y="330993"/>
                  </a:lnTo>
                  <a:lnTo>
                    <a:pt x="1016793" y="330993"/>
                  </a:lnTo>
                  <a:lnTo>
                    <a:pt x="997743" y="300037"/>
                  </a:lnTo>
                  <a:lnTo>
                    <a:pt x="1026318" y="300037"/>
                  </a:lnTo>
                  <a:lnTo>
                    <a:pt x="1028700" y="280987"/>
                  </a:lnTo>
                  <a:lnTo>
                    <a:pt x="957262" y="233362"/>
                  </a:lnTo>
                  <a:lnTo>
                    <a:pt x="976312" y="216693"/>
                  </a:lnTo>
                  <a:lnTo>
                    <a:pt x="1016793" y="238125"/>
                  </a:lnTo>
                  <a:lnTo>
                    <a:pt x="1019175" y="207168"/>
                  </a:lnTo>
                  <a:lnTo>
                    <a:pt x="983456" y="169068"/>
                  </a:lnTo>
                  <a:lnTo>
                    <a:pt x="926306" y="171450"/>
                  </a:lnTo>
                  <a:lnTo>
                    <a:pt x="897731" y="147637"/>
                  </a:lnTo>
                  <a:lnTo>
                    <a:pt x="873918" y="150018"/>
                  </a:lnTo>
                  <a:lnTo>
                    <a:pt x="850106" y="138112"/>
                  </a:lnTo>
                  <a:lnTo>
                    <a:pt x="859631" y="73818"/>
                  </a:lnTo>
                  <a:lnTo>
                    <a:pt x="826293" y="42862"/>
                  </a:lnTo>
                  <a:lnTo>
                    <a:pt x="754856" y="0"/>
                  </a:lnTo>
                  <a:lnTo>
                    <a:pt x="728662" y="14287"/>
                  </a:lnTo>
                  <a:lnTo>
                    <a:pt x="721518" y="42862"/>
                  </a:lnTo>
                  <a:lnTo>
                    <a:pt x="714375" y="50006"/>
                  </a:lnTo>
                  <a:lnTo>
                    <a:pt x="666750" y="35718"/>
                  </a:lnTo>
                  <a:lnTo>
                    <a:pt x="645318" y="42862"/>
                  </a:lnTo>
                  <a:lnTo>
                    <a:pt x="647700" y="73818"/>
                  </a:lnTo>
                  <a:lnTo>
                    <a:pt x="566737" y="180975"/>
                  </a:lnTo>
                  <a:lnTo>
                    <a:pt x="559593" y="226218"/>
                  </a:lnTo>
                  <a:lnTo>
                    <a:pt x="500062" y="261937"/>
                  </a:lnTo>
                  <a:lnTo>
                    <a:pt x="466725" y="328612"/>
                  </a:lnTo>
                  <a:lnTo>
                    <a:pt x="450056" y="364331"/>
                  </a:lnTo>
                  <a:lnTo>
                    <a:pt x="435768" y="476250"/>
                  </a:lnTo>
                  <a:lnTo>
                    <a:pt x="433387" y="490537"/>
                  </a:lnTo>
                  <a:lnTo>
                    <a:pt x="381000" y="516731"/>
                  </a:lnTo>
                  <a:lnTo>
                    <a:pt x="326231" y="540543"/>
                  </a:lnTo>
                  <a:lnTo>
                    <a:pt x="297656" y="554831"/>
                  </a:lnTo>
                  <a:lnTo>
                    <a:pt x="285750" y="597693"/>
                  </a:lnTo>
                  <a:lnTo>
                    <a:pt x="242887" y="576262"/>
                  </a:lnTo>
                  <a:lnTo>
                    <a:pt x="226218" y="573881"/>
                  </a:lnTo>
                  <a:lnTo>
                    <a:pt x="176212" y="521493"/>
                  </a:lnTo>
                  <a:lnTo>
                    <a:pt x="159543" y="531018"/>
                  </a:lnTo>
                  <a:lnTo>
                    <a:pt x="157162" y="581025"/>
                  </a:lnTo>
                  <a:lnTo>
                    <a:pt x="100012" y="626268"/>
                  </a:lnTo>
                  <a:lnTo>
                    <a:pt x="85725" y="683418"/>
                  </a:lnTo>
                  <a:lnTo>
                    <a:pt x="0" y="764381"/>
                  </a:lnTo>
                  <a:close/>
                </a:path>
              </a:pathLst>
            </a:custGeom>
            <a:grp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sp>
          <p:nvSpPr>
            <p:cNvPr id="82" name="Freeform 81"/>
            <p:cNvSpPr/>
            <p:nvPr/>
          </p:nvSpPr>
          <p:spPr>
            <a:xfrm>
              <a:off x="7724776" y="2605088"/>
              <a:ext cx="50006" cy="109537"/>
            </a:xfrm>
            <a:custGeom>
              <a:avLst/>
              <a:gdLst>
                <a:gd name="connsiteX0" fmla="*/ 14288 w 40481"/>
                <a:gd name="connsiteY0" fmla="*/ 0 h 109537"/>
                <a:gd name="connsiteX1" fmla="*/ 4763 w 40481"/>
                <a:gd name="connsiteY1" fmla="*/ 57150 h 109537"/>
                <a:gd name="connsiteX2" fmla="*/ 0 w 40481"/>
                <a:gd name="connsiteY2" fmla="*/ 95250 h 109537"/>
                <a:gd name="connsiteX3" fmla="*/ 9525 w 40481"/>
                <a:gd name="connsiteY3" fmla="*/ 109537 h 109537"/>
                <a:gd name="connsiteX4" fmla="*/ 30956 w 40481"/>
                <a:gd name="connsiteY4" fmla="*/ 90487 h 109537"/>
                <a:gd name="connsiteX5" fmla="*/ 40481 w 40481"/>
                <a:gd name="connsiteY5" fmla="*/ 52387 h 109537"/>
                <a:gd name="connsiteX6" fmla="*/ 14288 w 40481"/>
                <a:gd name="connsiteY6" fmla="*/ 0 h 109537"/>
                <a:gd name="connsiteX0" fmla="*/ 14288 w 50006"/>
                <a:gd name="connsiteY0" fmla="*/ 0 h 109537"/>
                <a:gd name="connsiteX1" fmla="*/ 4763 w 50006"/>
                <a:gd name="connsiteY1" fmla="*/ 57150 h 109537"/>
                <a:gd name="connsiteX2" fmla="*/ 0 w 50006"/>
                <a:gd name="connsiteY2" fmla="*/ 95250 h 109537"/>
                <a:gd name="connsiteX3" fmla="*/ 9525 w 50006"/>
                <a:gd name="connsiteY3" fmla="*/ 109537 h 109537"/>
                <a:gd name="connsiteX4" fmla="*/ 30956 w 50006"/>
                <a:gd name="connsiteY4" fmla="*/ 90487 h 109537"/>
                <a:gd name="connsiteX5" fmla="*/ 50006 w 50006"/>
                <a:gd name="connsiteY5" fmla="*/ 33337 h 109537"/>
                <a:gd name="connsiteX6" fmla="*/ 14288 w 50006"/>
                <a:gd name="connsiteY6" fmla="*/ 0 h 109537"/>
                <a:gd name="connsiteX0" fmla="*/ 14288 w 50006"/>
                <a:gd name="connsiteY0" fmla="*/ 0 h 109537"/>
                <a:gd name="connsiteX1" fmla="*/ 4763 w 50006"/>
                <a:gd name="connsiteY1" fmla="*/ 57150 h 109537"/>
                <a:gd name="connsiteX2" fmla="*/ 0 w 50006"/>
                <a:gd name="connsiteY2" fmla="*/ 95250 h 109537"/>
                <a:gd name="connsiteX3" fmla="*/ 9525 w 50006"/>
                <a:gd name="connsiteY3" fmla="*/ 109537 h 109537"/>
                <a:gd name="connsiteX4" fmla="*/ 30956 w 50006"/>
                <a:gd name="connsiteY4" fmla="*/ 90487 h 109537"/>
                <a:gd name="connsiteX5" fmla="*/ 50006 w 50006"/>
                <a:gd name="connsiteY5" fmla="*/ 33337 h 109537"/>
                <a:gd name="connsiteX6" fmla="*/ 26193 w 50006"/>
                <a:gd name="connsiteY6" fmla="*/ 11906 h 109537"/>
                <a:gd name="connsiteX7" fmla="*/ 14288 w 50006"/>
                <a:gd name="connsiteY7" fmla="*/ 0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006" h="109537">
                  <a:moveTo>
                    <a:pt x="14288" y="0"/>
                  </a:moveTo>
                  <a:lnTo>
                    <a:pt x="4763" y="57150"/>
                  </a:lnTo>
                  <a:lnTo>
                    <a:pt x="0" y="95250"/>
                  </a:lnTo>
                  <a:lnTo>
                    <a:pt x="9525" y="109537"/>
                  </a:lnTo>
                  <a:lnTo>
                    <a:pt x="30956" y="90487"/>
                  </a:lnTo>
                  <a:lnTo>
                    <a:pt x="50006" y="33337"/>
                  </a:lnTo>
                  <a:lnTo>
                    <a:pt x="26193" y="11906"/>
                  </a:lnTo>
                  <a:lnTo>
                    <a:pt x="14288" y="0"/>
                  </a:lnTo>
                  <a:close/>
                </a:path>
              </a:pathLst>
            </a:custGeom>
            <a:grp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grpSp>
      <p:sp>
        <p:nvSpPr>
          <p:cNvPr id="52" name="Freeform 51"/>
          <p:cNvSpPr/>
          <p:nvPr/>
        </p:nvSpPr>
        <p:spPr>
          <a:xfrm>
            <a:off x="6403887" y="2939203"/>
            <a:ext cx="632051" cy="712752"/>
          </a:xfrm>
          <a:custGeom>
            <a:avLst/>
            <a:gdLst>
              <a:gd name="connsiteX0" fmla="*/ 0 w 652463"/>
              <a:gd name="connsiteY0" fmla="*/ 202406 h 735806"/>
              <a:gd name="connsiteX1" fmla="*/ 114300 w 652463"/>
              <a:gd name="connsiteY1" fmla="*/ 683419 h 735806"/>
              <a:gd name="connsiteX2" fmla="*/ 176213 w 652463"/>
              <a:gd name="connsiteY2" fmla="*/ 711994 h 735806"/>
              <a:gd name="connsiteX3" fmla="*/ 228600 w 652463"/>
              <a:gd name="connsiteY3" fmla="*/ 711994 h 735806"/>
              <a:gd name="connsiteX4" fmla="*/ 340519 w 652463"/>
              <a:gd name="connsiteY4" fmla="*/ 700087 h 735806"/>
              <a:gd name="connsiteX5" fmla="*/ 383382 w 652463"/>
              <a:gd name="connsiteY5" fmla="*/ 681037 h 735806"/>
              <a:gd name="connsiteX6" fmla="*/ 397669 w 652463"/>
              <a:gd name="connsiteY6" fmla="*/ 702469 h 735806"/>
              <a:gd name="connsiteX7" fmla="*/ 419100 w 652463"/>
              <a:gd name="connsiteY7" fmla="*/ 704850 h 735806"/>
              <a:gd name="connsiteX8" fmla="*/ 435769 w 652463"/>
              <a:gd name="connsiteY8" fmla="*/ 731044 h 735806"/>
              <a:gd name="connsiteX9" fmla="*/ 454819 w 652463"/>
              <a:gd name="connsiteY9" fmla="*/ 735806 h 735806"/>
              <a:gd name="connsiteX10" fmla="*/ 509588 w 652463"/>
              <a:gd name="connsiteY10" fmla="*/ 669131 h 735806"/>
              <a:gd name="connsiteX11" fmla="*/ 495300 w 652463"/>
              <a:gd name="connsiteY11" fmla="*/ 650081 h 735806"/>
              <a:gd name="connsiteX12" fmla="*/ 502444 w 652463"/>
              <a:gd name="connsiteY12" fmla="*/ 611981 h 735806"/>
              <a:gd name="connsiteX13" fmla="*/ 535782 w 652463"/>
              <a:gd name="connsiteY13" fmla="*/ 600075 h 735806"/>
              <a:gd name="connsiteX14" fmla="*/ 542925 w 652463"/>
              <a:gd name="connsiteY14" fmla="*/ 623887 h 735806"/>
              <a:gd name="connsiteX15" fmla="*/ 564357 w 652463"/>
              <a:gd name="connsiteY15" fmla="*/ 597694 h 735806"/>
              <a:gd name="connsiteX16" fmla="*/ 552450 w 652463"/>
              <a:gd name="connsiteY16" fmla="*/ 566737 h 735806"/>
              <a:gd name="connsiteX17" fmla="*/ 538163 w 652463"/>
              <a:gd name="connsiteY17" fmla="*/ 545306 h 735806"/>
              <a:gd name="connsiteX18" fmla="*/ 564357 w 652463"/>
              <a:gd name="connsiteY18" fmla="*/ 526256 h 735806"/>
              <a:gd name="connsiteX19" fmla="*/ 621507 w 652463"/>
              <a:gd name="connsiteY19" fmla="*/ 464344 h 735806"/>
              <a:gd name="connsiteX20" fmla="*/ 652463 w 652463"/>
              <a:gd name="connsiteY20" fmla="*/ 404812 h 735806"/>
              <a:gd name="connsiteX21" fmla="*/ 650082 w 652463"/>
              <a:gd name="connsiteY21" fmla="*/ 228600 h 735806"/>
              <a:gd name="connsiteX22" fmla="*/ 581025 w 652463"/>
              <a:gd name="connsiteY22" fmla="*/ 0 h 735806"/>
              <a:gd name="connsiteX23" fmla="*/ 385763 w 652463"/>
              <a:gd name="connsiteY23" fmla="*/ 159544 h 735806"/>
              <a:gd name="connsiteX24" fmla="*/ 330994 w 652463"/>
              <a:gd name="connsiteY24" fmla="*/ 178594 h 735806"/>
              <a:gd name="connsiteX25" fmla="*/ 304800 w 652463"/>
              <a:gd name="connsiteY25" fmla="*/ 197644 h 735806"/>
              <a:gd name="connsiteX26" fmla="*/ 278607 w 652463"/>
              <a:gd name="connsiteY26" fmla="*/ 169069 h 735806"/>
              <a:gd name="connsiteX27" fmla="*/ 245269 w 652463"/>
              <a:gd name="connsiteY27" fmla="*/ 176212 h 735806"/>
              <a:gd name="connsiteX28" fmla="*/ 192882 w 652463"/>
              <a:gd name="connsiteY28" fmla="*/ 152400 h 735806"/>
              <a:gd name="connsiteX29" fmla="*/ 0 w 652463"/>
              <a:gd name="connsiteY29" fmla="*/ 202406 h 735806"/>
              <a:gd name="connsiteX0" fmla="*/ 0 w 652463"/>
              <a:gd name="connsiteY0" fmla="*/ 202406 h 735806"/>
              <a:gd name="connsiteX1" fmla="*/ 114300 w 652463"/>
              <a:gd name="connsiteY1" fmla="*/ 683419 h 735806"/>
              <a:gd name="connsiteX2" fmla="*/ 176213 w 652463"/>
              <a:gd name="connsiteY2" fmla="*/ 711994 h 735806"/>
              <a:gd name="connsiteX3" fmla="*/ 228600 w 652463"/>
              <a:gd name="connsiteY3" fmla="*/ 711994 h 735806"/>
              <a:gd name="connsiteX4" fmla="*/ 340519 w 652463"/>
              <a:gd name="connsiteY4" fmla="*/ 700087 h 735806"/>
              <a:gd name="connsiteX5" fmla="*/ 383382 w 652463"/>
              <a:gd name="connsiteY5" fmla="*/ 681037 h 735806"/>
              <a:gd name="connsiteX6" fmla="*/ 397669 w 652463"/>
              <a:gd name="connsiteY6" fmla="*/ 702469 h 735806"/>
              <a:gd name="connsiteX7" fmla="*/ 419100 w 652463"/>
              <a:gd name="connsiteY7" fmla="*/ 704850 h 735806"/>
              <a:gd name="connsiteX8" fmla="*/ 435769 w 652463"/>
              <a:gd name="connsiteY8" fmla="*/ 731044 h 735806"/>
              <a:gd name="connsiteX9" fmla="*/ 454819 w 652463"/>
              <a:gd name="connsiteY9" fmla="*/ 735806 h 735806"/>
              <a:gd name="connsiteX10" fmla="*/ 509588 w 652463"/>
              <a:gd name="connsiteY10" fmla="*/ 669131 h 735806"/>
              <a:gd name="connsiteX11" fmla="*/ 495300 w 652463"/>
              <a:gd name="connsiteY11" fmla="*/ 650081 h 735806"/>
              <a:gd name="connsiteX12" fmla="*/ 502444 w 652463"/>
              <a:gd name="connsiteY12" fmla="*/ 611981 h 735806"/>
              <a:gd name="connsiteX13" fmla="*/ 535782 w 652463"/>
              <a:gd name="connsiteY13" fmla="*/ 600075 h 735806"/>
              <a:gd name="connsiteX14" fmla="*/ 542925 w 652463"/>
              <a:gd name="connsiteY14" fmla="*/ 623887 h 735806"/>
              <a:gd name="connsiteX15" fmla="*/ 564357 w 652463"/>
              <a:gd name="connsiteY15" fmla="*/ 597694 h 735806"/>
              <a:gd name="connsiteX16" fmla="*/ 552450 w 652463"/>
              <a:gd name="connsiteY16" fmla="*/ 566737 h 735806"/>
              <a:gd name="connsiteX17" fmla="*/ 538163 w 652463"/>
              <a:gd name="connsiteY17" fmla="*/ 545306 h 735806"/>
              <a:gd name="connsiteX18" fmla="*/ 564357 w 652463"/>
              <a:gd name="connsiteY18" fmla="*/ 526256 h 735806"/>
              <a:gd name="connsiteX19" fmla="*/ 628633 w 652463"/>
              <a:gd name="connsiteY19" fmla="*/ 492950 h 735806"/>
              <a:gd name="connsiteX20" fmla="*/ 652463 w 652463"/>
              <a:gd name="connsiteY20" fmla="*/ 404812 h 735806"/>
              <a:gd name="connsiteX21" fmla="*/ 650082 w 652463"/>
              <a:gd name="connsiteY21" fmla="*/ 228600 h 735806"/>
              <a:gd name="connsiteX22" fmla="*/ 581025 w 652463"/>
              <a:gd name="connsiteY22" fmla="*/ 0 h 735806"/>
              <a:gd name="connsiteX23" fmla="*/ 385763 w 652463"/>
              <a:gd name="connsiteY23" fmla="*/ 159544 h 735806"/>
              <a:gd name="connsiteX24" fmla="*/ 330994 w 652463"/>
              <a:gd name="connsiteY24" fmla="*/ 178594 h 735806"/>
              <a:gd name="connsiteX25" fmla="*/ 304800 w 652463"/>
              <a:gd name="connsiteY25" fmla="*/ 197644 h 735806"/>
              <a:gd name="connsiteX26" fmla="*/ 278607 w 652463"/>
              <a:gd name="connsiteY26" fmla="*/ 169069 h 735806"/>
              <a:gd name="connsiteX27" fmla="*/ 245269 w 652463"/>
              <a:gd name="connsiteY27" fmla="*/ 176212 h 735806"/>
              <a:gd name="connsiteX28" fmla="*/ 192882 w 652463"/>
              <a:gd name="connsiteY28" fmla="*/ 152400 h 735806"/>
              <a:gd name="connsiteX29" fmla="*/ 0 w 652463"/>
              <a:gd name="connsiteY29" fmla="*/ 202406 h 735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652463" h="735806">
                <a:moveTo>
                  <a:pt x="0" y="202406"/>
                </a:moveTo>
                <a:lnTo>
                  <a:pt x="114300" y="683419"/>
                </a:lnTo>
                <a:lnTo>
                  <a:pt x="176213" y="711994"/>
                </a:lnTo>
                <a:lnTo>
                  <a:pt x="228600" y="711994"/>
                </a:lnTo>
                <a:lnTo>
                  <a:pt x="340519" y="700087"/>
                </a:lnTo>
                <a:lnTo>
                  <a:pt x="383382" y="681037"/>
                </a:lnTo>
                <a:lnTo>
                  <a:pt x="397669" y="702469"/>
                </a:lnTo>
                <a:lnTo>
                  <a:pt x="419100" y="704850"/>
                </a:lnTo>
                <a:lnTo>
                  <a:pt x="435769" y="731044"/>
                </a:lnTo>
                <a:lnTo>
                  <a:pt x="454819" y="735806"/>
                </a:lnTo>
                <a:lnTo>
                  <a:pt x="509588" y="669131"/>
                </a:lnTo>
                <a:lnTo>
                  <a:pt x="495300" y="650081"/>
                </a:lnTo>
                <a:lnTo>
                  <a:pt x="502444" y="611981"/>
                </a:lnTo>
                <a:lnTo>
                  <a:pt x="535782" y="600075"/>
                </a:lnTo>
                <a:lnTo>
                  <a:pt x="542925" y="623887"/>
                </a:lnTo>
                <a:lnTo>
                  <a:pt x="564357" y="597694"/>
                </a:lnTo>
                <a:lnTo>
                  <a:pt x="552450" y="566737"/>
                </a:lnTo>
                <a:lnTo>
                  <a:pt x="538163" y="545306"/>
                </a:lnTo>
                <a:lnTo>
                  <a:pt x="564357" y="526256"/>
                </a:lnTo>
                <a:lnTo>
                  <a:pt x="628633" y="492950"/>
                </a:lnTo>
                <a:cubicBezTo>
                  <a:pt x="638952" y="473106"/>
                  <a:pt x="642144" y="424656"/>
                  <a:pt x="652463" y="404812"/>
                </a:cubicBezTo>
                <a:cubicBezTo>
                  <a:pt x="651669" y="346075"/>
                  <a:pt x="650876" y="287337"/>
                  <a:pt x="650082" y="228600"/>
                </a:cubicBezTo>
                <a:lnTo>
                  <a:pt x="581025" y="0"/>
                </a:lnTo>
                <a:lnTo>
                  <a:pt x="385763" y="159544"/>
                </a:lnTo>
                <a:lnTo>
                  <a:pt x="330994" y="178594"/>
                </a:lnTo>
                <a:lnTo>
                  <a:pt x="304800" y="197644"/>
                </a:lnTo>
                <a:lnTo>
                  <a:pt x="278607" y="169069"/>
                </a:lnTo>
                <a:lnTo>
                  <a:pt x="245269" y="176212"/>
                </a:lnTo>
                <a:lnTo>
                  <a:pt x="192882" y="152400"/>
                </a:lnTo>
                <a:lnTo>
                  <a:pt x="0" y="202406"/>
                </a:lnTo>
                <a:close/>
              </a:path>
            </a:pathLst>
          </a:custGeom>
          <a:solidFill>
            <a:schemeClr val="bg1">
              <a:lumMod val="75000"/>
            </a:schemeClr>
          </a:solidFill>
          <a:ln w="12700">
            <a:solidFill>
              <a:schemeClr val="bg1"/>
            </a:solidFill>
          </a:ln>
        </p:spPr>
        <p:style>
          <a:lnRef idx="2">
            <a:schemeClr val="accent1"/>
          </a:lnRef>
          <a:fillRef idx="1">
            <a:schemeClr val="lt1"/>
          </a:fillRef>
          <a:effectRef idx="0">
            <a:schemeClr val="accent1"/>
          </a:effectRef>
          <a:fontRef idx="minor">
            <a:schemeClr val="dk1"/>
          </a:fontRef>
        </p:style>
        <p:txBody>
          <a:bodyPr/>
          <a:lstStyle>
            <a:defPPr>
              <a:defRPr lang="en-GB"/>
            </a:defPPr>
            <a:lvl1pPr algn="l" defTabSz="457200" rtl="0" eaLnBrk="0" fontAlgn="base" hangingPunct="0">
              <a:spcBef>
                <a:spcPct val="0"/>
              </a:spcBef>
              <a:spcAft>
                <a:spcPct val="0"/>
              </a:spcAft>
              <a:defRPr sz="2400" kern="1200">
                <a:solidFill>
                  <a:schemeClr val="dk1"/>
                </a:solidFill>
                <a:latin typeface="+mn-lt"/>
                <a:ea typeface="+mn-ea"/>
                <a:cs typeface="+mn-cs"/>
              </a:defRPr>
            </a:lvl1pPr>
            <a:lvl2pPr marL="742950" indent="-285750" algn="l" defTabSz="457200" rtl="0" eaLnBrk="0" fontAlgn="base" hangingPunct="0">
              <a:spcBef>
                <a:spcPct val="0"/>
              </a:spcBef>
              <a:spcAft>
                <a:spcPct val="0"/>
              </a:spcAft>
              <a:defRPr sz="2400" kern="1200">
                <a:solidFill>
                  <a:schemeClr val="dk1"/>
                </a:solidFill>
                <a:latin typeface="+mn-lt"/>
                <a:ea typeface="+mn-ea"/>
                <a:cs typeface="+mn-cs"/>
              </a:defRPr>
            </a:lvl2pPr>
            <a:lvl3pPr marL="1143000" indent="-228600" algn="l" defTabSz="457200" rtl="0" eaLnBrk="0" fontAlgn="base" hangingPunct="0">
              <a:spcBef>
                <a:spcPct val="0"/>
              </a:spcBef>
              <a:spcAft>
                <a:spcPct val="0"/>
              </a:spcAft>
              <a:defRPr sz="2400" kern="1200">
                <a:solidFill>
                  <a:schemeClr val="dk1"/>
                </a:solidFill>
                <a:latin typeface="+mn-lt"/>
                <a:ea typeface="+mn-ea"/>
                <a:cs typeface="+mn-cs"/>
              </a:defRPr>
            </a:lvl3pPr>
            <a:lvl4pPr marL="1600200" indent="-228600" algn="l" defTabSz="457200" rtl="0" eaLnBrk="0" fontAlgn="base" hangingPunct="0">
              <a:spcBef>
                <a:spcPct val="0"/>
              </a:spcBef>
              <a:spcAft>
                <a:spcPct val="0"/>
              </a:spcAft>
              <a:defRPr sz="2400" kern="1200">
                <a:solidFill>
                  <a:schemeClr val="dk1"/>
                </a:solidFill>
                <a:latin typeface="+mn-lt"/>
                <a:ea typeface="+mn-ea"/>
                <a:cs typeface="+mn-cs"/>
              </a:defRPr>
            </a:lvl4pPr>
            <a:lvl5pPr marL="2057400" indent="-228600" algn="l" defTabSz="457200" rtl="0" eaLnBrk="0" fontAlgn="base" hangingPunct="0">
              <a:spcBef>
                <a:spcPct val="0"/>
              </a:spcBef>
              <a:spcAft>
                <a:spcPct val="0"/>
              </a:spcAft>
              <a:defRPr sz="2400" kern="1200">
                <a:solidFill>
                  <a:schemeClr val="dk1"/>
                </a:solidFill>
                <a:latin typeface="+mn-lt"/>
                <a:ea typeface="+mn-ea"/>
                <a:cs typeface="+mn-cs"/>
              </a:defRPr>
            </a:lvl5pPr>
            <a:lvl6pPr marL="2286000" algn="l" defTabSz="914400" rtl="0" eaLnBrk="1" latinLnBrk="0" hangingPunct="1">
              <a:defRPr sz="2400" kern="1200">
                <a:solidFill>
                  <a:schemeClr val="dk1"/>
                </a:solidFill>
                <a:latin typeface="+mn-lt"/>
                <a:ea typeface="+mn-ea"/>
                <a:cs typeface="+mn-cs"/>
              </a:defRPr>
            </a:lvl6pPr>
            <a:lvl7pPr marL="2743200" algn="l" defTabSz="914400" rtl="0" eaLnBrk="1" latinLnBrk="0" hangingPunct="1">
              <a:defRPr sz="2400" kern="1200">
                <a:solidFill>
                  <a:schemeClr val="dk1"/>
                </a:solidFill>
                <a:latin typeface="+mn-lt"/>
                <a:ea typeface="+mn-ea"/>
                <a:cs typeface="+mn-cs"/>
              </a:defRPr>
            </a:lvl7pPr>
            <a:lvl8pPr marL="3200400" algn="l" defTabSz="914400" rtl="0" eaLnBrk="1" latinLnBrk="0" hangingPunct="1">
              <a:defRPr sz="2400" kern="1200">
                <a:solidFill>
                  <a:schemeClr val="dk1"/>
                </a:solidFill>
                <a:latin typeface="+mn-lt"/>
                <a:ea typeface="+mn-ea"/>
                <a:cs typeface="+mn-cs"/>
              </a:defRPr>
            </a:lvl8pPr>
            <a:lvl9pPr marL="3657600" algn="l" defTabSz="914400" rtl="0" eaLnBrk="1" latinLnBrk="0" hangingPunct="1">
              <a:defRPr sz="2400" kern="1200">
                <a:solidFill>
                  <a:schemeClr val="dk1"/>
                </a:solidFill>
                <a:latin typeface="+mn-lt"/>
                <a:ea typeface="+mn-ea"/>
                <a:cs typeface="+mn-cs"/>
              </a:defRPr>
            </a:lvl9pPr>
          </a:lstStyle>
          <a:p>
            <a:pPr>
              <a:buClr>
                <a:srgbClr val="000000"/>
              </a:buClr>
              <a:buSzPct val="100000"/>
              <a:buFont typeface="Times New Roman" pitchFamily="16" charset="0"/>
              <a:buNone/>
              <a:defRPr/>
            </a:pPr>
            <a:endParaRPr lang="en-GB" sz="1800">
              <a:solidFill>
                <a:schemeClr val="bg1"/>
              </a:solidFill>
              <a:ea typeface="ＭＳ Ｐゴシック" charset="-128"/>
            </a:endParaRPr>
          </a:p>
        </p:txBody>
      </p:sp>
      <p:cxnSp>
        <p:nvCxnSpPr>
          <p:cNvPr id="147" name="Elbow Connector 146"/>
          <p:cNvCxnSpPr/>
          <p:nvPr/>
        </p:nvCxnSpPr>
        <p:spPr>
          <a:xfrm rot="16200000" flipH="1">
            <a:off x="7110645" y="4515267"/>
            <a:ext cx="1778748" cy="787197"/>
          </a:xfrm>
          <a:prstGeom prst="bentConnector3">
            <a:avLst>
              <a:gd name="adj1" fmla="val 50000"/>
            </a:avLst>
          </a:prstGeom>
          <a:ln w="47625">
            <a:solidFill>
              <a:srgbClr val="C00000"/>
            </a:solidFill>
            <a:prstDash val="sysDot"/>
          </a:ln>
        </p:spPr>
        <p:style>
          <a:lnRef idx="2">
            <a:schemeClr val="accent1"/>
          </a:lnRef>
          <a:fillRef idx="0">
            <a:schemeClr val="accent1"/>
          </a:fillRef>
          <a:effectRef idx="1">
            <a:schemeClr val="accent1"/>
          </a:effectRef>
          <a:fontRef idx="minor">
            <a:schemeClr val="tx1"/>
          </a:fontRef>
        </p:style>
      </p:cxnSp>
      <p:sp>
        <p:nvSpPr>
          <p:cNvPr id="125" name="Oval 124"/>
          <p:cNvSpPr/>
          <p:nvPr/>
        </p:nvSpPr>
        <p:spPr>
          <a:xfrm flipH="1">
            <a:off x="7508813" y="3916737"/>
            <a:ext cx="176729" cy="177341"/>
          </a:xfrm>
          <a:prstGeom prst="ellipse">
            <a:avLst/>
          </a:prstGeom>
          <a:solidFill>
            <a:schemeClr val="accent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15" name="Group 114"/>
          <p:cNvGrpSpPr/>
          <p:nvPr/>
        </p:nvGrpSpPr>
        <p:grpSpPr>
          <a:xfrm>
            <a:off x="7836742" y="5671965"/>
            <a:ext cx="1117625" cy="952557"/>
            <a:chOff x="7845426" y="4272133"/>
            <a:chExt cx="1156527" cy="982307"/>
          </a:xfrm>
          <a:effectLst>
            <a:outerShdw blurRad="63500" dist="38100" dir="3600000" algn="ctr" rotWithShape="0">
              <a:schemeClr val="tx2">
                <a:lumMod val="50000"/>
                <a:alpha val="60000"/>
              </a:schemeClr>
            </a:outerShdw>
          </a:effectLst>
        </p:grpSpPr>
        <p:sp>
          <p:nvSpPr>
            <p:cNvPr id="126" name="Rectangle 125"/>
            <p:cNvSpPr/>
            <p:nvPr/>
          </p:nvSpPr>
          <p:spPr>
            <a:xfrm>
              <a:off x="7845426" y="4272133"/>
              <a:ext cx="1154688" cy="962803"/>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a:solidFill>
                  <a:schemeClr val="accent6"/>
                </a:solidFill>
              </a:endParaRPr>
            </a:p>
          </p:txBody>
        </p:sp>
        <p:pic>
          <p:nvPicPr>
            <p:cNvPr id="128" name="Picture 127"/>
            <p:cNvPicPr>
              <a:picLocks noChangeAspect="1"/>
            </p:cNvPicPr>
            <p:nvPr/>
          </p:nvPicPr>
          <p:blipFill rotWithShape="1">
            <a:blip r:embed="rId2" cstate="screen">
              <a:extLst>
                <a:ext uri="{28A0092B-C50C-407E-A947-70E740481C1C}">
                  <a14:useLocalDpi xmlns:a14="http://schemas.microsoft.com/office/drawing/2010/main"/>
                </a:ext>
              </a:extLst>
            </a:blip>
            <a:srcRect l="-2182"/>
            <a:stretch/>
          </p:blipFill>
          <p:spPr>
            <a:xfrm>
              <a:off x="7970526" y="4320560"/>
              <a:ext cx="880657" cy="462392"/>
            </a:xfrm>
            <a:prstGeom prst="rect">
              <a:avLst/>
            </a:prstGeom>
          </p:spPr>
        </p:pic>
        <p:sp>
          <p:nvSpPr>
            <p:cNvPr id="127" name="TextBox 126"/>
            <p:cNvSpPr txBox="1"/>
            <p:nvPr/>
          </p:nvSpPr>
          <p:spPr>
            <a:xfrm>
              <a:off x="7845426" y="4772257"/>
              <a:ext cx="1156527" cy="482183"/>
            </a:xfrm>
            <a:prstGeom prst="rect">
              <a:avLst/>
            </a:prstGeom>
            <a:noFill/>
          </p:spPr>
          <p:txBody>
            <a:bodyPr wrap="square" rtlCol="0">
              <a:spAutoFit/>
            </a:bodyPr>
            <a:lstStyle/>
            <a:p>
              <a:pPr algn="ctr">
                <a:lnSpc>
                  <a:spcPts val="675"/>
                </a:lnSpc>
              </a:pPr>
              <a:r>
                <a:rPr lang="en-US" sz="675">
                  <a:latin typeface="Calibri" panose="020F0502020204030204" pitchFamily="34" charset="0"/>
                </a:rPr>
                <a:t>Wide Bandgap Semiconductors</a:t>
              </a:r>
            </a:p>
            <a:p>
              <a:pPr algn="ctr">
                <a:lnSpc>
                  <a:spcPts val="675"/>
                </a:lnSpc>
              </a:pPr>
              <a:r>
                <a:rPr lang="en-US" sz="675" b="1" i="1">
                  <a:latin typeface="Calibri" panose="020F0502020204030204" pitchFamily="34" charset="0"/>
                </a:rPr>
                <a:t>Raleigh, NC</a:t>
              </a:r>
            </a:p>
          </p:txBody>
        </p:sp>
      </p:grpSp>
      <p:sp>
        <p:nvSpPr>
          <p:cNvPr id="179" name="TextBox 178"/>
          <p:cNvSpPr txBox="1"/>
          <p:nvPr/>
        </p:nvSpPr>
        <p:spPr>
          <a:xfrm>
            <a:off x="7991366" y="3142822"/>
            <a:ext cx="936570" cy="323165"/>
          </a:xfrm>
          <a:prstGeom prst="rect">
            <a:avLst/>
          </a:prstGeom>
          <a:solidFill>
            <a:schemeClr val="bg1"/>
          </a:solidFill>
          <a:ln>
            <a:solidFill>
              <a:schemeClr val="bg1">
                <a:lumMod val="50000"/>
              </a:schemeClr>
            </a:solidFill>
          </a:ln>
        </p:spPr>
        <p:txBody>
          <a:bodyPr wrap="square" rtlCol="0" anchor="b">
            <a:spAutoFit/>
          </a:bodyPr>
          <a:lstStyle/>
          <a:p>
            <a:pPr algn="ctr"/>
            <a:r>
              <a:rPr lang="en-US" sz="750" b="1" dirty="0">
                <a:latin typeface="Calibri" panose="020F0502020204030204" pitchFamily="34" charset="0"/>
              </a:rPr>
              <a:t>Advanced </a:t>
            </a:r>
            <a:r>
              <a:rPr lang="en-US" sz="750" b="1" dirty="0" smtClean="0">
                <a:latin typeface="Calibri" panose="020F0502020204030204" pitchFamily="34" charset="0"/>
              </a:rPr>
              <a:t>Textiles</a:t>
            </a:r>
          </a:p>
          <a:p>
            <a:pPr algn="ctr"/>
            <a:r>
              <a:rPr lang="en-US" sz="750" b="1" i="1" dirty="0" smtClean="0">
                <a:latin typeface="Calibri" panose="020F0502020204030204" pitchFamily="34" charset="0"/>
              </a:rPr>
              <a:t>Cambridge, MA</a:t>
            </a:r>
            <a:endParaRPr lang="en-US" sz="750" b="1" i="1" dirty="0">
              <a:latin typeface="Calibri" panose="020F0502020204030204" pitchFamily="34" charset="0"/>
            </a:endParaRPr>
          </a:p>
        </p:txBody>
      </p:sp>
      <p:sp>
        <p:nvSpPr>
          <p:cNvPr id="180" name="TextBox 179"/>
          <p:cNvSpPr txBox="1"/>
          <p:nvPr/>
        </p:nvSpPr>
        <p:spPr>
          <a:xfrm>
            <a:off x="200898" y="3000800"/>
            <a:ext cx="1094594" cy="323165"/>
          </a:xfrm>
          <a:prstGeom prst="rect">
            <a:avLst/>
          </a:prstGeom>
          <a:solidFill>
            <a:schemeClr val="bg1"/>
          </a:solidFill>
          <a:ln>
            <a:solidFill>
              <a:schemeClr val="bg1">
                <a:lumMod val="50000"/>
              </a:schemeClr>
            </a:solidFill>
          </a:ln>
        </p:spPr>
        <p:txBody>
          <a:bodyPr wrap="square" rtlCol="0" anchor="b">
            <a:spAutoFit/>
          </a:bodyPr>
          <a:lstStyle/>
          <a:p>
            <a:pPr algn="ctr"/>
            <a:r>
              <a:rPr lang="en-US" sz="750" b="1" dirty="0" smtClean="0">
                <a:latin typeface="Calibri" panose="020F0502020204030204" pitchFamily="34" charset="0"/>
              </a:rPr>
              <a:t>Smart Manufacturing</a:t>
            </a:r>
          </a:p>
          <a:p>
            <a:pPr algn="ctr"/>
            <a:r>
              <a:rPr lang="en-US" sz="750" b="1" dirty="0" smtClean="0">
                <a:latin typeface="Calibri" panose="020F0502020204030204" pitchFamily="34" charset="0"/>
              </a:rPr>
              <a:t>Los Angeles CA</a:t>
            </a:r>
            <a:endParaRPr lang="en-US" sz="750" b="1" dirty="0">
              <a:latin typeface="Calibri" panose="020F0502020204030204" pitchFamily="34" charset="0"/>
            </a:endParaRPr>
          </a:p>
        </p:txBody>
      </p:sp>
      <p:sp>
        <p:nvSpPr>
          <p:cNvPr id="185" name="TextBox 184"/>
          <p:cNvSpPr txBox="1"/>
          <p:nvPr/>
        </p:nvSpPr>
        <p:spPr>
          <a:xfrm>
            <a:off x="199101" y="4261303"/>
            <a:ext cx="2575000" cy="307777"/>
          </a:xfrm>
          <a:prstGeom prst="rect">
            <a:avLst/>
          </a:prstGeom>
          <a:ln w="19050">
            <a:solidFill>
              <a:schemeClr val="accent1"/>
            </a:solidFill>
          </a:ln>
        </p:spPr>
        <p:style>
          <a:lnRef idx="2">
            <a:schemeClr val="accent1"/>
          </a:lnRef>
          <a:fillRef idx="1">
            <a:schemeClr val="lt1"/>
          </a:fillRef>
          <a:effectRef idx="0">
            <a:schemeClr val="accent1"/>
          </a:effectRef>
          <a:fontRef idx="minor">
            <a:schemeClr val="dk1"/>
          </a:fontRef>
        </p:style>
        <p:txBody>
          <a:bodyPr wrap="none" rtlCol="0">
            <a:spAutoFit/>
          </a:bodyPr>
          <a:lstStyle/>
          <a:p>
            <a:r>
              <a:rPr lang="en-US" sz="1400" b="1" dirty="0">
                <a:solidFill>
                  <a:srgbClr val="003399"/>
                </a:solidFill>
                <a:latin typeface="+mj-lt"/>
              </a:rPr>
              <a:t>New Institutes Planned for </a:t>
            </a:r>
            <a:r>
              <a:rPr lang="en-US" sz="1400" b="1" dirty="0" smtClean="0">
                <a:solidFill>
                  <a:srgbClr val="003399"/>
                </a:solidFill>
                <a:latin typeface="+mj-lt"/>
              </a:rPr>
              <a:t>2016</a:t>
            </a:r>
            <a:endParaRPr lang="en-US" sz="1400" b="1" dirty="0">
              <a:solidFill>
                <a:srgbClr val="003399"/>
              </a:solidFill>
              <a:latin typeface="+mj-lt"/>
            </a:endParaRPr>
          </a:p>
        </p:txBody>
      </p:sp>
      <p:pic>
        <p:nvPicPr>
          <p:cNvPr id="186" name="Picture 18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3726" y="4567680"/>
            <a:ext cx="502450" cy="504192"/>
          </a:xfrm>
          <a:prstGeom prst="rect">
            <a:avLst/>
          </a:prstGeom>
        </p:spPr>
      </p:pic>
      <p:pic>
        <p:nvPicPr>
          <p:cNvPr id="187" name="Picture 18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9313" y="4562492"/>
            <a:ext cx="502450" cy="504192"/>
          </a:xfrm>
          <a:prstGeom prst="rect">
            <a:avLst/>
          </a:prstGeom>
        </p:spPr>
      </p:pic>
      <p:sp>
        <p:nvSpPr>
          <p:cNvPr id="188" name="TextBox 187"/>
          <p:cNvSpPr txBox="1"/>
          <p:nvPr/>
        </p:nvSpPr>
        <p:spPr>
          <a:xfrm>
            <a:off x="1432596" y="4681691"/>
            <a:ext cx="2033837" cy="246221"/>
          </a:xfrm>
          <a:prstGeom prst="rect">
            <a:avLst/>
          </a:prstGeom>
          <a:noFill/>
          <a:ln>
            <a:noFill/>
          </a:ln>
        </p:spPr>
        <p:txBody>
          <a:bodyPr wrap="square" rtlCol="0" anchor="ctr">
            <a:spAutoFit/>
          </a:bodyPr>
          <a:lstStyle/>
          <a:p>
            <a:r>
              <a:rPr lang="en-US" sz="1000" b="1" dirty="0">
                <a:latin typeface="Calibri" panose="020F0502020204030204" pitchFamily="34" charset="0"/>
              </a:rPr>
              <a:t>Open topic </a:t>
            </a:r>
            <a:r>
              <a:rPr lang="en-US" sz="1000" b="1" dirty="0" smtClean="0">
                <a:latin typeface="Calibri" panose="020F0502020204030204" pitchFamily="34" charset="0"/>
              </a:rPr>
              <a:t>competitions </a:t>
            </a:r>
            <a:endParaRPr lang="en-US" sz="1000" b="1" i="1" dirty="0">
              <a:latin typeface="Calibri" panose="020F0502020204030204" pitchFamily="34" charset="0"/>
            </a:endParaRPr>
          </a:p>
        </p:txBody>
      </p:sp>
      <p:pic>
        <p:nvPicPr>
          <p:cNvPr id="192" name="Picture 19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8002" y="5164123"/>
            <a:ext cx="495846" cy="497566"/>
          </a:xfrm>
          <a:prstGeom prst="rect">
            <a:avLst/>
          </a:prstGeom>
        </p:spPr>
      </p:pic>
      <p:pic>
        <p:nvPicPr>
          <p:cNvPr id="193" name="Picture 19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00415" y="5165446"/>
            <a:ext cx="495846" cy="497566"/>
          </a:xfrm>
          <a:prstGeom prst="rect">
            <a:avLst/>
          </a:prstGeom>
        </p:spPr>
      </p:pic>
      <p:sp>
        <p:nvSpPr>
          <p:cNvPr id="194" name="TextBox 193"/>
          <p:cNvSpPr txBox="1"/>
          <p:nvPr/>
        </p:nvSpPr>
        <p:spPr>
          <a:xfrm>
            <a:off x="231040" y="5615337"/>
            <a:ext cx="3149429" cy="1015663"/>
          </a:xfrm>
          <a:prstGeom prst="rect">
            <a:avLst/>
          </a:prstGeom>
          <a:noFill/>
          <a:ln>
            <a:noFill/>
          </a:ln>
        </p:spPr>
        <p:txBody>
          <a:bodyPr wrap="square" rtlCol="0" anchor="ctr">
            <a:spAutoFit/>
          </a:bodyPr>
          <a:lstStyle/>
          <a:p>
            <a:r>
              <a:rPr lang="en-US" sz="1000" b="1" dirty="0" smtClean="0"/>
              <a:t>DOE - Modular </a:t>
            </a:r>
            <a:r>
              <a:rPr lang="en-US" sz="1000" b="1" dirty="0"/>
              <a:t>Chemical Process Intensification</a:t>
            </a:r>
            <a:endParaRPr lang="en-US" sz="1000" b="1" dirty="0" smtClean="0"/>
          </a:p>
          <a:p>
            <a:r>
              <a:rPr lang="en-US" sz="1000" b="1" dirty="0" smtClean="0"/>
              <a:t>DOE - Reducing </a:t>
            </a:r>
            <a:r>
              <a:rPr lang="en-US" sz="1000" b="1" dirty="0" err="1"/>
              <a:t>EMbodied</a:t>
            </a:r>
            <a:r>
              <a:rPr lang="en-US" sz="1000" b="1" dirty="0"/>
              <a:t>-energy And Decreasing </a:t>
            </a:r>
            <a:r>
              <a:rPr lang="en-US" sz="1000" b="1" dirty="0" smtClean="0"/>
              <a:t>Emissions</a:t>
            </a:r>
          </a:p>
          <a:p>
            <a:r>
              <a:rPr lang="en-US" sz="1000" b="1" dirty="0" smtClean="0"/>
              <a:t>DOD - </a:t>
            </a:r>
            <a:r>
              <a:rPr lang="en-US" sz="1000" b="1" dirty="0"/>
              <a:t>Advanced Tissue </a:t>
            </a:r>
            <a:r>
              <a:rPr lang="en-US" sz="1000" b="1" dirty="0" err="1"/>
              <a:t>Biofabrication</a:t>
            </a:r>
            <a:endParaRPr lang="en-US" sz="1000" b="1" dirty="0"/>
          </a:p>
          <a:p>
            <a:r>
              <a:rPr lang="en-US" sz="1000" b="1" dirty="0" smtClean="0"/>
              <a:t>DOD – TBD topic</a:t>
            </a:r>
          </a:p>
          <a:p>
            <a:endParaRPr lang="en-US" sz="1000" b="1" dirty="0"/>
          </a:p>
        </p:txBody>
      </p:sp>
      <p:pic>
        <p:nvPicPr>
          <p:cNvPr id="117" name="Picture 116"/>
          <p:cNvPicPr>
            <a:picLocks/>
          </p:cNvPicPr>
          <p:nvPr/>
        </p:nvPicPr>
        <p:blipFill>
          <a:blip r:embed="rId5" cstate="screen">
            <a:extLst>
              <a:ext uri="{28A0092B-C50C-407E-A947-70E740481C1C}">
                <a14:useLocalDpi xmlns:a14="http://schemas.microsoft.com/office/drawing/2010/main"/>
              </a:ext>
            </a:extLst>
          </a:blip>
          <a:stretch>
            <a:fillRect/>
          </a:stretch>
        </p:blipFill>
        <p:spPr>
          <a:xfrm>
            <a:off x="8119249" y="2427810"/>
            <a:ext cx="744690" cy="746675"/>
          </a:xfrm>
          <a:prstGeom prst="rect">
            <a:avLst/>
          </a:prstGeom>
          <a:effectLst>
            <a:outerShdw blurRad="50800" dist="38100" dir="3600000" algn="ctr" rotWithShape="0">
              <a:schemeClr val="tx2">
                <a:lumMod val="50000"/>
                <a:alpha val="60000"/>
              </a:schemeClr>
            </a:outerShdw>
          </a:effectLst>
        </p:spPr>
      </p:pic>
      <p:sp>
        <p:nvSpPr>
          <p:cNvPr id="122" name="Rectangle 121"/>
          <p:cNvSpPr/>
          <p:nvPr/>
        </p:nvSpPr>
        <p:spPr>
          <a:xfrm>
            <a:off x="3879897" y="5666995"/>
            <a:ext cx="1116334" cy="936212"/>
          </a:xfrm>
          <a:prstGeom prst="rect">
            <a:avLst/>
          </a:prstGeom>
          <a:ln/>
          <a:effectLst>
            <a:outerShdw blurRad="50800" dist="38100" dir="3600000" algn="ctr" rotWithShape="0">
              <a:srgbClr val="000000">
                <a:alpha val="60000"/>
              </a:srgb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a:solidFill>
                <a:schemeClr val="accent6"/>
              </a:solidFill>
            </a:endParaRPr>
          </a:p>
        </p:txBody>
      </p:sp>
      <p:cxnSp>
        <p:nvCxnSpPr>
          <p:cNvPr id="132" name="Elbow Connector 131"/>
          <p:cNvCxnSpPr/>
          <p:nvPr/>
        </p:nvCxnSpPr>
        <p:spPr>
          <a:xfrm rot="5400000">
            <a:off x="5930085" y="4815215"/>
            <a:ext cx="1590277" cy="193520"/>
          </a:xfrm>
          <a:prstGeom prst="bentConnector3">
            <a:avLst>
              <a:gd name="adj1" fmla="val 103674"/>
            </a:avLst>
          </a:prstGeom>
          <a:ln w="47625">
            <a:solidFill>
              <a:srgbClr val="C00000"/>
            </a:solidFill>
            <a:prstDash val="sysDot"/>
          </a:ln>
        </p:spPr>
        <p:style>
          <a:lnRef idx="2">
            <a:schemeClr val="accent1"/>
          </a:lnRef>
          <a:fillRef idx="0">
            <a:schemeClr val="accent1"/>
          </a:fillRef>
          <a:effectRef idx="1">
            <a:schemeClr val="accent1"/>
          </a:effectRef>
          <a:fontRef idx="minor">
            <a:schemeClr val="tx1"/>
          </a:fontRef>
        </p:style>
      </p:cxnSp>
      <p:sp>
        <p:nvSpPr>
          <p:cNvPr id="134" name="Oval 133"/>
          <p:cNvSpPr/>
          <p:nvPr/>
        </p:nvSpPr>
        <p:spPr>
          <a:xfrm flipH="1">
            <a:off x="6724372" y="3998052"/>
            <a:ext cx="176729" cy="177341"/>
          </a:xfrm>
          <a:prstGeom prst="ellipse">
            <a:avLst/>
          </a:prstGeom>
          <a:solidFill>
            <a:schemeClr val="accent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cxnSp>
        <p:nvCxnSpPr>
          <p:cNvPr id="140" name="Elbow Connector 139"/>
          <p:cNvCxnSpPr/>
          <p:nvPr/>
        </p:nvCxnSpPr>
        <p:spPr>
          <a:xfrm rot="5400000">
            <a:off x="4048122" y="3715713"/>
            <a:ext cx="2371511" cy="1521949"/>
          </a:xfrm>
          <a:prstGeom prst="bentConnector3">
            <a:avLst>
              <a:gd name="adj1" fmla="val 50000"/>
            </a:avLst>
          </a:prstGeom>
          <a:ln w="47625">
            <a:solidFill>
              <a:srgbClr val="C00000"/>
            </a:solidFill>
            <a:prstDash val="sysDot"/>
          </a:ln>
        </p:spPr>
        <p:style>
          <a:lnRef idx="2">
            <a:schemeClr val="accent1"/>
          </a:lnRef>
          <a:fillRef idx="0">
            <a:schemeClr val="accent1"/>
          </a:fillRef>
          <a:effectRef idx="1">
            <a:schemeClr val="accent1"/>
          </a:effectRef>
          <a:fontRef idx="minor">
            <a:schemeClr val="tx1"/>
          </a:fontRef>
        </p:style>
      </p:cxnSp>
      <p:sp>
        <p:nvSpPr>
          <p:cNvPr id="143" name="Oval 142"/>
          <p:cNvSpPr/>
          <p:nvPr/>
        </p:nvSpPr>
        <p:spPr>
          <a:xfrm flipH="1">
            <a:off x="5906486" y="3088729"/>
            <a:ext cx="176729" cy="177341"/>
          </a:xfrm>
          <a:prstGeom prst="ellipse">
            <a:avLst/>
          </a:prstGeom>
          <a:solidFill>
            <a:schemeClr val="accent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9" name="Rectangle 128"/>
          <p:cNvSpPr/>
          <p:nvPr/>
        </p:nvSpPr>
        <p:spPr>
          <a:xfrm>
            <a:off x="6508266" y="5665012"/>
            <a:ext cx="1122930" cy="936212"/>
          </a:xfrm>
          <a:prstGeom prst="rect">
            <a:avLst/>
          </a:prstGeom>
          <a:ln/>
          <a:effectLst>
            <a:outerShdw blurRad="63500" dist="38100" dir="3600000" algn="ctr" rotWithShape="0">
              <a:schemeClr val="tx2">
                <a:lumMod val="50000"/>
                <a:alpha val="60000"/>
              </a:scheme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a:solidFill>
                <a:schemeClr val="accent6"/>
              </a:solidFill>
            </a:endParaRPr>
          </a:p>
        </p:txBody>
      </p:sp>
      <p:cxnSp>
        <p:nvCxnSpPr>
          <p:cNvPr id="151" name="Elbow Connector 150"/>
          <p:cNvCxnSpPr>
            <a:endCxn id="119" idx="2"/>
          </p:cNvCxnSpPr>
          <p:nvPr/>
        </p:nvCxnSpPr>
        <p:spPr>
          <a:xfrm rot="16200000" flipV="1">
            <a:off x="5956337" y="2202911"/>
            <a:ext cx="1186404" cy="870984"/>
          </a:xfrm>
          <a:prstGeom prst="bentConnector3">
            <a:avLst>
              <a:gd name="adj1" fmla="val 50000"/>
            </a:avLst>
          </a:prstGeom>
          <a:ln w="47625">
            <a:solidFill>
              <a:srgbClr val="C00000"/>
            </a:solidFill>
            <a:prstDash val="sysDot"/>
          </a:ln>
        </p:spPr>
        <p:style>
          <a:lnRef idx="2">
            <a:schemeClr val="accent1"/>
          </a:lnRef>
          <a:fillRef idx="0">
            <a:schemeClr val="accent1"/>
          </a:fillRef>
          <a:effectRef idx="1">
            <a:schemeClr val="accent1"/>
          </a:effectRef>
          <a:fontRef idx="minor">
            <a:schemeClr val="tx1"/>
          </a:fontRef>
        </p:style>
      </p:cxnSp>
      <p:sp>
        <p:nvSpPr>
          <p:cNvPr id="160" name="TextBox 159"/>
          <p:cNvSpPr txBox="1"/>
          <p:nvPr/>
        </p:nvSpPr>
        <p:spPr>
          <a:xfrm>
            <a:off x="3891807" y="6053561"/>
            <a:ext cx="1102960" cy="583647"/>
          </a:xfrm>
          <a:prstGeom prst="rect">
            <a:avLst/>
          </a:prstGeom>
          <a:noFill/>
        </p:spPr>
        <p:txBody>
          <a:bodyPr wrap="square" rtlCol="0">
            <a:spAutoFit/>
          </a:bodyPr>
          <a:lstStyle/>
          <a:p>
            <a:pPr algn="ctr">
              <a:lnSpc>
                <a:spcPts val="675"/>
              </a:lnSpc>
            </a:pPr>
            <a:r>
              <a:rPr lang="en-US" sz="675">
                <a:latin typeface="Calibri" panose="020F0502020204030204" pitchFamily="34" charset="0"/>
              </a:rPr>
              <a:t>Digital Manufacturing </a:t>
            </a:r>
            <a:br>
              <a:rPr lang="en-US" sz="675">
                <a:latin typeface="Calibri" panose="020F0502020204030204" pitchFamily="34" charset="0"/>
              </a:rPr>
            </a:br>
            <a:r>
              <a:rPr lang="en-US" sz="675">
                <a:latin typeface="Calibri" panose="020F0502020204030204" pitchFamily="34" charset="0"/>
              </a:rPr>
              <a:t>&amp; Design</a:t>
            </a:r>
          </a:p>
          <a:p>
            <a:pPr algn="ctr">
              <a:lnSpc>
                <a:spcPts val="675"/>
              </a:lnSpc>
            </a:pPr>
            <a:r>
              <a:rPr lang="en-US" sz="675" b="1" i="1">
                <a:latin typeface="Calibri" panose="020F0502020204030204" pitchFamily="34" charset="0"/>
              </a:rPr>
              <a:t>Chicago, IL</a:t>
            </a:r>
          </a:p>
        </p:txBody>
      </p:sp>
      <p:pic>
        <p:nvPicPr>
          <p:cNvPr id="162" name="Picture 16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017692" y="5723690"/>
            <a:ext cx="847556" cy="308305"/>
          </a:xfrm>
          <a:prstGeom prst="rect">
            <a:avLst/>
          </a:prstGeom>
        </p:spPr>
      </p:pic>
      <p:pic>
        <p:nvPicPr>
          <p:cNvPr id="120" name="Picture 119"/>
          <p:cNvPicPr>
            <a:picLocks noChangeAspect="1"/>
          </p:cNvPicPr>
          <p:nvPr/>
        </p:nvPicPr>
        <p:blipFill rotWithShape="1">
          <a:blip r:embed="rId7" cstate="screen">
            <a:extLst>
              <a:ext uri="{28A0092B-C50C-407E-A947-70E740481C1C}">
                <a14:useLocalDpi xmlns:a14="http://schemas.microsoft.com/office/drawing/2010/main"/>
              </a:ext>
            </a:extLst>
          </a:blip>
          <a:srcRect r="-1299"/>
          <a:stretch/>
        </p:blipFill>
        <p:spPr>
          <a:xfrm>
            <a:off x="6686162" y="5713650"/>
            <a:ext cx="724296" cy="367655"/>
          </a:xfrm>
          <a:prstGeom prst="rect">
            <a:avLst/>
          </a:prstGeom>
        </p:spPr>
      </p:pic>
      <p:sp>
        <p:nvSpPr>
          <p:cNvPr id="124" name="TextBox 123"/>
          <p:cNvSpPr txBox="1"/>
          <p:nvPr/>
        </p:nvSpPr>
        <p:spPr>
          <a:xfrm>
            <a:off x="6507203" y="6108007"/>
            <a:ext cx="1110316" cy="464264"/>
          </a:xfrm>
          <a:prstGeom prst="rect">
            <a:avLst/>
          </a:prstGeom>
          <a:noFill/>
        </p:spPr>
        <p:txBody>
          <a:bodyPr wrap="square" lIns="0" tIns="0" rIns="0" bIns="0" rtlCol="0">
            <a:spAutoFit/>
          </a:bodyPr>
          <a:lstStyle/>
          <a:p>
            <a:pPr algn="ctr">
              <a:lnSpc>
                <a:spcPts val="675"/>
              </a:lnSpc>
            </a:pPr>
            <a:r>
              <a:rPr lang="en-US" sz="675">
                <a:latin typeface="Calibri" panose="020F0502020204030204" pitchFamily="34" charset="0"/>
              </a:rPr>
              <a:t>Advanced </a:t>
            </a:r>
            <a:br>
              <a:rPr lang="en-US" sz="675">
                <a:latin typeface="Calibri" panose="020F0502020204030204" pitchFamily="34" charset="0"/>
              </a:rPr>
            </a:br>
            <a:r>
              <a:rPr lang="en-US" sz="675">
                <a:latin typeface="Calibri" panose="020F0502020204030204" pitchFamily="34" charset="0"/>
              </a:rPr>
              <a:t>Fiber-Reinforced </a:t>
            </a:r>
            <a:br>
              <a:rPr lang="en-US" sz="675">
                <a:latin typeface="Calibri" panose="020F0502020204030204" pitchFamily="34" charset="0"/>
              </a:rPr>
            </a:br>
            <a:r>
              <a:rPr lang="en-US" sz="675">
                <a:latin typeface="Calibri" panose="020F0502020204030204" pitchFamily="34" charset="0"/>
              </a:rPr>
              <a:t>Polymer Composites</a:t>
            </a:r>
          </a:p>
          <a:p>
            <a:pPr algn="ctr">
              <a:lnSpc>
                <a:spcPts val="675"/>
              </a:lnSpc>
            </a:pPr>
            <a:r>
              <a:rPr lang="en-US" sz="675" b="1" i="1">
                <a:latin typeface="Calibri" panose="020F0502020204030204" pitchFamily="34" charset="0"/>
              </a:rPr>
              <a:t>Knoxville, TN</a:t>
            </a:r>
          </a:p>
        </p:txBody>
      </p:sp>
      <p:sp>
        <p:nvSpPr>
          <p:cNvPr id="155" name="Oval 154"/>
          <p:cNvSpPr/>
          <p:nvPr/>
        </p:nvSpPr>
        <p:spPr>
          <a:xfrm flipH="1">
            <a:off x="6887418" y="3054265"/>
            <a:ext cx="176729" cy="177341"/>
          </a:xfrm>
          <a:prstGeom prst="ellipse">
            <a:avLst/>
          </a:prstGeom>
          <a:solidFill>
            <a:schemeClr val="accent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71" name="Group 70"/>
          <p:cNvGrpSpPr/>
          <p:nvPr/>
        </p:nvGrpSpPr>
        <p:grpSpPr>
          <a:xfrm>
            <a:off x="4822402" y="1170248"/>
            <a:ext cx="2410346" cy="330245"/>
            <a:chOff x="6796774" y="5824861"/>
            <a:chExt cx="3188510" cy="435353"/>
          </a:xfrm>
        </p:grpSpPr>
        <p:pic>
          <p:nvPicPr>
            <p:cNvPr id="163" name="Picture 162"/>
            <p:cNvPicPr>
              <a:picLocks noChangeAspect="1"/>
            </p:cNvPicPr>
            <p:nvPr/>
          </p:nvPicPr>
          <p:blipFill rotWithShape="1">
            <a:blip r:embed="rId8" cstate="screen">
              <a:extLst>
                <a:ext uri="{28A0092B-C50C-407E-A947-70E740481C1C}">
                  <a14:useLocalDpi xmlns:a14="http://schemas.microsoft.com/office/drawing/2010/main"/>
                </a:ext>
              </a:extLst>
            </a:blip>
            <a:srcRect l="-170336"/>
            <a:stretch/>
          </p:blipFill>
          <p:spPr>
            <a:xfrm>
              <a:off x="6796774" y="5824861"/>
              <a:ext cx="2124920" cy="222214"/>
            </a:xfrm>
            <a:prstGeom prst="rect">
              <a:avLst/>
            </a:prstGeom>
          </p:spPr>
        </p:pic>
        <p:pic>
          <p:nvPicPr>
            <p:cNvPr id="104" name="Picture 103"/>
            <p:cNvPicPr>
              <a:picLocks noChangeAspect="1"/>
            </p:cNvPicPr>
            <p:nvPr/>
          </p:nvPicPr>
          <p:blipFill rotWithShape="1">
            <a:blip r:embed="rId9" cstate="email">
              <a:extLst>
                <a:ext uri="{28A0092B-C50C-407E-A947-70E740481C1C}">
                  <a14:useLocalDpi xmlns:a14="http://schemas.microsoft.com/office/drawing/2010/main"/>
                </a:ext>
              </a:extLst>
            </a:blip>
            <a:srcRect l="38011" r="-38011"/>
            <a:stretch/>
          </p:blipFill>
          <p:spPr>
            <a:xfrm>
              <a:off x="7860364" y="6038000"/>
              <a:ext cx="2124920" cy="222214"/>
            </a:xfrm>
            <a:prstGeom prst="rect">
              <a:avLst/>
            </a:prstGeom>
          </p:spPr>
        </p:pic>
      </p:grpSp>
      <p:cxnSp>
        <p:nvCxnSpPr>
          <p:cNvPr id="157" name="Elbow Connector 156"/>
          <p:cNvCxnSpPr/>
          <p:nvPr/>
        </p:nvCxnSpPr>
        <p:spPr>
          <a:xfrm rot="5400000">
            <a:off x="4700219" y="3996779"/>
            <a:ext cx="2821426" cy="890977"/>
          </a:xfrm>
          <a:prstGeom prst="bentConnector3">
            <a:avLst>
              <a:gd name="adj1" fmla="val 67630"/>
            </a:avLst>
          </a:prstGeom>
          <a:ln w="47625">
            <a:solidFill>
              <a:srgbClr val="C00000"/>
            </a:solidFill>
            <a:prstDash val="sysDot"/>
          </a:ln>
        </p:spPr>
        <p:style>
          <a:lnRef idx="2">
            <a:schemeClr val="accent1"/>
          </a:lnRef>
          <a:fillRef idx="0">
            <a:schemeClr val="accent1"/>
          </a:fillRef>
          <a:effectRef idx="1">
            <a:schemeClr val="accent1"/>
          </a:effectRef>
          <a:fontRef idx="minor">
            <a:schemeClr val="tx1"/>
          </a:fontRef>
        </p:style>
      </p:cxnSp>
      <p:sp>
        <p:nvSpPr>
          <p:cNvPr id="166" name="Oval 165"/>
          <p:cNvSpPr/>
          <p:nvPr/>
        </p:nvSpPr>
        <p:spPr>
          <a:xfrm flipH="1">
            <a:off x="6467068" y="2887362"/>
            <a:ext cx="176729" cy="177341"/>
          </a:xfrm>
          <a:prstGeom prst="ellipse">
            <a:avLst/>
          </a:prstGeom>
          <a:solidFill>
            <a:schemeClr val="accent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8" name="Rectangle 117"/>
          <p:cNvSpPr/>
          <p:nvPr/>
        </p:nvSpPr>
        <p:spPr>
          <a:xfrm>
            <a:off x="5195121" y="5669398"/>
            <a:ext cx="1114258" cy="936212"/>
          </a:xfrm>
          <a:prstGeom prst="rect">
            <a:avLst/>
          </a:prstGeom>
          <a:ln/>
          <a:effectLst>
            <a:outerShdw blurRad="50800" dist="38100" dir="3600000" algn="ctr" rotWithShape="0">
              <a:schemeClr val="tx2">
                <a:lumMod val="50000"/>
                <a:alpha val="60000"/>
              </a:scheme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a:solidFill>
                <a:schemeClr val="accent6"/>
              </a:solidFill>
            </a:endParaRPr>
          </a:p>
        </p:txBody>
      </p:sp>
      <p:sp>
        <p:nvSpPr>
          <p:cNvPr id="153" name="TextBox 152"/>
          <p:cNvSpPr txBox="1"/>
          <p:nvPr/>
        </p:nvSpPr>
        <p:spPr>
          <a:xfrm>
            <a:off x="5198083" y="6173850"/>
            <a:ext cx="1111295" cy="467580"/>
          </a:xfrm>
          <a:prstGeom prst="rect">
            <a:avLst/>
          </a:prstGeom>
          <a:noFill/>
        </p:spPr>
        <p:txBody>
          <a:bodyPr wrap="square" rtlCol="0">
            <a:spAutoFit/>
          </a:bodyPr>
          <a:lstStyle/>
          <a:p>
            <a:pPr algn="ctr">
              <a:lnSpc>
                <a:spcPts val="675"/>
              </a:lnSpc>
            </a:pPr>
            <a:r>
              <a:rPr lang="en-US" sz="675">
                <a:latin typeface="Calibri" panose="020F0502020204030204" pitchFamily="34" charset="0"/>
              </a:rPr>
              <a:t>Lightweight Metal Manufacturing</a:t>
            </a:r>
          </a:p>
          <a:p>
            <a:pPr algn="ctr">
              <a:lnSpc>
                <a:spcPts val="675"/>
              </a:lnSpc>
            </a:pPr>
            <a:r>
              <a:rPr lang="en-US" sz="675" b="1" i="1">
                <a:latin typeface="Calibri" panose="020F0502020204030204" pitchFamily="34" charset="0"/>
              </a:rPr>
              <a:t>Detroit, MI</a:t>
            </a:r>
          </a:p>
        </p:txBody>
      </p:sp>
      <p:pic>
        <p:nvPicPr>
          <p:cNvPr id="109" name="Picture 108"/>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367388" y="5713649"/>
            <a:ext cx="632419" cy="318344"/>
          </a:xfrm>
          <a:prstGeom prst="rect">
            <a:avLst/>
          </a:prstGeom>
        </p:spPr>
      </p:pic>
      <p:cxnSp>
        <p:nvCxnSpPr>
          <p:cNvPr id="169" name="Elbow Connector 168"/>
          <p:cNvCxnSpPr/>
          <p:nvPr/>
        </p:nvCxnSpPr>
        <p:spPr>
          <a:xfrm rot="5400000" flipH="1" flipV="1">
            <a:off x="7175134" y="1745326"/>
            <a:ext cx="906533" cy="683935"/>
          </a:xfrm>
          <a:prstGeom prst="bentConnector4">
            <a:avLst>
              <a:gd name="adj1" fmla="val 13240"/>
              <a:gd name="adj2" fmla="val 133507"/>
            </a:avLst>
          </a:prstGeom>
          <a:ln w="47625">
            <a:solidFill>
              <a:srgbClr val="C00000"/>
            </a:solidFill>
            <a:prstDash val="sysDot"/>
          </a:ln>
        </p:spPr>
        <p:style>
          <a:lnRef idx="2">
            <a:schemeClr val="accent1"/>
          </a:lnRef>
          <a:fillRef idx="0">
            <a:schemeClr val="accent1"/>
          </a:fillRef>
          <a:effectRef idx="1">
            <a:schemeClr val="accent1"/>
          </a:effectRef>
          <a:fontRef idx="minor">
            <a:schemeClr val="tx1"/>
          </a:fontRef>
        </p:style>
      </p:cxnSp>
      <p:sp>
        <p:nvSpPr>
          <p:cNvPr id="170" name="Oval 169"/>
          <p:cNvSpPr/>
          <p:nvPr/>
        </p:nvSpPr>
        <p:spPr>
          <a:xfrm flipH="1">
            <a:off x="7193394" y="2531162"/>
            <a:ext cx="176729" cy="177341"/>
          </a:xfrm>
          <a:prstGeom prst="ellipse">
            <a:avLst/>
          </a:prstGeom>
          <a:solidFill>
            <a:schemeClr val="accent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nvGrpSpPr>
          <p:cNvPr id="103" name="Group 102"/>
          <p:cNvGrpSpPr/>
          <p:nvPr/>
        </p:nvGrpSpPr>
        <p:grpSpPr>
          <a:xfrm>
            <a:off x="6872971" y="1081521"/>
            <a:ext cx="1108804" cy="949629"/>
            <a:chOff x="7801114" y="709471"/>
            <a:chExt cx="1147398" cy="979285"/>
          </a:xfrm>
          <a:effectLst>
            <a:outerShdw blurRad="50800" dist="38100" dir="3600000" algn="ctr" rotWithShape="0">
              <a:schemeClr val="tx2">
                <a:lumMod val="50000"/>
                <a:alpha val="60000"/>
              </a:schemeClr>
            </a:outerShdw>
          </a:effectLst>
        </p:grpSpPr>
        <p:sp>
          <p:nvSpPr>
            <p:cNvPr id="141" name="Rectangle 140"/>
            <p:cNvSpPr/>
            <p:nvPr/>
          </p:nvSpPr>
          <p:spPr>
            <a:xfrm>
              <a:off x="7801115" y="709471"/>
              <a:ext cx="1147397" cy="968174"/>
            </a:xfrm>
            <a:prstGeom prst="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a:solidFill>
                  <a:schemeClr val="accent6"/>
                </a:solidFill>
              </a:endParaRPr>
            </a:p>
          </p:txBody>
        </p:sp>
        <p:sp>
          <p:nvSpPr>
            <p:cNvPr id="142" name="TextBox 141"/>
            <p:cNvSpPr txBox="1"/>
            <p:nvPr/>
          </p:nvSpPr>
          <p:spPr>
            <a:xfrm>
              <a:off x="7801114" y="1206575"/>
              <a:ext cx="1147398" cy="482181"/>
            </a:xfrm>
            <a:prstGeom prst="rect">
              <a:avLst/>
            </a:prstGeom>
            <a:noFill/>
          </p:spPr>
          <p:txBody>
            <a:bodyPr wrap="square" rtlCol="0">
              <a:spAutoFit/>
            </a:bodyPr>
            <a:lstStyle/>
            <a:p>
              <a:pPr algn="ctr">
                <a:lnSpc>
                  <a:spcPts val="675"/>
                </a:lnSpc>
              </a:pPr>
              <a:r>
                <a:rPr lang="en-US" sz="675">
                  <a:latin typeface="Calibri" panose="020F0502020204030204" pitchFamily="34" charset="0"/>
                </a:rPr>
                <a:t>Integrated Photonics</a:t>
              </a:r>
            </a:p>
            <a:p>
              <a:pPr algn="ctr">
                <a:lnSpc>
                  <a:spcPts val="675"/>
                </a:lnSpc>
              </a:pPr>
              <a:r>
                <a:rPr lang="en-US" sz="675" b="1" i="1">
                  <a:latin typeface="Calibri" panose="020F0502020204030204" pitchFamily="34" charset="0"/>
                </a:rPr>
                <a:t>Rochester, NY</a:t>
              </a:r>
            </a:p>
          </p:txBody>
        </p:sp>
        <p:pic>
          <p:nvPicPr>
            <p:cNvPr id="164" name="Picture 163"/>
            <p:cNvPicPr>
              <a:picLocks noChangeAspect="1"/>
            </p:cNvPicPr>
            <p:nvPr/>
          </p:nvPicPr>
          <p:blipFill rotWithShape="1">
            <a:blip r:embed="rId11" cstate="email">
              <a:extLst>
                <a:ext uri="{28A0092B-C50C-407E-A947-70E740481C1C}">
                  <a14:useLocalDpi xmlns:a14="http://schemas.microsoft.com/office/drawing/2010/main"/>
                </a:ext>
              </a:extLst>
            </a:blip>
            <a:srcRect l="5331" t="4718" r="2706" b="27842"/>
            <a:stretch/>
          </p:blipFill>
          <p:spPr>
            <a:xfrm>
              <a:off x="7893657" y="772320"/>
              <a:ext cx="965535" cy="400057"/>
            </a:xfrm>
            <a:prstGeom prst="rect">
              <a:avLst/>
            </a:prstGeom>
          </p:spPr>
        </p:pic>
      </p:grpSp>
      <p:grpSp>
        <p:nvGrpSpPr>
          <p:cNvPr id="59" name="Group 58"/>
          <p:cNvGrpSpPr/>
          <p:nvPr/>
        </p:nvGrpSpPr>
        <p:grpSpPr>
          <a:xfrm>
            <a:off x="4174503" y="1053843"/>
            <a:ext cx="1154540" cy="969282"/>
            <a:chOff x="2126976" y="1068484"/>
            <a:chExt cx="1154540" cy="969282"/>
          </a:xfrm>
        </p:grpSpPr>
        <p:sp>
          <p:nvSpPr>
            <p:cNvPr id="123" name="Rectangle 122"/>
            <p:cNvSpPr/>
            <p:nvPr/>
          </p:nvSpPr>
          <p:spPr>
            <a:xfrm>
              <a:off x="2126976" y="1068484"/>
              <a:ext cx="1120679" cy="936211"/>
            </a:xfrm>
            <a:prstGeom prst="rect">
              <a:avLst/>
            </a:prstGeom>
            <a:ln/>
            <a:effectLst>
              <a:outerShdw blurRad="50800" dist="38100" dir="3600000" algn="ctr" rotWithShape="0">
                <a:schemeClr val="tx2">
                  <a:lumMod val="50000"/>
                  <a:alpha val="60000"/>
                </a:scheme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350">
                <a:solidFill>
                  <a:schemeClr val="accent6"/>
                </a:solidFill>
              </a:endParaRPr>
            </a:p>
          </p:txBody>
        </p:sp>
        <p:sp>
          <p:nvSpPr>
            <p:cNvPr id="148" name="TextBox 147"/>
            <p:cNvSpPr txBox="1"/>
            <p:nvPr/>
          </p:nvSpPr>
          <p:spPr>
            <a:xfrm>
              <a:off x="2159028" y="1765897"/>
              <a:ext cx="1122488" cy="271869"/>
            </a:xfrm>
            <a:prstGeom prst="rect">
              <a:avLst/>
            </a:prstGeom>
            <a:noFill/>
          </p:spPr>
          <p:txBody>
            <a:bodyPr wrap="square" rtlCol="0">
              <a:spAutoFit/>
            </a:bodyPr>
            <a:lstStyle/>
            <a:p>
              <a:pPr algn="ctr">
                <a:lnSpc>
                  <a:spcPts val="675"/>
                </a:lnSpc>
              </a:pPr>
              <a:r>
                <a:rPr lang="en-US" sz="675" dirty="0" smtClean="0">
                  <a:latin typeface="Calibri" panose="020F0502020204030204" pitchFamily="34" charset="0"/>
                </a:rPr>
                <a:t>Flexible Hybrid Electronics</a:t>
              </a:r>
            </a:p>
            <a:p>
              <a:pPr algn="ctr">
                <a:lnSpc>
                  <a:spcPts val="675"/>
                </a:lnSpc>
              </a:pPr>
              <a:r>
                <a:rPr lang="en-US" sz="675" dirty="0" smtClean="0">
                  <a:latin typeface="Calibri" panose="020F0502020204030204" pitchFamily="34" charset="0"/>
                </a:rPr>
                <a:t>San Jose, CA</a:t>
              </a:r>
              <a:endParaRPr lang="en-US" sz="675" b="1" i="1" dirty="0">
                <a:latin typeface="Calibri" panose="020F0502020204030204" pitchFamily="34" charset="0"/>
              </a:endParaRPr>
            </a:p>
          </p:txBody>
        </p:sp>
        <p:pic>
          <p:nvPicPr>
            <p:cNvPr id="183" name="Picture 182"/>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2334037" y="1117524"/>
              <a:ext cx="711803" cy="620514"/>
            </a:xfrm>
            <a:prstGeom prst="ellipse">
              <a:avLst/>
            </a:prstGeom>
            <a:ln w="19050" cap="rnd">
              <a:solidFill>
                <a:srgbClr val="333333"/>
              </a:solidFill>
            </a:ln>
            <a:effectLst>
              <a:outerShdw blurRad="50800" dist="38100" dir="3600000" algn="ctr" rotWithShape="0">
                <a:schemeClr val="tx2">
                  <a:lumMod val="50000"/>
                  <a:alpha val="60000"/>
                </a:schemeClr>
              </a:outerShdw>
            </a:effectLst>
            <a:scene3d>
              <a:camera prst="orthographicFront"/>
              <a:lightRig rig="contrasting" dir="t">
                <a:rot lat="0" lon="0" rev="3000000"/>
              </a:lightRig>
            </a:scene3d>
            <a:sp3d contourW="7620">
              <a:bevelT w="95250" h="31750"/>
              <a:contourClr>
                <a:srgbClr val="333333"/>
              </a:contourClr>
            </a:sp3d>
          </p:spPr>
        </p:pic>
      </p:grpSp>
      <p:sp>
        <p:nvSpPr>
          <p:cNvPr id="113" name="Title 5"/>
          <p:cNvSpPr txBox="1">
            <a:spLocks/>
          </p:cNvSpPr>
          <p:nvPr/>
        </p:nvSpPr>
        <p:spPr>
          <a:xfrm>
            <a:off x="0" y="23268"/>
            <a:ext cx="9144000" cy="912411"/>
          </a:xfrm>
          <a:prstGeom prst="rect">
            <a:avLst/>
          </a:prstGeom>
          <a:solidFill>
            <a:srgbClr val="002060"/>
          </a:solidFill>
        </p:spPr>
        <p:txBody>
          <a:bodyPr rtlCol="0">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600" b="1" dirty="0">
                <a:solidFill>
                  <a:schemeClr val="bg1"/>
                </a:solidFill>
              </a:rPr>
              <a:t>Network Goal: 45 Regional Hubs</a:t>
            </a:r>
          </a:p>
          <a:p>
            <a:pPr marL="342900">
              <a:defRPr/>
            </a:pPr>
            <a:r>
              <a:rPr lang="en-US" sz="3300" b="1" dirty="0" smtClean="0">
                <a:solidFill>
                  <a:schemeClr val="bg1"/>
                </a:solidFill>
                <a:latin typeface="Calibri" pitchFamily="34" charset="0"/>
                <a:cs typeface="Calibri" pitchFamily="34" charset="0"/>
              </a:rPr>
              <a:t>Network </a:t>
            </a:r>
            <a:r>
              <a:rPr lang="en-US" sz="3300" b="1" dirty="0">
                <a:solidFill>
                  <a:schemeClr val="bg1"/>
                </a:solidFill>
                <a:latin typeface="Calibri" pitchFamily="34" charset="0"/>
                <a:cs typeface="Calibri" pitchFamily="34" charset="0"/>
              </a:rPr>
              <a:t>Status and FY16 Plans</a:t>
            </a:r>
            <a:endParaRPr lang="en-US" sz="3300" b="1" dirty="0">
              <a:solidFill>
                <a:schemeClr val="bg1"/>
              </a:solidFill>
            </a:endParaRPr>
          </a:p>
        </p:txBody>
      </p:sp>
      <p:cxnSp>
        <p:nvCxnSpPr>
          <p:cNvPr id="114" name="Elbow Connector 113"/>
          <p:cNvCxnSpPr>
            <a:stCxn id="123" idx="2"/>
            <a:endCxn id="33" idx="21"/>
          </p:cNvCxnSpPr>
          <p:nvPr/>
        </p:nvCxnSpPr>
        <p:spPr>
          <a:xfrm rot="5400000">
            <a:off x="2013520" y="994559"/>
            <a:ext cx="1725828" cy="3716818"/>
          </a:xfrm>
          <a:prstGeom prst="bentConnector2">
            <a:avLst/>
          </a:prstGeom>
          <a:ln w="47625">
            <a:solidFill>
              <a:srgbClr val="C00000"/>
            </a:solidFill>
            <a:prstDash val="sysDot"/>
          </a:ln>
        </p:spPr>
        <p:style>
          <a:lnRef idx="2">
            <a:schemeClr val="accent1"/>
          </a:lnRef>
          <a:fillRef idx="0">
            <a:schemeClr val="accent1"/>
          </a:fillRef>
          <a:effectRef idx="1">
            <a:schemeClr val="accent1"/>
          </a:effectRef>
          <a:fontRef idx="minor">
            <a:schemeClr val="tx1"/>
          </a:fontRef>
        </p:style>
      </p:cxnSp>
      <p:sp>
        <p:nvSpPr>
          <p:cNvPr id="119" name="TextBox 118"/>
          <p:cNvSpPr txBox="1"/>
          <p:nvPr/>
        </p:nvSpPr>
        <p:spPr>
          <a:xfrm>
            <a:off x="5552803" y="1577621"/>
            <a:ext cx="1122488" cy="467580"/>
          </a:xfrm>
          <a:prstGeom prst="rect">
            <a:avLst/>
          </a:prstGeom>
          <a:noFill/>
        </p:spPr>
        <p:txBody>
          <a:bodyPr wrap="square" rtlCol="0">
            <a:spAutoFit/>
          </a:bodyPr>
          <a:lstStyle/>
          <a:p>
            <a:pPr algn="ctr">
              <a:lnSpc>
                <a:spcPts val="675"/>
              </a:lnSpc>
            </a:pPr>
            <a:r>
              <a:rPr lang="en-US" sz="675" dirty="0">
                <a:latin typeface="Calibri" panose="020F0502020204030204" pitchFamily="34" charset="0"/>
              </a:rPr>
              <a:t>Additive Manufacturing</a:t>
            </a:r>
          </a:p>
          <a:p>
            <a:pPr algn="ctr">
              <a:lnSpc>
                <a:spcPts val="675"/>
              </a:lnSpc>
            </a:pPr>
            <a:r>
              <a:rPr lang="en-US" sz="675" b="1" i="1" dirty="0">
                <a:latin typeface="Calibri" panose="020F0502020204030204" pitchFamily="34" charset="0"/>
              </a:rPr>
              <a:t>Youngstown, OH</a:t>
            </a:r>
          </a:p>
        </p:txBody>
      </p:sp>
      <p:sp>
        <p:nvSpPr>
          <p:cNvPr id="130" name="Oval 129"/>
          <p:cNvSpPr/>
          <p:nvPr/>
        </p:nvSpPr>
        <p:spPr>
          <a:xfrm flipH="1">
            <a:off x="987774" y="3668890"/>
            <a:ext cx="176729" cy="177341"/>
          </a:xfrm>
          <a:prstGeom prst="ellipse">
            <a:avLst/>
          </a:prstGeom>
          <a:solidFill>
            <a:schemeClr val="accent2"/>
          </a:solidFill>
          <a:ln w="222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31" name="TextBox 130"/>
          <p:cNvSpPr txBox="1"/>
          <p:nvPr/>
        </p:nvSpPr>
        <p:spPr>
          <a:xfrm>
            <a:off x="35815" y="1057219"/>
            <a:ext cx="184666" cy="338554"/>
          </a:xfrm>
          <a:prstGeom prst="rect">
            <a:avLst/>
          </a:prstGeom>
          <a:ln w="19050">
            <a:noFill/>
          </a:ln>
        </p:spPr>
        <p:style>
          <a:lnRef idx="2">
            <a:schemeClr val="accent1"/>
          </a:lnRef>
          <a:fillRef idx="1">
            <a:schemeClr val="lt1"/>
          </a:fillRef>
          <a:effectRef idx="0">
            <a:schemeClr val="accent1"/>
          </a:effectRef>
          <a:fontRef idx="minor">
            <a:schemeClr val="dk1"/>
          </a:fontRef>
        </p:style>
        <p:txBody>
          <a:bodyPr wrap="none" rtlCol="0">
            <a:spAutoFit/>
          </a:bodyPr>
          <a:lstStyle/>
          <a:p>
            <a:endParaRPr lang="en-US" sz="1600" b="1" dirty="0">
              <a:solidFill>
                <a:srgbClr val="003399"/>
              </a:solidFill>
              <a:latin typeface="+mj-lt"/>
            </a:endParaRPr>
          </a:p>
        </p:txBody>
      </p:sp>
      <p:pic>
        <p:nvPicPr>
          <p:cNvPr id="116" name="Picture 30"/>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468737" y="5185005"/>
            <a:ext cx="501142" cy="478007"/>
          </a:xfrm>
          <a:prstGeom prst="rect">
            <a:avLst/>
          </a:prstGeom>
          <a:noFill/>
          <a:ln w="9525">
            <a:noFill/>
            <a:miter lim="800000"/>
            <a:headEnd/>
            <a:tailEnd/>
          </a:ln>
        </p:spPr>
      </p:pic>
      <p:pic>
        <p:nvPicPr>
          <p:cNvPr id="133" name="Picture 30"/>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2031867" y="5185005"/>
            <a:ext cx="501142" cy="478007"/>
          </a:xfrm>
          <a:prstGeom prst="rect">
            <a:avLst/>
          </a:prstGeom>
          <a:noFill/>
          <a:ln w="9525">
            <a:noFill/>
            <a:miter lim="800000"/>
            <a:headEnd/>
            <a:tailEnd/>
          </a:ln>
        </p:spPr>
      </p:pic>
      <p:sp>
        <p:nvSpPr>
          <p:cNvPr id="54" name="Rectangle 53"/>
          <p:cNvSpPr/>
          <p:nvPr/>
        </p:nvSpPr>
        <p:spPr>
          <a:xfrm>
            <a:off x="52516" y="1081521"/>
            <a:ext cx="3735727" cy="830997"/>
          </a:xfrm>
          <a:prstGeom prst="rect">
            <a:avLst/>
          </a:prstGeom>
          <a:ln>
            <a:solidFill>
              <a:srgbClr val="4F81BD"/>
            </a:solidFill>
          </a:ln>
        </p:spPr>
        <p:txBody>
          <a:bodyPr wrap="square">
            <a:spAutoFit/>
          </a:bodyPr>
          <a:lstStyle/>
          <a:p>
            <a:r>
              <a:rPr lang="en-US" sz="1600" b="1" dirty="0" smtClean="0">
                <a:solidFill>
                  <a:srgbClr val="000090"/>
                </a:solidFill>
              </a:rPr>
              <a:t>NSF/NIST Consortium </a:t>
            </a:r>
            <a:r>
              <a:rPr lang="en-US" sz="1600" b="1" dirty="0">
                <a:solidFill>
                  <a:srgbClr val="000090"/>
                </a:solidFill>
              </a:rPr>
              <a:t>for Advanced Manufacturing Foresights -  University of Michigan</a:t>
            </a:r>
          </a:p>
        </p:txBody>
      </p:sp>
      <p:sp>
        <p:nvSpPr>
          <p:cNvPr id="135" name="Oval 134"/>
          <p:cNvSpPr>
            <a:spLocks noChangeAspect="1"/>
          </p:cNvSpPr>
          <p:nvPr/>
        </p:nvSpPr>
        <p:spPr>
          <a:xfrm rot="10800000" flipH="1" flipV="1">
            <a:off x="353726" y="2337356"/>
            <a:ext cx="742678" cy="709242"/>
          </a:xfrm>
          <a:prstGeom prst="ellipse">
            <a:avLst/>
          </a:prstGeom>
          <a:blipFill dpi="0" rotWithShape="1">
            <a:blip r:embed="rId14" cstate="email">
              <a:extLst>
                <a:ext uri="{28A0092B-C50C-407E-A947-70E740481C1C}">
                  <a14:useLocalDpi xmlns:a14="http://schemas.microsoft.com/office/drawing/2010/main"/>
                </a:ext>
              </a:extLst>
            </a:blip>
            <a:srcRect/>
            <a:stretch>
              <a:fillRect/>
            </a:stretch>
          </a:bli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300" dirty="0">
              <a:solidFill>
                <a:prstClr val="black"/>
              </a:solidFill>
            </a:endParaRPr>
          </a:p>
        </p:txBody>
      </p:sp>
    </p:spTree>
    <p:extLst>
      <p:ext uri="{BB962C8B-B14F-4D97-AF65-F5344CB8AC3E}">
        <p14:creationId xmlns:p14="http://schemas.microsoft.com/office/powerpoint/2010/main" val="3204368371"/>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199" y="152400"/>
            <a:ext cx="6781801" cy="838200"/>
          </a:xfrm>
        </p:spPr>
        <p:txBody>
          <a:bodyPr/>
          <a:lstStyle/>
          <a:p>
            <a:pPr algn="l"/>
            <a:r>
              <a:rPr lang="en-US" sz="2400" dirty="0">
                <a:solidFill>
                  <a:srgbClr val="FFFFFF"/>
                </a:solidFill>
                <a:latin typeface="Arial"/>
                <a:cs typeface="Arial"/>
              </a:rPr>
              <a:t>National Network for Manufacturing </a:t>
            </a:r>
            <a:r>
              <a:rPr lang="en-US" sz="2400" dirty="0" smtClean="0">
                <a:solidFill>
                  <a:srgbClr val="FFFFFF"/>
                </a:solidFill>
                <a:latin typeface="Arial"/>
                <a:cs typeface="Arial"/>
              </a:rPr>
              <a:t>Innovation</a:t>
            </a:r>
            <a:endParaRPr lang="en-US" sz="2400" dirty="0"/>
          </a:p>
        </p:txBody>
      </p:sp>
      <p:sp>
        <p:nvSpPr>
          <p:cNvPr id="5" name="Slide Number Placeholder 4"/>
          <p:cNvSpPr>
            <a:spLocks noGrp="1"/>
          </p:cNvSpPr>
          <p:nvPr>
            <p:ph type="sldNum" sz="quarter" idx="4"/>
          </p:nvPr>
        </p:nvSpPr>
        <p:spPr>
          <a:xfrm>
            <a:off x="7010400" y="6492875"/>
            <a:ext cx="2133600" cy="365125"/>
          </a:xfrm>
        </p:spPr>
        <p:txBody>
          <a:bodyPr/>
          <a:lstStyle/>
          <a:p>
            <a:fld id="{4336D8BB-1FBA-4ECE-B83B-DC345E7EB0EF}" type="slidenum">
              <a:rPr lang="en-US" sz="1000" smtClean="0">
                <a:solidFill>
                  <a:prstClr val="black"/>
                </a:solidFill>
                <a:latin typeface="Arial" pitchFamily="34" charset="0"/>
                <a:cs typeface="Arial" pitchFamily="34" charset="0"/>
              </a:rPr>
              <a:pPr/>
              <a:t>12</a:t>
            </a:fld>
            <a:endParaRPr lang="en-US" sz="1000" dirty="0">
              <a:solidFill>
                <a:prstClr val="black"/>
              </a:solidFill>
              <a:latin typeface="Arial" pitchFamily="34" charset="0"/>
              <a:cs typeface="Arial" pitchFamily="34" charset="0"/>
            </a:endParaRPr>
          </a:p>
        </p:txBody>
      </p:sp>
      <p:sp>
        <p:nvSpPr>
          <p:cNvPr id="9" name="Content Placeholder 2"/>
          <p:cNvSpPr txBox="1">
            <a:spLocks/>
          </p:cNvSpPr>
          <p:nvPr/>
        </p:nvSpPr>
        <p:spPr>
          <a:xfrm>
            <a:off x="304800" y="1371600"/>
            <a:ext cx="7137021" cy="5181600"/>
          </a:xfrm>
          <a:prstGeom prst="rect">
            <a:avLst/>
          </a:prstGeom>
        </p:spPr>
        <p:txBody>
          <a:bodyPr>
            <a:normAutofit fontScale="77500" lnSpcReduction="20000"/>
          </a:bodyPr>
          <a:lstStyle>
            <a:lvl1pPr marL="342900" indent="-342900" algn="l" defTabSz="457200" rtl="0" eaLnBrk="0" fontAlgn="base" hangingPunct="0">
              <a:spcBef>
                <a:spcPct val="20000"/>
              </a:spcBef>
              <a:spcAft>
                <a:spcPct val="0"/>
              </a:spcAft>
              <a:buFont typeface="Arial" pitchFamily="34" charset="0"/>
              <a:buChar char="•"/>
              <a:defRPr sz="2000" b="1" kern="1200">
                <a:solidFill>
                  <a:schemeClr val="tx1"/>
                </a:solidFill>
                <a:latin typeface="Arial" pitchFamily="34" charset="0"/>
                <a:ea typeface="ＭＳ Ｐゴシック" charset="-128"/>
                <a:cs typeface="Arial" pitchFamily="34" charset="0"/>
              </a:defRPr>
            </a:lvl1pPr>
            <a:lvl2pPr marL="742950" indent="-285750" algn="l" defTabSz="457200" rtl="0" eaLnBrk="0" fontAlgn="base" hangingPunct="0">
              <a:spcBef>
                <a:spcPct val="20000"/>
              </a:spcBef>
              <a:spcAft>
                <a:spcPct val="0"/>
              </a:spcAft>
              <a:buFont typeface="Wingdings" pitchFamily="2" charset="2"/>
              <a:buChar char="§"/>
              <a:defRPr sz="1800" kern="1200">
                <a:solidFill>
                  <a:schemeClr val="tx1"/>
                </a:solidFill>
                <a:latin typeface="Arial" pitchFamily="34" charset="0"/>
                <a:ea typeface="ＭＳ Ｐゴシック" charset="-128"/>
                <a:cs typeface="Arial" pitchFamily="34" charset="0"/>
              </a:defRPr>
            </a:lvl2pPr>
            <a:lvl3pPr marL="1143000" indent="-228600" algn="l" defTabSz="457200" rtl="0" eaLnBrk="0" fontAlgn="base" hangingPunct="0">
              <a:spcBef>
                <a:spcPct val="20000"/>
              </a:spcBef>
              <a:spcAft>
                <a:spcPct val="0"/>
              </a:spcAft>
              <a:buFont typeface="Wingdings" pitchFamily="2" charset="2"/>
              <a:buChar char="Ø"/>
              <a:defRPr sz="1600" kern="1200">
                <a:solidFill>
                  <a:schemeClr val="tx1"/>
                </a:solidFill>
                <a:latin typeface="Arial" pitchFamily="34" charset="0"/>
                <a:ea typeface="ＭＳ Ｐゴシック" charset="-128"/>
                <a:cs typeface="Arial" pitchFamily="34" charset="0"/>
              </a:defRPr>
            </a:lvl3pPr>
            <a:lvl4pPr marL="1600200" indent="-228600" algn="l" defTabSz="457200" rtl="0" eaLnBrk="0" fontAlgn="base" hangingPunct="0">
              <a:spcBef>
                <a:spcPct val="20000"/>
              </a:spcBef>
              <a:spcAft>
                <a:spcPct val="0"/>
              </a:spcAft>
              <a:buFont typeface="Wingdings" pitchFamily="2" charset="2"/>
              <a:buChar char="v"/>
              <a:defRPr sz="1400" kern="1200">
                <a:solidFill>
                  <a:schemeClr val="tx1"/>
                </a:solidFill>
                <a:latin typeface="Arial" pitchFamily="34" charset="0"/>
                <a:ea typeface="ＭＳ Ｐゴシック" charset="-128"/>
                <a:cs typeface="Arial" pitchFamily="34" charset="0"/>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Arial" pitchFamily="34" charset="0"/>
                <a:ea typeface="ＭＳ Ｐゴシック" charset="-128"/>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spcAft>
                <a:spcPts val="400"/>
              </a:spcAft>
              <a:buFont typeface="Arial" pitchFamily="34" charset="0"/>
              <a:buNone/>
            </a:pPr>
            <a:r>
              <a:rPr lang="en-US" sz="1900" b="0" dirty="0" smtClean="0"/>
              <a:t>NASA is an engaged partner with the other agencies in the activities of the National Advanced Manufacturing Program Office and in the manufacturing innovation institutes.  We envision increased specific engagement.</a:t>
            </a:r>
          </a:p>
          <a:p>
            <a:pPr>
              <a:spcBef>
                <a:spcPts val="0"/>
              </a:spcBef>
              <a:spcAft>
                <a:spcPts val="400"/>
              </a:spcAft>
            </a:pPr>
            <a:endParaRPr lang="en-US" sz="1900" b="0" dirty="0" smtClean="0">
              <a:solidFill>
                <a:srgbClr val="000000"/>
              </a:solidFill>
            </a:endParaRPr>
          </a:p>
          <a:p>
            <a:pPr>
              <a:spcBef>
                <a:spcPts val="0"/>
              </a:spcBef>
              <a:spcAft>
                <a:spcPts val="400"/>
              </a:spcAft>
            </a:pPr>
            <a:r>
              <a:rPr lang="en-US" sz="1900" b="0" dirty="0" smtClean="0"/>
              <a:t>Led </a:t>
            </a:r>
            <a:r>
              <a:rPr lang="en-US" sz="1900" b="0" dirty="0"/>
              <a:t>by Space Technology Mission Directorate </a:t>
            </a:r>
            <a:endParaRPr lang="en-US" sz="1900" b="0" dirty="0" smtClean="0"/>
          </a:p>
          <a:p>
            <a:pPr>
              <a:spcBef>
                <a:spcPts val="0"/>
              </a:spcBef>
              <a:spcAft>
                <a:spcPts val="400"/>
              </a:spcAft>
            </a:pPr>
            <a:r>
              <a:rPr lang="en-US" sz="1900" b="0" dirty="0" smtClean="0"/>
              <a:t>Member of the interagency Advanced Manufacturing National Program Office (AMNPO)</a:t>
            </a:r>
          </a:p>
          <a:p>
            <a:pPr>
              <a:spcBef>
                <a:spcPts val="0"/>
              </a:spcBef>
              <a:spcAft>
                <a:spcPts val="400"/>
              </a:spcAft>
            </a:pPr>
            <a:r>
              <a:rPr lang="en-US" sz="1900" b="0" dirty="0" smtClean="0"/>
              <a:t>Member of the NSTC </a:t>
            </a:r>
            <a:r>
              <a:rPr lang="en-US" sz="1900" b="0" dirty="0"/>
              <a:t>Subcommittee on Advanced </a:t>
            </a:r>
            <a:r>
              <a:rPr lang="en-US" sz="1900" b="0" dirty="0" smtClean="0"/>
              <a:t>Manufacturing</a:t>
            </a:r>
          </a:p>
          <a:p>
            <a:pPr>
              <a:spcBef>
                <a:spcPts val="0"/>
              </a:spcBef>
              <a:spcAft>
                <a:spcPts val="400"/>
              </a:spcAft>
            </a:pPr>
            <a:r>
              <a:rPr lang="en-US" sz="1900" b="0" dirty="0" smtClean="0">
                <a:latin typeface="Arial"/>
                <a:cs typeface="Arial"/>
              </a:rPr>
              <a:t>NASA NNMI Collaboration</a:t>
            </a:r>
            <a:endParaRPr lang="en-US" sz="1900" b="0" dirty="0">
              <a:latin typeface="Arial"/>
              <a:cs typeface="Arial"/>
            </a:endParaRPr>
          </a:p>
          <a:p>
            <a:pPr lvl="1">
              <a:spcBef>
                <a:spcPts val="0"/>
              </a:spcBef>
              <a:spcAft>
                <a:spcPts val="400"/>
              </a:spcAft>
            </a:pPr>
            <a:r>
              <a:rPr lang="en-US" sz="1900" dirty="0"/>
              <a:t>NASA intends to provide </a:t>
            </a:r>
            <a:r>
              <a:rPr lang="en-US" sz="1900" dirty="0" smtClean="0"/>
              <a:t>funding for institutes </a:t>
            </a:r>
            <a:r>
              <a:rPr lang="en-US" sz="1900" dirty="0"/>
              <a:t>through </a:t>
            </a:r>
            <a:r>
              <a:rPr lang="en-US" sz="1900" dirty="0" smtClean="0"/>
              <a:t>STMD programs</a:t>
            </a:r>
            <a:endParaRPr lang="en-US" sz="1900" dirty="0" smtClean="0">
              <a:latin typeface="Arial"/>
              <a:cs typeface="Arial"/>
            </a:endParaRPr>
          </a:p>
          <a:p>
            <a:pPr lvl="1">
              <a:spcBef>
                <a:spcPts val="0"/>
              </a:spcBef>
              <a:spcAft>
                <a:spcPts val="400"/>
              </a:spcAft>
            </a:pPr>
            <a:r>
              <a:rPr lang="en-US" sz="1900" dirty="0" smtClean="0">
                <a:latin typeface="Arial"/>
                <a:cs typeface="Arial"/>
              </a:rPr>
              <a:t>Executive </a:t>
            </a:r>
            <a:r>
              <a:rPr lang="en-US" sz="1900" dirty="0">
                <a:latin typeface="Arial"/>
                <a:cs typeface="Arial"/>
              </a:rPr>
              <a:t>committee and technical advisory board members </a:t>
            </a:r>
            <a:endParaRPr lang="en-US" sz="1900" dirty="0" smtClean="0">
              <a:latin typeface="Arial"/>
              <a:cs typeface="Arial"/>
            </a:endParaRPr>
          </a:p>
          <a:p>
            <a:pPr lvl="2">
              <a:spcBef>
                <a:spcPts val="0"/>
              </a:spcBef>
              <a:spcAft>
                <a:spcPts val="400"/>
              </a:spcAft>
            </a:pPr>
            <a:r>
              <a:rPr lang="en-US" sz="1900" dirty="0" smtClean="0"/>
              <a:t>Multiple </a:t>
            </a:r>
            <a:r>
              <a:rPr lang="en-US" sz="1900" dirty="0"/>
              <a:t>Center </a:t>
            </a:r>
            <a:r>
              <a:rPr lang="en-US" sz="1900" dirty="0" smtClean="0"/>
              <a:t>Participation</a:t>
            </a:r>
            <a:endParaRPr lang="en-US" sz="1900" dirty="0">
              <a:latin typeface="Arial"/>
              <a:cs typeface="Arial"/>
            </a:endParaRPr>
          </a:p>
          <a:p>
            <a:pPr lvl="1">
              <a:spcBef>
                <a:spcPts val="0"/>
              </a:spcBef>
              <a:spcAft>
                <a:spcPts val="400"/>
              </a:spcAft>
            </a:pPr>
            <a:r>
              <a:rPr lang="en-US" sz="1900" dirty="0" smtClean="0">
                <a:latin typeface="Arial"/>
                <a:cs typeface="Arial"/>
              </a:rPr>
              <a:t>Technology Roadmap </a:t>
            </a:r>
            <a:r>
              <a:rPr lang="en-US" sz="1900" dirty="0">
                <a:latin typeface="Arial"/>
                <a:cs typeface="Arial"/>
              </a:rPr>
              <a:t>Advisory </a:t>
            </a:r>
            <a:r>
              <a:rPr lang="en-US" sz="1900" dirty="0" smtClean="0">
                <a:latin typeface="Arial"/>
                <a:cs typeface="Arial"/>
              </a:rPr>
              <a:t>Groups </a:t>
            </a:r>
            <a:endParaRPr lang="en-US" sz="1900" dirty="0"/>
          </a:p>
          <a:p>
            <a:pPr lvl="1">
              <a:spcBef>
                <a:spcPts val="0"/>
              </a:spcBef>
              <a:spcAft>
                <a:spcPts val="400"/>
              </a:spcAft>
            </a:pPr>
            <a:r>
              <a:rPr lang="en-US" sz="1900" dirty="0"/>
              <a:t>NASA researchers can participate in technical projects in areas that align with NASA interests</a:t>
            </a:r>
          </a:p>
          <a:p>
            <a:pPr lvl="1">
              <a:spcBef>
                <a:spcPts val="0"/>
              </a:spcBef>
              <a:spcAft>
                <a:spcPts val="400"/>
              </a:spcAft>
            </a:pPr>
            <a:r>
              <a:rPr lang="en-US" sz="1900" dirty="0" smtClean="0"/>
              <a:t>STMD </a:t>
            </a:r>
            <a:r>
              <a:rPr lang="en-US" sz="1900" dirty="0"/>
              <a:t>is providing FTE support for </a:t>
            </a:r>
            <a:r>
              <a:rPr lang="en-US" sz="1900" dirty="0" smtClean="0"/>
              <a:t>solicitations and </a:t>
            </a:r>
            <a:r>
              <a:rPr lang="en-US" sz="1900" dirty="0"/>
              <a:t>institutes in the form of technical reviewers during the solicitation </a:t>
            </a:r>
            <a:r>
              <a:rPr lang="en-US" sz="1900" dirty="0" smtClean="0"/>
              <a:t>process and SME’s</a:t>
            </a:r>
          </a:p>
          <a:p>
            <a:pPr>
              <a:spcBef>
                <a:spcPts val="0"/>
              </a:spcBef>
              <a:spcAft>
                <a:spcPts val="400"/>
              </a:spcAft>
            </a:pPr>
            <a:r>
              <a:rPr lang="en-US" sz="1900" b="0" dirty="0" smtClean="0"/>
              <a:t>Other related initiatives – Materials Genome Initiative, National Nanotechnology Initiative</a:t>
            </a:r>
          </a:p>
          <a:p>
            <a:pPr marL="573088" lvl="1" indent="-225425">
              <a:spcBef>
                <a:spcPts val="0"/>
              </a:spcBef>
              <a:spcAft>
                <a:spcPts val="400"/>
              </a:spcAft>
            </a:pPr>
            <a:r>
              <a:rPr lang="en-US" sz="1900" dirty="0"/>
              <a:t>White House National Week of Making </a:t>
            </a:r>
            <a:r>
              <a:rPr lang="en-US" sz="1900" dirty="0" smtClean="0"/>
              <a:t>– </a:t>
            </a:r>
            <a:r>
              <a:rPr lang="en-US" sz="1900" dirty="0" smtClean="0"/>
              <a:t>June 17</a:t>
            </a:r>
            <a:r>
              <a:rPr lang="en-US" sz="1900" baseline="30000" dirty="0" smtClean="0"/>
              <a:t>th </a:t>
            </a:r>
            <a:r>
              <a:rPr lang="en-US" sz="1900" dirty="0" smtClean="0"/>
              <a:t>- 23</a:t>
            </a:r>
            <a:r>
              <a:rPr lang="en-US" sz="1900" baseline="30000" dirty="0" smtClean="0"/>
              <a:t>rd</a:t>
            </a:r>
            <a:r>
              <a:rPr lang="en-US" sz="1900" dirty="0" smtClean="0"/>
              <a:t>  </a:t>
            </a:r>
          </a:p>
          <a:p>
            <a:pPr marL="347663" lvl="1" indent="0">
              <a:spcBef>
                <a:spcPts val="0"/>
              </a:spcBef>
              <a:spcAft>
                <a:spcPts val="400"/>
              </a:spcAft>
              <a:buNone/>
            </a:pPr>
            <a:r>
              <a:rPr lang="en-US" sz="1700" u="sng" dirty="0" smtClean="0">
                <a:hlinkClick r:id="rId3"/>
              </a:rPr>
              <a:t>https</a:t>
            </a:r>
            <a:r>
              <a:rPr lang="en-US" sz="1100" u="sng" dirty="0">
                <a:hlinkClick r:id="rId3"/>
              </a:rPr>
              <a:t>://www.whitehouse.gov/the-press-office/2015/06/12/fact-sheet-new-commitments-support-president%E2%80%99s-nation-makers-initiative &lt;https://www.whitehouse.gov/the-press-office/2015/06/12/fact-sheet-new-commitments-support-president%E2%80%99s-nation-makers-initiative&gt;</a:t>
            </a:r>
            <a:endParaRPr lang="en-US" sz="1100" dirty="0" smtClean="0"/>
          </a:p>
        </p:txBody>
      </p:sp>
      <p:pic>
        <p:nvPicPr>
          <p:cNvPr id="6" name="Picture 5" descr="Screenshot 2015-04-08 15.48.46.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99718" y="1447800"/>
            <a:ext cx="1671498" cy="1752600"/>
          </a:xfrm>
          <a:prstGeom prst="rect">
            <a:avLst/>
          </a:prstGeom>
        </p:spPr>
      </p:pic>
    </p:spTree>
    <p:extLst>
      <p:ext uri="{BB962C8B-B14F-4D97-AF65-F5344CB8AC3E}">
        <p14:creationId xmlns:p14="http://schemas.microsoft.com/office/powerpoint/2010/main" val="3981213678"/>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3"/>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609600" y="-228600"/>
            <a:ext cx="9165635" cy="4888338"/>
          </a:xfrm>
          <a:prstGeom prst="rect">
            <a:avLst/>
          </a:prstGeom>
          <a:noFill/>
          <a:effectLst>
            <a:softEdge rad="635000"/>
          </a:effectLst>
          <a:extLst>
            <a:ext uri="{909E8E84-426E-40dd-AFC4-6F175D3DCCD1}">
              <a14:hiddenFill xmlns:a14="http://schemas.microsoft.com/office/drawing/2010/main">
                <a:solidFill>
                  <a:srgbClr val="FFFFFF"/>
                </a:solidFill>
              </a14:hiddenFill>
            </a:ext>
          </a:extLst>
        </p:spPr>
      </p:pic>
      <p:pic>
        <p:nvPicPr>
          <p:cNvPr id="13" name="Picture 2" descr="C:\Users\aiq\Documents\2013\marketing\logos\DOE_AdvManuf-01.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3581400" y="5752137"/>
            <a:ext cx="2269881" cy="521861"/>
          </a:xfrm>
          <a:prstGeom prst="rect">
            <a:avLst/>
          </a:prstGeom>
          <a:noFill/>
          <a:extLst>
            <a:ext uri="{909E8E84-426E-40dd-AFC4-6F175D3DCCD1}">
              <a14:hiddenFill xmlns:a14="http://schemas.microsoft.com/office/drawing/2010/main">
                <a:solidFill>
                  <a:srgbClr val="FFFFFF"/>
                </a:solidFill>
              </a14:hiddenFill>
            </a:ext>
          </a:extLst>
        </p:spPr>
      </p:pic>
      <p:sp>
        <p:nvSpPr>
          <p:cNvPr id="18" name="Title 4"/>
          <p:cNvSpPr>
            <a:spLocks noGrp="1"/>
          </p:cNvSpPr>
          <p:nvPr>
            <p:ph type="title"/>
          </p:nvPr>
        </p:nvSpPr>
        <p:spPr>
          <a:xfrm>
            <a:off x="0" y="6321669"/>
            <a:ext cx="7599484" cy="521862"/>
          </a:xfrm>
        </p:spPr>
        <p:txBody>
          <a:bodyPr>
            <a:noAutofit/>
          </a:bodyPr>
          <a:lstStyle/>
          <a:p>
            <a:r>
              <a:rPr lang="en-US" i="1" dirty="0" smtClean="0">
                <a:latin typeface="Arial Narrow" panose="020B0606020202030204" pitchFamily="34" charset="0"/>
              </a:rPr>
              <a:t>Institute of Advanced Composites Manufacturing Innovation</a:t>
            </a:r>
            <a:endParaRPr lang="en-US" sz="2400" i="1" dirty="0">
              <a:latin typeface="Arial Narrow" panose="020B0606020202030204" pitchFamily="34" charset="0"/>
            </a:endParaRPr>
          </a:p>
        </p:txBody>
      </p:sp>
      <p:pic>
        <p:nvPicPr>
          <p:cNvPr id="20" name="Picture 3"/>
          <p:cNvPicPr>
            <a:picLocks noChangeAspect="1" noChangeArrowheads="1"/>
          </p:cNvPicPr>
          <p:nvPr/>
        </p:nvPicPr>
        <p:blipFill>
          <a:blip r:embed="rId5">
            <a:extLst>
              <a:ext uri="{28A0092B-C50C-407E-A947-70E740481C1C}">
                <a14:useLocalDpi xmlns:a14="http://schemas.microsoft.com/office/drawing/2010/main"/>
              </a:ext>
            </a:extLst>
          </a:blip>
          <a:stretch>
            <a:fillRect/>
          </a:stretch>
        </p:blipFill>
        <p:spPr bwMode="auto">
          <a:xfrm>
            <a:off x="0" y="2549475"/>
            <a:ext cx="6629400" cy="4485894"/>
          </a:xfrm>
          <a:prstGeom prst="rect">
            <a:avLst/>
          </a:prstGeom>
          <a:noFill/>
          <a:effectLst>
            <a:softEdge rad="635000"/>
          </a:effectLst>
          <a:extLst>
            <a:ext uri="{909E8E84-426E-40dd-AFC4-6F175D3DCCD1}">
              <a14:hiddenFill xmlns:a14="http://schemas.microsoft.com/office/drawing/2010/main">
                <a:solidFill>
                  <a:srgbClr val="FFFFFF"/>
                </a:solidFill>
              </a14:hiddenFill>
            </a:ext>
          </a:extLst>
        </p:spPr>
      </p:pic>
      <p:sp>
        <p:nvSpPr>
          <p:cNvPr id="15" name="Title 1"/>
          <p:cNvSpPr txBox="1">
            <a:spLocks/>
          </p:cNvSpPr>
          <p:nvPr/>
        </p:nvSpPr>
        <p:spPr>
          <a:xfrm>
            <a:off x="0" y="-17499"/>
            <a:ext cx="9144000" cy="738665"/>
          </a:xfrm>
          <a:prstGeom prst="rect">
            <a:avLst/>
          </a:prstGeom>
        </p:spPr>
        <p:txBody>
          <a:bodyPr/>
          <a:lstStyle>
            <a:lvl1pPr algn="ctr" defTabSz="914400" rtl="0" eaLnBrk="1" latinLnBrk="0" hangingPunct="1">
              <a:spcBef>
                <a:spcPct val="0"/>
              </a:spcBef>
              <a:buNone/>
              <a:defRPr sz="3600" kern="1200">
                <a:solidFill>
                  <a:schemeClr val="bg1"/>
                </a:solidFill>
                <a:latin typeface="+mj-lt"/>
                <a:ea typeface="+mj-ea"/>
                <a:cs typeface="+mj-cs"/>
              </a:defRPr>
            </a:lvl1pPr>
          </a:lstStyle>
          <a:p>
            <a:r>
              <a:rPr lang="en-US" b="1" dirty="0" smtClean="0">
                <a:effectLst>
                  <a:outerShdw blurRad="38100" dist="38100" dir="2700000" algn="tl">
                    <a:srgbClr val="000000">
                      <a:alpha val="43137"/>
                    </a:srgbClr>
                  </a:outerShdw>
                </a:effectLst>
              </a:rPr>
              <a:t>Example Institute: Composites  Manufacturing </a:t>
            </a:r>
            <a:endParaRPr lang="en-US" b="1" dirty="0">
              <a:effectLst>
                <a:outerShdw blurRad="38100" dist="38100" dir="2700000" algn="tl">
                  <a:srgbClr val="000000">
                    <a:alpha val="43137"/>
                  </a:srgbClr>
                </a:outerShdw>
              </a:effectLst>
            </a:endParaRPr>
          </a:p>
        </p:txBody>
      </p:sp>
      <p:pic>
        <p:nvPicPr>
          <p:cNvPr id="83" name="Picture 20" descr="C:\Users\aiq\Dropbox (ORNL)\Manufacturing\photos\CFTF\2013-P00266.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241524" y="4742468"/>
            <a:ext cx="2594577" cy="16628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8359683"/>
      </p:ext>
    </p:extLst>
  </p:cSld>
  <p:clrMapOvr>
    <a:masterClrMapping/>
  </p:clrMapOvr>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26796" y="1001511"/>
            <a:ext cx="4771538" cy="4044176"/>
          </a:xfrm>
          <a:prstGeom prst="rect">
            <a:avLst/>
          </a:prstGeom>
          <a:noFill/>
        </p:spPr>
        <p:txBody>
          <a:bodyPr wrap="square" lIns="82058" tIns="41029" rIns="82058" bIns="41029" rtlCol="0">
            <a:spAutoFit/>
          </a:bodyPr>
          <a:lstStyle/>
          <a:p>
            <a:r>
              <a:rPr lang="en-US" sz="2200" b="1" dirty="0" smtClean="0">
                <a:solidFill>
                  <a:srgbClr val="003366"/>
                </a:solidFill>
                <a:latin typeface="Source Sans Pro" panose="020B0503030403020204" pitchFamily="34" charset="0"/>
              </a:rPr>
              <a:t>IACMI, The Composites Institute Knoxville, TN</a:t>
            </a:r>
          </a:p>
          <a:p>
            <a:r>
              <a:rPr lang="en-US" sz="2200" b="1" dirty="0" smtClean="0">
                <a:solidFill>
                  <a:srgbClr val="003366"/>
                </a:solidFill>
                <a:latin typeface="Source Sans Pro" panose="020B0503030403020204" pitchFamily="34" charset="0"/>
              </a:rPr>
              <a:t>Launched June 16, 2015</a:t>
            </a:r>
          </a:p>
          <a:p>
            <a:endParaRPr lang="en-US" sz="2000" b="1" dirty="0">
              <a:solidFill>
                <a:srgbClr val="003366"/>
              </a:solidFill>
              <a:latin typeface="Source Sans Pro" panose="020B0503030403020204" pitchFamily="34" charset="0"/>
            </a:endParaRPr>
          </a:p>
          <a:p>
            <a:r>
              <a:rPr lang="en-US" sz="2000" dirty="0" smtClean="0">
                <a:solidFill>
                  <a:srgbClr val="003366"/>
                </a:solidFill>
                <a:latin typeface="Source Sans Pro" panose="020B0503030403020204" pitchFamily="34" charset="0"/>
              </a:rPr>
              <a:t>Agency sponsor: DOE</a:t>
            </a:r>
          </a:p>
          <a:p>
            <a:r>
              <a:rPr lang="en-US" sz="2000" dirty="0" smtClean="0">
                <a:solidFill>
                  <a:srgbClr val="003366"/>
                </a:solidFill>
                <a:latin typeface="Source Sans Pro" panose="020B0503030403020204" pitchFamily="34" charset="0"/>
              </a:rPr>
              <a:t>Startup funding: $70M public, </a:t>
            </a:r>
          </a:p>
          <a:p>
            <a:r>
              <a:rPr lang="en-US" sz="2000" dirty="0" smtClean="0">
                <a:solidFill>
                  <a:srgbClr val="003366"/>
                </a:solidFill>
                <a:latin typeface="Source Sans Pro" panose="020B0503030403020204" pitchFamily="34" charset="0"/>
              </a:rPr>
              <a:t>$159M co-investment</a:t>
            </a:r>
          </a:p>
          <a:p>
            <a:endParaRPr lang="en-US" sz="2000" dirty="0" smtClean="0">
              <a:solidFill>
                <a:srgbClr val="003366"/>
              </a:solidFill>
              <a:latin typeface="Source Sans Pro" panose="020B0503030403020204" pitchFamily="34" charset="0"/>
            </a:endParaRPr>
          </a:p>
          <a:p>
            <a:r>
              <a:rPr lang="en-US" sz="2000" dirty="0" smtClean="0">
                <a:solidFill>
                  <a:srgbClr val="003366"/>
                </a:solidFill>
                <a:latin typeface="Source Sans Pro" panose="020B0503030403020204" pitchFamily="34" charset="0"/>
              </a:rPr>
              <a:t>+344,000 square feet in five core regions – composite manufacturing, laboratory, </a:t>
            </a:r>
            <a:r>
              <a:rPr lang="en-US" sz="2000" dirty="0" smtClean="0">
                <a:solidFill>
                  <a:srgbClr val="003366"/>
                </a:solidFill>
              </a:rPr>
              <a:t>instructional </a:t>
            </a:r>
            <a:r>
              <a:rPr lang="en-US" sz="2000" dirty="0">
                <a:solidFill>
                  <a:srgbClr val="003366"/>
                </a:solidFill>
              </a:rPr>
              <a:t>and </a:t>
            </a:r>
            <a:r>
              <a:rPr lang="en-US" sz="2000" dirty="0" smtClean="0">
                <a:solidFill>
                  <a:srgbClr val="003366"/>
                </a:solidFill>
              </a:rPr>
              <a:t>collaboration space</a:t>
            </a:r>
            <a:endParaRPr lang="en-US" sz="2000" dirty="0" smtClean="0">
              <a:solidFill>
                <a:srgbClr val="003366"/>
              </a:solidFill>
              <a:latin typeface="Source Sans Pro" panose="020B0503030403020204" pitchFamily="34" charset="0"/>
            </a:endParaRPr>
          </a:p>
          <a:p>
            <a:endParaRPr lang="en-US" sz="2200" b="1" dirty="0">
              <a:solidFill>
                <a:srgbClr val="003366"/>
              </a:solidFill>
              <a:latin typeface="Source Sans Pro" panose="020B0503030403020204" pitchFamily="34" charset="0"/>
            </a:endParaRPr>
          </a:p>
        </p:txBody>
      </p:sp>
      <p:sp>
        <p:nvSpPr>
          <p:cNvPr id="6" name="Title 1"/>
          <p:cNvSpPr txBox="1">
            <a:spLocks/>
          </p:cNvSpPr>
          <p:nvPr/>
        </p:nvSpPr>
        <p:spPr>
          <a:xfrm>
            <a:off x="381000" y="-16331"/>
            <a:ext cx="8229600" cy="738665"/>
          </a:xfrm>
          <a:prstGeom prst="rect">
            <a:avLst/>
          </a:prstGeom>
        </p:spPr>
        <p:txBody>
          <a:bodyPr/>
          <a:lstStyle>
            <a:lvl1pPr algn="ctr" defTabSz="914400" rtl="0" eaLnBrk="1" latinLnBrk="0" hangingPunct="1">
              <a:spcBef>
                <a:spcPct val="0"/>
              </a:spcBef>
              <a:buNone/>
              <a:defRPr sz="3600" kern="1200">
                <a:solidFill>
                  <a:schemeClr val="bg1"/>
                </a:solidFill>
                <a:latin typeface="+mj-lt"/>
                <a:ea typeface="+mj-ea"/>
                <a:cs typeface="+mj-cs"/>
              </a:defRPr>
            </a:lvl1pPr>
          </a:lstStyle>
          <a:p>
            <a:r>
              <a:rPr lang="en-US" dirty="0" smtClean="0"/>
              <a:t>Advanced Composites Institute Profile</a:t>
            </a:r>
            <a:endParaRPr lang="en-US" dirty="0"/>
          </a:p>
        </p:txBody>
      </p:sp>
      <p:pic>
        <p:nvPicPr>
          <p:cNvPr id="7" name="Picture 6"/>
          <p:cNvPicPr>
            <a:picLocks noChangeAspect="1" noChangeArrowheads="1"/>
          </p:cNvPicPr>
          <p:nvPr/>
        </p:nvPicPr>
        <p:blipFill>
          <a:blip r:embed="rId2" cstate="screen">
            <a:extLst>
              <a:ext uri="{28A0092B-C50C-407E-A947-70E740481C1C}">
                <a14:useLocalDpi xmlns:a14="http://schemas.microsoft.com/office/drawing/2010/main"/>
              </a:ext>
            </a:extLst>
          </a:blip>
          <a:stretch>
            <a:fillRect/>
          </a:stretch>
        </p:blipFill>
        <p:spPr bwMode="auto">
          <a:xfrm>
            <a:off x="5550681" y="2313278"/>
            <a:ext cx="1402878" cy="1246691"/>
          </a:xfrm>
          <a:prstGeom prst="hexagon">
            <a:avLst/>
          </a:prstGeom>
          <a:noFill/>
          <a:ln w="19050" cmpd="sng">
            <a:solidFill>
              <a:srgbClr val="4F81BD"/>
            </a:solidFill>
            <a:miter lim="800000"/>
            <a:headEnd/>
            <a:tailEnd/>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Lst>
        </p:spPr>
      </p:pic>
      <p:pic>
        <p:nvPicPr>
          <p:cNvPr id="8" name="Picture 7"/>
          <p:cNvPicPr>
            <a:picLocks noGrp="1"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6725375" y="1817183"/>
            <a:ext cx="1389741" cy="1205505"/>
          </a:xfrm>
          <a:prstGeom prst="hexagon">
            <a:avLst/>
          </a:prstGeom>
          <a:noFill/>
          <a:ln w="19050" cmpd="sng">
            <a:solidFill>
              <a:srgbClr val="4F81BD"/>
            </a:solidFill>
            <a:miter lim="800000"/>
            <a:headEnd/>
            <a:tailEnd/>
          </a:ln>
          <a:effectLst>
            <a:outerShdw blurRad="50800" dist="38100" dir="2700000" algn="tl" rotWithShape="0">
              <a:prstClr val="black">
                <a:alpha val="40000"/>
              </a:prstClr>
            </a:outerShdw>
          </a:effectLst>
        </p:spPr>
      </p:pic>
      <p:pic>
        <p:nvPicPr>
          <p:cNvPr id="9" name="Picture 8" descr="injectionMolding.png"/>
          <p:cNvPicPr>
            <a:picLocks noChangeAspect="1"/>
          </p:cNvPicPr>
          <p:nvPr/>
        </p:nvPicPr>
        <p:blipFill rotWithShape="1">
          <a:blip r:embed="rId4" cstate="screen">
            <a:extLst>
              <a:ext uri="{28A0092B-C50C-407E-A947-70E740481C1C}">
                <a14:useLocalDpi xmlns:a14="http://schemas.microsoft.com/office/drawing/2010/main"/>
              </a:ext>
            </a:extLst>
          </a:blip>
          <a:srcRect t="-17390"/>
          <a:stretch/>
        </p:blipFill>
        <p:spPr>
          <a:xfrm>
            <a:off x="6544055" y="3044116"/>
            <a:ext cx="1603528" cy="1371600"/>
          </a:xfrm>
          <a:prstGeom prst="hexagon">
            <a:avLst/>
          </a:prstGeom>
          <a:solidFill>
            <a:srgbClr val="FFFFFF"/>
          </a:solidFill>
          <a:ln w="28575" cmpd="sng">
            <a:solidFill>
              <a:srgbClr val="049FD8"/>
            </a:solidFill>
          </a:ln>
          <a:effectLst>
            <a:outerShdw blurRad="50800" dist="38100" dir="2700000" algn="tl" rotWithShape="0">
              <a:prstClr val="black">
                <a:alpha val="40000"/>
              </a:prstClr>
            </a:outerShdw>
          </a:effectLst>
        </p:spPr>
      </p:pic>
      <p:pic>
        <p:nvPicPr>
          <p:cNvPr id="10" name="Picture 9" descr="hp-rtm.jpg"/>
          <p:cNvPicPr>
            <a:picLocks noChangeAspect="1"/>
          </p:cNvPicPr>
          <p:nvPr/>
        </p:nvPicPr>
        <p:blipFill rotWithShape="1">
          <a:blip r:embed="rId5" cstate="screen">
            <a:extLst>
              <a:ext uri="{28A0092B-C50C-407E-A947-70E740481C1C}">
                <a14:useLocalDpi xmlns:a14="http://schemas.microsoft.com/office/drawing/2010/main"/>
              </a:ext>
            </a:extLst>
          </a:blip>
          <a:srcRect t="-2776"/>
          <a:stretch/>
        </p:blipFill>
        <p:spPr>
          <a:xfrm>
            <a:off x="7786217" y="2279857"/>
            <a:ext cx="1629846" cy="1371601"/>
          </a:xfrm>
          <a:prstGeom prst="hexagon">
            <a:avLst/>
          </a:prstGeom>
          <a:solidFill>
            <a:srgbClr val="FFFFFF"/>
          </a:solidFill>
          <a:ln w="28575" cmpd="sng">
            <a:solidFill>
              <a:srgbClr val="049FD8"/>
            </a:solidFill>
          </a:ln>
          <a:effectLst>
            <a:outerShdw blurRad="50800" dist="38100" dir="2700000" algn="tl" rotWithShape="0">
              <a:prstClr val="black">
                <a:alpha val="40000"/>
              </a:prstClr>
            </a:outerShdw>
          </a:effectLst>
        </p:spPr>
      </p:pic>
      <p:pic>
        <p:nvPicPr>
          <p:cNvPr id="11" name="Picture 10" descr="RIMG0043.JPG"/>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998334" y="5045686"/>
            <a:ext cx="1751096" cy="1524878"/>
          </a:xfrm>
          <a:prstGeom prst="hexagon">
            <a:avLst/>
          </a:prstGeom>
          <a:ln w="28575" cmpd="sng">
            <a:solidFill>
              <a:srgbClr val="049FD8"/>
            </a:solidFill>
          </a:ln>
          <a:effectLst>
            <a:outerShdw blurRad="50800" dist="38100" dir="2700000" algn="tl" rotWithShape="0">
              <a:prstClr val="black">
                <a:alpha val="40000"/>
              </a:prstClr>
            </a:outerShdw>
          </a:effectLst>
        </p:spPr>
      </p:pic>
      <p:pic>
        <p:nvPicPr>
          <p:cNvPr id="12" name="Picture 11" descr="RIMG0022.JPG"/>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486894" y="4449665"/>
            <a:ext cx="1707399" cy="1435099"/>
          </a:xfrm>
          <a:prstGeom prst="hexagon">
            <a:avLst/>
          </a:prstGeom>
          <a:ln w="28575" cmpd="sng">
            <a:solidFill>
              <a:srgbClr val="049FD8"/>
            </a:solidFill>
          </a:ln>
          <a:effectLst>
            <a:outerShdw blurRad="50800" dist="38100" dir="2700000" algn="tl" rotWithShape="0">
              <a:prstClr val="black">
                <a:alpha val="40000"/>
              </a:prstClr>
            </a:outerShdw>
          </a:effectLst>
        </p:spPr>
      </p:pic>
      <p:pic>
        <p:nvPicPr>
          <p:cNvPr id="13" name="Picture 12" descr="DSCN0675.JPG"/>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4840778" y="3392364"/>
            <a:ext cx="2133600" cy="1787611"/>
          </a:xfrm>
          <a:prstGeom prst="hexagon">
            <a:avLst/>
          </a:prstGeom>
          <a:ln w="28575" cmpd="sng">
            <a:solidFill>
              <a:srgbClr val="049FD8"/>
            </a:solidFill>
          </a:ln>
          <a:effectLst>
            <a:outerShdw blurRad="50800" dist="38100" dir="2700000" algn="tl" rotWithShape="0">
              <a:prstClr val="black">
                <a:alpha val="40000"/>
              </a:prstClr>
            </a:outerShdw>
          </a:effectLst>
        </p:spPr>
      </p:pic>
      <p:pic>
        <p:nvPicPr>
          <p:cNvPr id="14" name="Picture 13"/>
          <p:cNvPicPr>
            <a:picLocks noChangeAspect="1"/>
          </p:cNvPicPr>
          <p:nvPr/>
        </p:nvPicPr>
        <p:blipFill rotWithShape="1">
          <a:blip r:embed="rId9" cstate="screen">
            <a:extLst>
              <a:ext uri="{28A0092B-C50C-407E-A947-70E740481C1C}">
                <a14:useLocalDpi xmlns:a14="http://schemas.microsoft.com/office/drawing/2010/main"/>
              </a:ext>
            </a:extLst>
          </a:blip>
          <a:srcRect t="-11"/>
          <a:stretch/>
        </p:blipFill>
        <p:spPr>
          <a:xfrm>
            <a:off x="7628534" y="5198964"/>
            <a:ext cx="1944847" cy="1692047"/>
          </a:xfrm>
          <a:prstGeom prst="hexagon">
            <a:avLst/>
          </a:prstGeom>
          <a:ln w="25400">
            <a:solidFill>
              <a:schemeClr val="accent4"/>
            </a:solidFill>
          </a:ln>
          <a:effectLst>
            <a:outerShdw blurRad="50800" dist="38100" dir="2700000" algn="tl" rotWithShape="0">
              <a:srgbClr val="000000">
                <a:alpha val="43000"/>
              </a:srgbClr>
            </a:outerShdw>
          </a:effectLst>
        </p:spPr>
      </p:pic>
      <p:pic>
        <p:nvPicPr>
          <p:cNvPr id="15" name="Picture 14" descr="Meltblown fabrics are created with a highly specialized manufacturing ..."/>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5650476" y="1234464"/>
            <a:ext cx="1325653" cy="1165438"/>
          </a:xfrm>
          <a:prstGeom prst="hexagon">
            <a:avLst/>
          </a:prstGeom>
          <a:noFill/>
          <a:ln w="19050" cmpd="sng">
            <a:solidFill>
              <a:srgbClr val="4F81BD"/>
            </a:solid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16" name="Picture 15" descr="laser_velocimeter_vu2.png"/>
          <p:cNvPicPr>
            <a:picLocks noChangeAspect="1"/>
          </p:cNvPicPr>
          <p:nvPr/>
        </p:nvPicPr>
        <p:blipFill rotWithShape="1">
          <a:blip r:embed="rId11" cstate="screen">
            <a:extLst>
              <a:ext uri="{28A0092B-C50C-407E-A947-70E740481C1C}">
                <a14:useLocalDpi xmlns:a14="http://schemas.microsoft.com/office/drawing/2010/main"/>
              </a:ext>
            </a:extLst>
          </a:blip>
          <a:srcRect b="-3686"/>
          <a:stretch/>
        </p:blipFill>
        <p:spPr>
          <a:xfrm>
            <a:off x="7747238" y="3664218"/>
            <a:ext cx="1707805" cy="1502996"/>
          </a:xfrm>
          <a:prstGeom prst="hexagon">
            <a:avLst/>
          </a:prstGeom>
          <a:solidFill>
            <a:schemeClr val="bg1"/>
          </a:solidFill>
          <a:ln w="19050" cmpd="sng">
            <a:solidFill>
              <a:srgbClr val="4F81BD"/>
            </a:solidFill>
          </a:ln>
          <a:effectLst>
            <a:outerShdw blurRad="50800" dist="38100" dir="2700000" algn="tl" rotWithShape="0">
              <a:prstClr val="black">
                <a:alpha val="40000"/>
              </a:prstClr>
            </a:outerShdw>
          </a:effectLst>
        </p:spPr>
      </p:pic>
      <p:pic>
        <p:nvPicPr>
          <p:cNvPr id="17" name="Content Placeholder 3"/>
          <p:cNvPicPr>
            <a:picLocks noGrp="1" noChangeAspect="1"/>
          </p:cNvPicPr>
          <p:nvPr/>
        </p:nvPicPr>
        <p:blipFill>
          <a:blip r:embed="rId12" cstate="screen">
            <a:extLst>
              <a:ext uri="{28A0092B-C50C-407E-A947-70E740481C1C}">
                <a14:useLocalDpi xmlns:a14="http://schemas.microsoft.com/office/drawing/2010/main"/>
              </a:ext>
            </a:extLst>
          </a:blip>
          <a:stretch>
            <a:fillRect/>
          </a:stretch>
        </p:blipFill>
        <p:spPr bwMode="auto">
          <a:xfrm>
            <a:off x="1164940" y="4418133"/>
            <a:ext cx="1904167" cy="2133788"/>
          </a:xfrm>
          <a:prstGeom prst="rect">
            <a:avLst/>
          </a:prstGeom>
          <a:noFill/>
          <a:ln w="9525">
            <a:noFill/>
            <a:miter lim="800000"/>
            <a:headEnd/>
            <a:tailEnd/>
          </a:ln>
        </p:spPr>
      </p:pic>
    </p:spTree>
    <p:extLst>
      <p:ext uri="{BB962C8B-B14F-4D97-AF65-F5344CB8AC3E}">
        <p14:creationId xmlns:p14="http://schemas.microsoft.com/office/powerpoint/2010/main" val="115676237"/>
      </p:ext>
    </p:extLst>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47484" y="151438"/>
            <a:ext cx="7820316" cy="620487"/>
          </a:xfrm>
        </p:spPr>
        <p:txBody>
          <a:bodyPr>
            <a:normAutofit/>
          </a:bodyPr>
          <a:lstStyle/>
          <a:p>
            <a:pPr algn="l">
              <a:lnSpc>
                <a:spcPct val="90000"/>
              </a:lnSpc>
            </a:pPr>
            <a:r>
              <a:rPr lang="en-US" sz="3600" b="1" dirty="0" smtClean="0">
                <a:solidFill>
                  <a:schemeClr val="bg1"/>
                </a:solidFill>
              </a:rPr>
              <a:t>1) Clear, unique Institute Focus</a:t>
            </a:r>
            <a:endParaRPr lang="en-US" sz="3600" b="1" dirty="0">
              <a:solidFill>
                <a:schemeClr val="bg1"/>
              </a:solidFill>
            </a:endParaRPr>
          </a:p>
        </p:txBody>
      </p:sp>
      <p:sp>
        <p:nvSpPr>
          <p:cNvPr id="47" name="TextBox 46"/>
          <p:cNvSpPr txBox="1"/>
          <p:nvPr/>
        </p:nvSpPr>
        <p:spPr>
          <a:xfrm>
            <a:off x="76200" y="1164196"/>
            <a:ext cx="8839200" cy="461665"/>
          </a:xfrm>
          <a:prstGeom prst="rect">
            <a:avLst/>
          </a:prstGeom>
          <a:solidFill>
            <a:srgbClr val="003366"/>
          </a:solidFill>
        </p:spPr>
        <p:txBody>
          <a:bodyPr wrap="square" rtlCol="0">
            <a:spAutoFit/>
          </a:bodyPr>
          <a:lstStyle/>
          <a:p>
            <a:r>
              <a:rPr lang="en-US" sz="2400" i="1" dirty="0" smtClean="0">
                <a:solidFill>
                  <a:schemeClr val="bg1"/>
                </a:solidFill>
              </a:rPr>
              <a:t>Each </a:t>
            </a:r>
            <a:r>
              <a:rPr lang="en-US" sz="2400" i="1" dirty="0">
                <a:solidFill>
                  <a:schemeClr val="bg1"/>
                </a:solidFill>
              </a:rPr>
              <a:t>Institute has a clear mission based on a critical Industry need</a:t>
            </a:r>
          </a:p>
        </p:txBody>
      </p:sp>
      <p:sp>
        <p:nvSpPr>
          <p:cNvPr id="3" name="TextBox 2"/>
          <p:cNvSpPr txBox="1"/>
          <p:nvPr/>
        </p:nvSpPr>
        <p:spPr>
          <a:xfrm>
            <a:off x="228600" y="1609073"/>
            <a:ext cx="8534400" cy="4862870"/>
          </a:xfrm>
          <a:prstGeom prst="rect">
            <a:avLst/>
          </a:prstGeom>
          <a:noFill/>
        </p:spPr>
        <p:txBody>
          <a:bodyPr wrap="square" rtlCol="0">
            <a:spAutoFit/>
          </a:bodyPr>
          <a:lstStyle/>
          <a:p>
            <a:r>
              <a:rPr lang="en-US" sz="2000" b="1" dirty="0" smtClean="0"/>
              <a:t>Opportunity</a:t>
            </a:r>
          </a:p>
          <a:p>
            <a:r>
              <a:rPr lang="en-US" dirty="0" smtClean="0"/>
              <a:t>Lightweight composites offer benefits to energy efficiency and renewable power generation, overcoming limitations through deployment of advanced technologies to make composite lower cost, faster, using less energy that can be readily recycled offer tremendous opportunities for US manufacturers. </a:t>
            </a:r>
            <a:endParaRPr lang="en-US" dirty="0"/>
          </a:p>
          <a:p>
            <a:endParaRPr lang="en-US" dirty="0" smtClean="0"/>
          </a:p>
          <a:p>
            <a:r>
              <a:rPr lang="en-US" sz="2000" b="1" dirty="0" smtClean="0"/>
              <a:t>Big Idea</a:t>
            </a:r>
          </a:p>
          <a:p>
            <a:r>
              <a:rPr lang="en-US" dirty="0"/>
              <a:t>The Institute will </a:t>
            </a:r>
            <a:r>
              <a:rPr lang="en-US" dirty="0" smtClean="0"/>
              <a:t>provide access to world-class resources to partner with industry and develop </a:t>
            </a:r>
            <a:r>
              <a:rPr lang="en-US" dirty="0"/>
              <a:t>new low-cost, high-speed, and efficient manufacturing and recycling process technologies that will promote widespread use of advanced fiber-reinforced polymer composites. </a:t>
            </a:r>
            <a:endParaRPr lang="en-US" dirty="0" smtClean="0"/>
          </a:p>
          <a:p>
            <a:endParaRPr lang="en-US" dirty="0"/>
          </a:p>
          <a:p>
            <a:r>
              <a:rPr lang="en-US" dirty="0" smtClean="0"/>
              <a:t>At </a:t>
            </a:r>
            <a:r>
              <a:rPr lang="en-US" dirty="0"/>
              <a:t>the new Institute, a world-class team of organizations from leading industrial manufacturers, material suppliers, software developers, government and academia will focus on lowering the overall manufacturing costs of advanced composites by 50 percent, reducing the energy used to make composites by 75 percent, and increasing the ability to recycle composites by more than 95 percent within the next decade.   </a:t>
            </a:r>
            <a:endParaRPr lang="en-US" dirty="0" smtClean="0"/>
          </a:p>
        </p:txBody>
      </p:sp>
    </p:spTree>
    <p:extLst>
      <p:ext uri="{BB962C8B-B14F-4D97-AF65-F5344CB8AC3E}">
        <p14:creationId xmlns:p14="http://schemas.microsoft.com/office/powerpoint/2010/main" val="3988254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1473" y="85117"/>
            <a:ext cx="7111782" cy="693821"/>
          </a:xfrm>
        </p:spPr>
        <p:txBody>
          <a:bodyPr>
            <a:normAutofit/>
          </a:bodyPr>
          <a:lstStyle/>
          <a:p>
            <a:pPr algn="l"/>
            <a:r>
              <a:rPr lang="en-US" sz="3600" b="1" dirty="0" smtClean="0">
                <a:solidFill>
                  <a:schemeClr val="bg1"/>
                </a:solidFill>
              </a:rPr>
              <a:t>2) Clear Industry Value Proposition</a:t>
            </a:r>
            <a:endParaRPr lang="en-US" sz="3600" b="1" dirty="0">
              <a:solidFill>
                <a:schemeClr val="bg1"/>
              </a:solidFill>
            </a:endParaRPr>
          </a:p>
        </p:txBody>
      </p:sp>
      <p:sp>
        <p:nvSpPr>
          <p:cNvPr id="3" name="Content Placeholder 2"/>
          <p:cNvSpPr>
            <a:spLocks noGrp="1"/>
          </p:cNvSpPr>
          <p:nvPr>
            <p:ph idx="1"/>
          </p:nvPr>
        </p:nvSpPr>
        <p:spPr>
          <a:xfrm>
            <a:off x="655905" y="1954603"/>
            <a:ext cx="5059095" cy="4023360"/>
          </a:xfrm>
        </p:spPr>
        <p:txBody>
          <a:bodyPr>
            <a:normAutofit fontScale="85000" lnSpcReduction="20000"/>
          </a:bodyPr>
          <a:lstStyle/>
          <a:p>
            <a:r>
              <a:rPr lang="en-US" sz="2000" b="1" dirty="0" smtClean="0"/>
              <a:t>Access to Shared RD&amp;D Resources:  </a:t>
            </a:r>
            <a:r>
              <a:rPr lang="en-US" sz="2000" dirty="0" smtClean="0"/>
              <a:t>Leverage and provide access to equipment from lab to full-scale to enable demonstration and reduce risk for industry investment</a:t>
            </a:r>
          </a:p>
          <a:p>
            <a:endParaRPr lang="en-US" sz="2000" b="1" dirty="0" smtClean="0"/>
          </a:p>
          <a:p>
            <a:r>
              <a:rPr lang="en-US" sz="2000" b="1" dirty="0" smtClean="0"/>
              <a:t>Applied R&amp;D</a:t>
            </a:r>
            <a:r>
              <a:rPr lang="en-US" sz="2000" dirty="0" smtClean="0"/>
              <a:t>: Leverage significant government, industry, </a:t>
            </a:r>
            <a:r>
              <a:rPr lang="en-US" sz="2000" dirty="0"/>
              <a:t>and </a:t>
            </a:r>
            <a:r>
              <a:rPr lang="en-US" sz="2000" dirty="0" smtClean="0"/>
              <a:t>academic investments to develop innovative solutions to member challenges</a:t>
            </a:r>
          </a:p>
          <a:p>
            <a:endParaRPr lang="en-US" sz="900" dirty="0" smtClean="0"/>
          </a:p>
          <a:p>
            <a:r>
              <a:rPr lang="en-US" sz="2000" b="1" dirty="0" smtClean="0"/>
              <a:t>Composites Virtual Factory</a:t>
            </a:r>
            <a:r>
              <a:rPr lang="en-US" sz="2000" dirty="0" smtClean="0"/>
              <a:t>: Provide access to end to end commercial modeling and simulation software for composite designers and manufacturers through a web based platform. </a:t>
            </a:r>
            <a:endParaRPr lang="en-US" sz="900" dirty="0" smtClean="0"/>
          </a:p>
          <a:p>
            <a:endParaRPr lang="en-US" sz="2000" b="1" dirty="0" smtClean="0"/>
          </a:p>
          <a:p>
            <a:r>
              <a:rPr lang="en-US" sz="2000" b="1" dirty="0" smtClean="0"/>
              <a:t>Workforce Training</a:t>
            </a:r>
            <a:r>
              <a:rPr lang="en-US" sz="2000" dirty="0" smtClean="0"/>
              <a:t>: Provide specialized training to prepare current and future workforces for the latest manufacturing methods and technologies</a:t>
            </a:r>
            <a:endParaRPr lang="en-US" sz="2000" dirty="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34954" y="1954603"/>
            <a:ext cx="2865946" cy="1374576"/>
          </a:xfrm>
          <a:prstGeom prst="rect">
            <a:avLst/>
          </a:prstGeom>
          <a:effectLst>
            <a:softEdge rad="63500"/>
          </a:effectLst>
          <a:scene3d>
            <a:camera prst="orthographicFront"/>
            <a:lightRig rig="threePt" dir="t"/>
          </a:scene3d>
          <a:sp3d/>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34954" y="4984663"/>
            <a:ext cx="2865946" cy="1224763"/>
          </a:xfrm>
          <a:prstGeom prst="rect">
            <a:avLst/>
          </a:prstGeom>
          <a:effectLst>
            <a:softEdge rad="31750"/>
          </a:effectLst>
        </p:spPr>
      </p:pic>
      <p:pic>
        <p:nvPicPr>
          <p:cNvPr id="6" name="Picture 5"/>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484611" y="3454969"/>
            <a:ext cx="1566632" cy="1403904"/>
          </a:xfrm>
          <a:prstGeom prst="rect">
            <a:avLst/>
          </a:prstGeom>
        </p:spPr>
      </p:pic>
      <p:sp>
        <p:nvSpPr>
          <p:cNvPr id="7" name="TextBox 6"/>
          <p:cNvSpPr txBox="1"/>
          <p:nvPr/>
        </p:nvSpPr>
        <p:spPr>
          <a:xfrm>
            <a:off x="152400" y="1145015"/>
            <a:ext cx="8839200" cy="461665"/>
          </a:xfrm>
          <a:prstGeom prst="rect">
            <a:avLst/>
          </a:prstGeom>
          <a:solidFill>
            <a:srgbClr val="003366"/>
          </a:solidFill>
        </p:spPr>
        <p:txBody>
          <a:bodyPr wrap="square" rtlCol="0">
            <a:spAutoFit/>
          </a:bodyPr>
          <a:lstStyle/>
          <a:p>
            <a:r>
              <a:rPr lang="en-US" sz="2400" i="1" dirty="0" smtClean="0">
                <a:solidFill>
                  <a:schemeClr val="bg1"/>
                </a:solidFill>
              </a:rPr>
              <a:t>Each </a:t>
            </a:r>
            <a:r>
              <a:rPr lang="en-US" sz="2400" i="1" dirty="0">
                <a:solidFill>
                  <a:schemeClr val="bg1"/>
                </a:solidFill>
              </a:rPr>
              <a:t>Institute </a:t>
            </a:r>
            <a:r>
              <a:rPr lang="en-US" sz="2400" i="1" dirty="0" smtClean="0">
                <a:solidFill>
                  <a:schemeClr val="bg1"/>
                </a:solidFill>
              </a:rPr>
              <a:t>creates value for industry participation and funding</a:t>
            </a:r>
            <a:endParaRPr lang="en-US" sz="2400" i="1" dirty="0">
              <a:solidFill>
                <a:schemeClr val="bg1"/>
              </a:solidFill>
            </a:endParaRPr>
          </a:p>
        </p:txBody>
      </p:sp>
    </p:spTree>
    <p:extLst>
      <p:ext uri="{BB962C8B-B14F-4D97-AF65-F5344CB8AC3E}">
        <p14:creationId xmlns:p14="http://schemas.microsoft.com/office/powerpoint/2010/main" val="2292344913"/>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txBox="1">
            <a:spLocks/>
          </p:cNvSpPr>
          <p:nvPr/>
        </p:nvSpPr>
        <p:spPr>
          <a:xfrm>
            <a:off x="1078905" y="106798"/>
            <a:ext cx="7853592" cy="69382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600" kern="1200">
                <a:solidFill>
                  <a:schemeClr val="bg1"/>
                </a:solidFill>
                <a:latin typeface="+mj-lt"/>
                <a:ea typeface="+mj-ea"/>
                <a:cs typeface="+mj-cs"/>
              </a:defRPr>
            </a:lvl1pPr>
          </a:lstStyle>
          <a:p>
            <a:pPr algn="l"/>
            <a:r>
              <a:rPr lang="en-US" b="1" dirty="0"/>
              <a:t>3) Strong Private-Public Partnership</a:t>
            </a:r>
          </a:p>
        </p:txBody>
      </p:sp>
      <p:sp>
        <p:nvSpPr>
          <p:cNvPr id="39" name="TextBox 38"/>
          <p:cNvSpPr txBox="1"/>
          <p:nvPr/>
        </p:nvSpPr>
        <p:spPr>
          <a:xfrm>
            <a:off x="102432" y="1182579"/>
            <a:ext cx="8839200" cy="830997"/>
          </a:xfrm>
          <a:prstGeom prst="rect">
            <a:avLst/>
          </a:prstGeom>
          <a:solidFill>
            <a:srgbClr val="003366"/>
          </a:solidFill>
        </p:spPr>
        <p:txBody>
          <a:bodyPr wrap="square" rtlCol="0">
            <a:spAutoFit/>
          </a:bodyPr>
          <a:lstStyle/>
          <a:p>
            <a:r>
              <a:rPr lang="en-US" sz="2400" i="1" dirty="0" smtClean="0">
                <a:solidFill>
                  <a:schemeClr val="bg1"/>
                </a:solidFill>
              </a:rPr>
              <a:t>Each </a:t>
            </a:r>
            <a:r>
              <a:rPr lang="en-US" sz="2400" i="1" dirty="0">
                <a:solidFill>
                  <a:schemeClr val="bg1"/>
                </a:solidFill>
              </a:rPr>
              <a:t>Institute </a:t>
            </a:r>
            <a:r>
              <a:rPr lang="en-US" sz="2400" i="1" dirty="0" smtClean="0">
                <a:solidFill>
                  <a:schemeClr val="bg1"/>
                </a:solidFill>
              </a:rPr>
              <a:t>is operated by a consortium; serving a partnership of Industry, Academia and government</a:t>
            </a:r>
            <a:endParaRPr lang="en-US" sz="2400" i="1" dirty="0">
              <a:solidFill>
                <a:schemeClr val="bg1"/>
              </a:solidFill>
            </a:endParaRPr>
          </a:p>
        </p:txBody>
      </p:sp>
      <p:pic>
        <p:nvPicPr>
          <p:cNvPr id="108" name="Picture 107" descr="manufacturers-11.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419132" y="11836709"/>
            <a:ext cx="1459079" cy="447985"/>
          </a:xfrm>
          <a:prstGeom prst="rect">
            <a:avLst/>
          </a:prstGeom>
        </p:spPr>
      </p:pic>
      <p:pic>
        <p:nvPicPr>
          <p:cNvPr id="119" name="Picture 118" descr="PolyOne.png"/>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326000" y="11779236"/>
            <a:ext cx="1501760" cy="562930"/>
          </a:xfrm>
          <a:prstGeom prst="rect">
            <a:avLst/>
          </a:prstGeom>
        </p:spPr>
      </p:pic>
      <p:pic>
        <p:nvPicPr>
          <p:cNvPr id="120" name="Picture 119" descr="PPG.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91026" y="11779236"/>
            <a:ext cx="750788" cy="562930"/>
          </a:xfrm>
          <a:prstGeom prst="rect">
            <a:avLst/>
          </a:prstGeom>
        </p:spPr>
      </p:pic>
      <p:pic>
        <p:nvPicPr>
          <p:cNvPr id="121" name="Picture 120" descr="Sabic.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05080" y="11685307"/>
            <a:ext cx="750788" cy="750788"/>
          </a:xfrm>
          <a:prstGeom prst="rect">
            <a:avLst/>
          </a:prstGeom>
        </p:spPr>
      </p:pic>
      <p:pic>
        <p:nvPicPr>
          <p:cNvPr id="122" name="Picture 121" descr="Boeing.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63973" y="11882063"/>
            <a:ext cx="1626707" cy="357276"/>
          </a:xfrm>
          <a:prstGeom prst="rect">
            <a:avLst/>
          </a:prstGeom>
        </p:spPr>
      </p:pic>
      <p:sp>
        <p:nvSpPr>
          <p:cNvPr id="38" name="AutoShape 11"/>
          <p:cNvSpPr>
            <a:spLocks/>
          </p:cNvSpPr>
          <p:nvPr/>
        </p:nvSpPr>
        <p:spPr bwMode="auto">
          <a:xfrm>
            <a:off x="6161473" y="2213845"/>
            <a:ext cx="2794992" cy="3892517"/>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rgbClr val="FFFFFF"/>
          </a:solidFill>
          <a:ln w="9525" cap="flat" cmpd="sng">
            <a:solidFill>
              <a:srgbClr val="DCDEE0"/>
            </a:solidFill>
            <a:prstDash val="solid"/>
            <a:round/>
            <a:headEnd/>
            <a:tailEnd/>
          </a:ln>
          <a:effectLst>
            <a:outerShdw blurRad="50800" dist="60641" dir="3796869" algn="ctr" rotWithShape="0">
              <a:srgbClr val="A6AAA9">
                <a:alpha val="50000"/>
              </a:srgbClr>
            </a:outerShdw>
          </a:effectLst>
        </p:spPr>
        <p:txBody>
          <a:bodyPr lIns="0" tIns="0" rIns="0" bIns="0" anchor="ctr"/>
          <a:lstStyle/>
          <a:p>
            <a:pPr>
              <a:defRPr/>
            </a:pPr>
            <a:endParaRPr lang="en-US" sz="1300">
              <a:solidFill>
                <a:srgbClr val="FFFFFF"/>
              </a:solidFill>
              <a:cs typeface="Helvetica Light" charset="0"/>
            </a:endParaRPr>
          </a:p>
        </p:txBody>
      </p:sp>
      <p:sp>
        <p:nvSpPr>
          <p:cNvPr id="40" name="AutoShape 15"/>
          <p:cNvSpPr>
            <a:spLocks/>
          </p:cNvSpPr>
          <p:nvPr/>
        </p:nvSpPr>
        <p:spPr bwMode="auto">
          <a:xfrm>
            <a:off x="187790" y="2269374"/>
            <a:ext cx="2794992" cy="38369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rgbClr val="FFFFFF"/>
          </a:solidFill>
          <a:ln w="9525" cap="flat" cmpd="sng">
            <a:solidFill>
              <a:srgbClr val="DCDEE0"/>
            </a:solidFill>
            <a:prstDash val="solid"/>
            <a:round/>
            <a:headEnd/>
            <a:tailEnd/>
          </a:ln>
          <a:effectLst>
            <a:outerShdw blurRad="50800" dist="60641" dir="3796869" algn="ctr" rotWithShape="0">
              <a:srgbClr val="A6AAA9">
                <a:alpha val="50000"/>
              </a:srgbClr>
            </a:outerShdw>
          </a:effectLst>
        </p:spPr>
        <p:txBody>
          <a:bodyPr lIns="0" tIns="0" rIns="0" bIns="0" anchor="ctr"/>
          <a:lstStyle/>
          <a:p>
            <a:pPr>
              <a:defRPr/>
            </a:pPr>
            <a:endParaRPr lang="en-US" sz="1300">
              <a:solidFill>
                <a:srgbClr val="FFFFFF"/>
              </a:solidFill>
              <a:cs typeface="Helvetica Light" charset="0"/>
            </a:endParaRPr>
          </a:p>
        </p:txBody>
      </p:sp>
      <p:sp>
        <p:nvSpPr>
          <p:cNvPr id="41" name="AutoShape 16"/>
          <p:cNvSpPr>
            <a:spLocks/>
          </p:cNvSpPr>
          <p:nvPr/>
        </p:nvSpPr>
        <p:spPr bwMode="auto">
          <a:xfrm>
            <a:off x="3181957" y="2269374"/>
            <a:ext cx="2794992" cy="383698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solidFill>
            <a:srgbClr val="FFFFFF"/>
          </a:solidFill>
          <a:ln w="9525" cap="flat" cmpd="sng">
            <a:solidFill>
              <a:srgbClr val="DCDEE0"/>
            </a:solidFill>
            <a:prstDash val="solid"/>
            <a:round/>
            <a:headEnd/>
            <a:tailEnd/>
          </a:ln>
          <a:effectLst>
            <a:outerShdw blurRad="50800" dist="60641" dir="3796869" algn="ctr" rotWithShape="0">
              <a:srgbClr val="A6AAA9">
                <a:alpha val="50000"/>
              </a:srgbClr>
            </a:outerShdw>
          </a:effectLst>
        </p:spPr>
        <p:txBody>
          <a:bodyPr lIns="0" tIns="0" rIns="0" bIns="0" anchor="ctr"/>
          <a:lstStyle/>
          <a:p>
            <a:pPr>
              <a:defRPr/>
            </a:pPr>
            <a:endParaRPr lang="en-US" sz="1300">
              <a:solidFill>
                <a:srgbClr val="FFFFFF"/>
              </a:solidFill>
              <a:cs typeface="Helvetica Light" charset="0"/>
            </a:endParaRPr>
          </a:p>
        </p:txBody>
      </p:sp>
      <p:sp>
        <p:nvSpPr>
          <p:cNvPr id="42" name="AutoShape 17"/>
          <p:cNvSpPr>
            <a:spLocks/>
          </p:cNvSpPr>
          <p:nvPr/>
        </p:nvSpPr>
        <p:spPr bwMode="auto">
          <a:xfrm>
            <a:off x="311172" y="2315738"/>
            <a:ext cx="2559249" cy="52625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404" tIns="38404" rIns="38404" bIns="38404"/>
          <a:lstStyle/>
          <a:p>
            <a:pPr defTabSz="766763">
              <a:lnSpc>
                <a:spcPct val="90000"/>
              </a:lnSpc>
              <a:defRPr/>
            </a:pPr>
            <a:r>
              <a:rPr lang="en-US" sz="1400" b="1" dirty="0">
                <a:solidFill>
                  <a:srgbClr val="4F5052"/>
                </a:solidFill>
                <a:latin typeface="Arial"/>
                <a:cs typeface="Arial"/>
                <a:sym typeface="Open Sans" charset="0"/>
              </a:rPr>
              <a:t>A partnership </a:t>
            </a:r>
            <a:r>
              <a:rPr lang="en-US" sz="1400" b="1" dirty="0" smtClean="0">
                <a:solidFill>
                  <a:srgbClr val="4F5052"/>
                </a:solidFill>
                <a:latin typeface="Arial"/>
                <a:cs typeface="Arial"/>
                <a:sym typeface="Open Sans" charset="0"/>
              </a:rPr>
              <a:t>of</a:t>
            </a:r>
            <a:r>
              <a:rPr lang="en-US" sz="1400" b="1" dirty="0">
                <a:solidFill>
                  <a:srgbClr val="4F5052"/>
                </a:solidFill>
                <a:latin typeface="Arial"/>
                <a:cs typeface="Arial"/>
                <a:sym typeface="Open Sans" charset="0"/>
              </a:rPr>
              <a:t> </a:t>
            </a:r>
            <a:r>
              <a:rPr lang="en-US" sz="1400" b="1" dirty="0" smtClean="0">
                <a:solidFill>
                  <a:srgbClr val="4F5052"/>
                </a:solidFill>
                <a:latin typeface="Arial"/>
                <a:cs typeface="Arial"/>
                <a:sym typeface="Open Sans" charset="0"/>
              </a:rPr>
              <a:t>world</a:t>
            </a:r>
            <a:r>
              <a:rPr lang="en-US" sz="1400" b="1" dirty="0">
                <a:solidFill>
                  <a:srgbClr val="4F5052"/>
                </a:solidFill>
                <a:latin typeface="Arial"/>
                <a:cs typeface="Arial"/>
                <a:sym typeface="Open Sans" charset="0"/>
              </a:rPr>
              <a:t>-class companies </a:t>
            </a:r>
            <a:r>
              <a:rPr lang="en-US" sz="1400" dirty="0">
                <a:solidFill>
                  <a:srgbClr val="4F5052"/>
                </a:solidFill>
                <a:latin typeface="Arial"/>
                <a:cs typeface="Arial"/>
                <a:sym typeface="Open Sans Light" charset="0"/>
              </a:rPr>
              <a:t>including:</a:t>
            </a:r>
            <a:endParaRPr lang="en-US" sz="2400" dirty="0">
              <a:cs typeface="Helvetica Light" charset="0"/>
            </a:endParaRPr>
          </a:p>
        </p:txBody>
      </p:sp>
      <p:sp>
        <p:nvSpPr>
          <p:cNvPr id="63" name="AutoShape 18"/>
          <p:cNvSpPr>
            <a:spLocks/>
          </p:cNvSpPr>
          <p:nvPr/>
        </p:nvSpPr>
        <p:spPr bwMode="auto">
          <a:xfrm>
            <a:off x="3222852" y="2323254"/>
            <a:ext cx="2527906" cy="298742"/>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599"/>
                </a:lnTo>
                <a:lnTo>
                  <a:pt x="0" y="21599"/>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404" tIns="38404" rIns="38404" bIns="38404"/>
          <a:lstStyle/>
          <a:p>
            <a:pPr defTabSz="766763">
              <a:lnSpc>
                <a:spcPct val="90000"/>
              </a:lnSpc>
              <a:defRPr/>
            </a:pPr>
            <a:r>
              <a:rPr lang="en-US" sz="1400" b="1" dirty="0">
                <a:solidFill>
                  <a:srgbClr val="4F5052"/>
                </a:solidFill>
                <a:latin typeface="Arial"/>
                <a:cs typeface="Arial"/>
                <a:sym typeface="Open Sans" charset="0"/>
              </a:rPr>
              <a:t>Top </a:t>
            </a:r>
            <a:r>
              <a:rPr lang="en-US" sz="1400" b="1" dirty="0" smtClean="0">
                <a:solidFill>
                  <a:srgbClr val="4F5052"/>
                </a:solidFill>
                <a:latin typeface="Arial"/>
                <a:cs typeface="Arial"/>
                <a:sym typeface="Open Sans" charset="0"/>
              </a:rPr>
              <a:t>universities </a:t>
            </a:r>
            <a:r>
              <a:rPr lang="en-US" sz="1400" dirty="0" smtClean="0">
                <a:solidFill>
                  <a:srgbClr val="4F5052"/>
                </a:solidFill>
                <a:latin typeface="Arial"/>
                <a:cs typeface="Arial"/>
                <a:sym typeface="Open Sans Light" charset="0"/>
              </a:rPr>
              <a:t>including</a:t>
            </a:r>
            <a:r>
              <a:rPr lang="en-US" sz="1400" dirty="0">
                <a:solidFill>
                  <a:srgbClr val="4F5052"/>
                </a:solidFill>
                <a:latin typeface="Arial"/>
                <a:cs typeface="Arial"/>
                <a:sym typeface="Open Sans Light" charset="0"/>
              </a:rPr>
              <a:t>:</a:t>
            </a:r>
            <a:endParaRPr lang="en-US" sz="2400" dirty="0">
              <a:cs typeface="Helvetica Light" charset="0"/>
            </a:endParaRPr>
          </a:p>
        </p:txBody>
      </p:sp>
      <p:sp>
        <p:nvSpPr>
          <p:cNvPr id="64" name="AutoShape 19"/>
          <p:cNvSpPr>
            <a:spLocks/>
          </p:cNvSpPr>
          <p:nvPr/>
        </p:nvSpPr>
        <p:spPr bwMode="auto">
          <a:xfrm>
            <a:off x="6185508" y="2262818"/>
            <a:ext cx="2786855" cy="67146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0"/>
                </a:moveTo>
                <a:lnTo>
                  <a:pt x="21599" y="0"/>
                </a:lnTo>
                <a:lnTo>
                  <a:pt x="21599" y="21600"/>
                </a:lnTo>
                <a:lnTo>
                  <a:pt x="0" y="2160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txBody>
          <a:bodyPr lIns="38404" tIns="38404" rIns="38404" bIns="38404"/>
          <a:lstStyle/>
          <a:p>
            <a:pPr defTabSz="766763">
              <a:lnSpc>
                <a:spcPct val="80000"/>
              </a:lnSpc>
              <a:defRPr/>
            </a:pPr>
            <a:r>
              <a:rPr lang="en-US" sz="1400" b="1" dirty="0" smtClean="0">
                <a:solidFill>
                  <a:srgbClr val="4F5052"/>
                </a:solidFill>
                <a:latin typeface="Arial"/>
                <a:cs typeface="Arial"/>
                <a:sym typeface="Open Sans" charset="0"/>
              </a:rPr>
              <a:t>Economic Development Council </a:t>
            </a:r>
            <a:r>
              <a:rPr lang="en-US" sz="1400" dirty="0" smtClean="0">
                <a:solidFill>
                  <a:srgbClr val="4F5052"/>
                </a:solidFill>
                <a:latin typeface="Arial"/>
                <a:cs typeface="Arial"/>
                <a:sym typeface="Open Sans" charset="0"/>
              </a:rPr>
              <a:t>to leverage state support and investment</a:t>
            </a:r>
            <a:endParaRPr lang="en-US" sz="2400" dirty="0">
              <a:cs typeface="Helvetica Light" charset="0"/>
            </a:endParaRPr>
          </a:p>
        </p:txBody>
      </p:sp>
      <p:pic>
        <p:nvPicPr>
          <p:cNvPr id="65" name="Picture 28" descr="image22.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3351316" y="4046669"/>
            <a:ext cx="1112464" cy="3507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pic>
        <p:nvPicPr>
          <p:cNvPr id="66" name="Picture 65" descr="Louisville.jp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485927" y="5316519"/>
            <a:ext cx="647917" cy="393700"/>
          </a:xfrm>
          <a:prstGeom prst="rect">
            <a:avLst/>
          </a:prstGeom>
        </p:spPr>
      </p:pic>
      <p:pic>
        <p:nvPicPr>
          <p:cNvPr id="67" name="Picture 66"/>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281569" y="3250518"/>
            <a:ext cx="2571915" cy="1971900"/>
          </a:xfrm>
          <a:prstGeom prst="rect">
            <a:avLst/>
          </a:prstGeom>
        </p:spPr>
      </p:pic>
      <p:pic>
        <p:nvPicPr>
          <p:cNvPr id="68" name="Picture 67" descr="manufacturers-05.png"/>
          <p:cNvPicPr>
            <a:picLocks noChangeAspect="1"/>
          </p:cNvPicPr>
          <p:nvPr/>
        </p:nvPicPr>
        <p:blipFill>
          <a:blip r:embed="rId10" cstate="screen">
            <a:clrChange>
              <a:clrFrom>
                <a:srgbClr val="FFFFFF"/>
              </a:clrFrom>
              <a:clrTo>
                <a:srgbClr val="FFFFFF">
                  <a:alpha val="0"/>
                </a:srgbClr>
              </a:clrTo>
            </a:clrChange>
            <a:alphaModFix/>
            <a:extLst>
              <a:ext uri="{28A0092B-C50C-407E-A947-70E740481C1C}">
                <a14:useLocalDpi xmlns:a14="http://schemas.microsoft.com/office/drawing/2010/main"/>
              </a:ext>
            </a:extLst>
          </a:blip>
          <a:stretch>
            <a:fillRect/>
          </a:stretch>
        </p:blipFill>
        <p:spPr>
          <a:xfrm>
            <a:off x="1777135" y="3820484"/>
            <a:ext cx="1020619" cy="664478"/>
          </a:xfrm>
          <a:prstGeom prst="rect">
            <a:avLst/>
          </a:prstGeom>
        </p:spPr>
      </p:pic>
      <p:pic>
        <p:nvPicPr>
          <p:cNvPr id="69" name="Picture 6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788934" y="2812278"/>
            <a:ext cx="1179615" cy="502957"/>
          </a:xfrm>
          <a:prstGeom prst="rect">
            <a:avLst/>
          </a:prstGeom>
        </p:spPr>
      </p:pic>
      <p:pic>
        <p:nvPicPr>
          <p:cNvPr id="70" name="Picture 69" descr="Dow.png"/>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311172" y="2840735"/>
            <a:ext cx="1344833" cy="446042"/>
          </a:xfrm>
          <a:prstGeom prst="rect">
            <a:avLst/>
          </a:prstGeom>
        </p:spPr>
      </p:pic>
      <p:pic>
        <p:nvPicPr>
          <p:cNvPr id="71" name="Picture 70" descr="LockheedMartin.png"/>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467050" y="4656537"/>
            <a:ext cx="2133600" cy="365872"/>
          </a:xfrm>
          <a:prstGeom prst="rect">
            <a:avLst/>
          </a:prstGeom>
        </p:spPr>
      </p:pic>
      <p:pic>
        <p:nvPicPr>
          <p:cNvPr id="72" name="Picture 2" descr="http://upload.wikimedia.org/wikipedia/commons/thumb/4/40/Volkswagen_logo_2012.svg/1024px-Volkswagen_logo_2012.svg.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649217" y="4939241"/>
            <a:ext cx="712663" cy="712663"/>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7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251820" y="3705757"/>
            <a:ext cx="1340791" cy="421391"/>
          </a:xfrm>
          <a:prstGeom prst="rect">
            <a:avLst/>
          </a:prstGeom>
        </p:spPr>
      </p:pic>
      <p:pic>
        <p:nvPicPr>
          <p:cNvPr id="74" name="Picture 73" descr="BASF.pn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681153" y="3342207"/>
            <a:ext cx="1173429" cy="419500"/>
          </a:xfrm>
          <a:prstGeom prst="rect">
            <a:avLst/>
          </a:prstGeom>
        </p:spPr>
      </p:pic>
      <p:pic>
        <p:nvPicPr>
          <p:cNvPr id="75" name="Picture 74" descr="Dupont.png"/>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1691697" y="5215791"/>
            <a:ext cx="1181180" cy="500525"/>
          </a:xfrm>
          <a:prstGeom prst="rect">
            <a:avLst/>
          </a:prstGeom>
        </p:spPr>
      </p:pic>
      <p:pic>
        <p:nvPicPr>
          <p:cNvPr id="76" name="Picture 75" descr="ge-12.png"/>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42569" y="3245917"/>
            <a:ext cx="745021" cy="612080"/>
          </a:xfrm>
          <a:prstGeom prst="rect">
            <a:avLst/>
          </a:prstGeom>
        </p:spPr>
      </p:pic>
      <p:pic>
        <p:nvPicPr>
          <p:cNvPr id="77" name="Picture 76" descr="localMotors.png"/>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49236" y="5716316"/>
            <a:ext cx="1909595" cy="254496"/>
          </a:xfrm>
          <a:prstGeom prst="rect">
            <a:avLst/>
          </a:prstGeom>
        </p:spPr>
      </p:pic>
      <p:pic>
        <p:nvPicPr>
          <p:cNvPr id="78" name="Picture 77" descr="Boeing.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09859" y="4410390"/>
            <a:ext cx="1626707" cy="357276"/>
          </a:xfrm>
          <a:prstGeom prst="rect">
            <a:avLst/>
          </a:prstGeom>
        </p:spPr>
      </p:pic>
      <p:pic>
        <p:nvPicPr>
          <p:cNvPr id="79" name="Picture 78"/>
          <p:cNvPicPr>
            <a:picLocks noChangeAspect="1"/>
          </p:cNvPicPr>
          <p:nvPr/>
        </p:nvPicPr>
        <p:blipFill>
          <a:blip r:embed="rId20"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4093810" y="5310665"/>
            <a:ext cx="752254" cy="758116"/>
          </a:xfrm>
          <a:prstGeom prst="rect">
            <a:avLst/>
          </a:prstGeom>
        </p:spPr>
      </p:pic>
      <p:pic>
        <p:nvPicPr>
          <p:cNvPr id="80" name="Picture 79"/>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351524" y="4694009"/>
            <a:ext cx="782320" cy="331922"/>
          </a:xfrm>
          <a:prstGeom prst="rect">
            <a:avLst/>
          </a:prstGeom>
        </p:spPr>
      </p:pic>
      <p:pic>
        <p:nvPicPr>
          <p:cNvPr id="81" name="Picture 80"/>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5175473" y="3734376"/>
            <a:ext cx="691180" cy="492935"/>
          </a:xfrm>
          <a:prstGeom prst="rect">
            <a:avLst/>
          </a:prstGeom>
        </p:spPr>
      </p:pic>
      <p:pic>
        <p:nvPicPr>
          <p:cNvPr id="82" name="Picture 81"/>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5055868" y="4365891"/>
            <a:ext cx="779354" cy="570042"/>
          </a:xfrm>
          <a:prstGeom prst="rect">
            <a:avLst/>
          </a:prstGeom>
        </p:spPr>
      </p:pic>
      <p:pic>
        <p:nvPicPr>
          <p:cNvPr id="83" name="Picture 82"/>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5053300" y="5316518"/>
            <a:ext cx="721279" cy="675859"/>
          </a:xfrm>
          <a:prstGeom prst="rect">
            <a:avLst/>
          </a:prstGeom>
        </p:spPr>
      </p:pic>
      <p:pic>
        <p:nvPicPr>
          <p:cNvPr id="84" name="Picture 83"/>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4178880" y="4589028"/>
            <a:ext cx="844158" cy="568399"/>
          </a:xfrm>
          <a:prstGeom prst="rect">
            <a:avLst/>
          </a:prstGeom>
        </p:spPr>
      </p:pic>
      <p:pic>
        <p:nvPicPr>
          <p:cNvPr id="85" name="Picture 84"/>
          <p:cNvPicPr>
            <a:picLocks noChangeAspect="1"/>
          </p:cNvPicPr>
          <p:nvPr/>
        </p:nvPicPr>
        <p:blipFill rotWithShape="1">
          <a:blip r:embed="rId26" cstate="screen">
            <a:extLst>
              <a:ext uri="{28A0092B-C50C-407E-A947-70E740481C1C}">
                <a14:useLocalDpi xmlns:a14="http://schemas.microsoft.com/office/drawing/2010/main"/>
              </a:ext>
            </a:extLst>
          </a:blip>
          <a:srcRect/>
          <a:stretch/>
        </p:blipFill>
        <p:spPr>
          <a:xfrm>
            <a:off x="4128543" y="3415220"/>
            <a:ext cx="862406" cy="522092"/>
          </a:xfrm>
          <a:prstGeom prst="rect">
            <a:avLst/>
          </a:prstGeom>
        </p:spPr>
      </p:pic>
      <p:pic>
        <p:nvPicPr>
          <p:cNvPr id="86" name="Picture 85"/>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3281437" y="2564300"/>
            <a:ext cx="2596031" cy="451732"/>
          </a:xfrm>
          <a:prstGeom prst="rect">
            <a:avLst/>
          </a:prstGeom>
        </p:spPr>
      </p:pic>
      <p:pic>
        <p:nvPicPr>
          <p:cNvPr id="87" name="Picture 86"/>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5107546" y="3063756"/>
            <a:ext cx="777691" cy="583269"/>
          </a:xfrm>
          <a:prstGeom prst="rect">
            <a:avLst/>
          </a:prstGeom>
        </p:spPr>
      </p:pic>
      <p:pic>
        <p:nvPicPr>
          <p:cNvPr id="88" name="Picture 87"/>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3283351" y="3041372"/>
            <a:ext cx="810459" cy="747696"/>
          </a:xfrm>
          <a:prstGeom prst="rect">
            <a:avLst/>
          </a:prstGeom>
        </p:spPr>
      </p:pic>
    </p:spTree>
    <p:extLst>
      <p:ext uri="{BB962C8B-B14F-4D97-AF65-F5344CB8AC3E}">
        <p14:creationId xmlns:p14="http://schemas.microsoft.com/office/powerpoint/2010/main" val="2433899413"/>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687" y="1687"/>
          <a:ext cx="1619" cy="1619"/>
        </p:xfrm>
        <a:graphic>
          <a:graphicData uri="http://schemas.openxmlformats.org/presentationml/2006/ole">
            <mc:AlternateContent xmlns:mc="http://schemas.openxmlformats.org/markup-compatibility/2006">
              <mc:Choice xmlns:v="urn:schemas-microsoft-com:vml" Requires="v">
                <p:oleObj spid="_x0000_s1051" name="think-cell Slide" r:id="rId6" imgW="360" imgH="360" progId="">
                  <p:embed/>
                </p:oleObj>
              </mc:Choice>
              <mc:Fallback>
                <p:oleObj name="think-cell Slide" r:id="rId6" imgW="360" imgH="360" progId="">
                  <p:embed/>
                  <p:pic>
                    <p:nvPicPr>
                      <p:cNvPr id="5" name="Object 4"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87" y="1687"/>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bwMode="auto">
          <a:xfrm>
            <a:off x="0" y="0"/>
            <a:ext cx="16198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defTabSz="926647"/>
            <a:endParaRPr lang="en-US" sz="1000" b="1" dirty="0">
              <a:solidFill>
                <a:srgbClr val="000000"/>
              </a:solidFill>
              <a:sym typeface="+mn-lt"/>
            </a:endParaRPr>
          </a:p>
        </p:txBody>
      </p:sp>
      <p:sp>
        <p:nvSpPr>
          <p:cNvPr id="82" name="Title 1"/>
          <p:cNvSpPr txBox="1">
            <a:spLocks/>
          </p:cNvSpPr>
          <p:nvPr/>
        </p:nvSpPr>
        <p:spPr>
          <a:xfrm>
            <a:off x="1045189" y="81161"/>
            <a:ext cx="7239621" cy="69382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600" kern="1200">
                <a:solidFill>
                  <a:schemeClr val="bg1"/>
                </a:solidFill>
                <a:latin typeface="+mj-lt"/>
                <a:ea typeface="+mj-ea"/>
                <a:cs typeface="+mj-cs"/>
              </a:defRPr>
            </a:lvl1pPr>
          </a:lstStyle>
          <a:p>
            <a:pPr algn="l"/>
            <a:r>
              <a:rPr lang="en-US" b="1" dirty="0"/>
              <a:t>4) Addressing Critical Challenges</a:t>
            </a:r>
          </a:p>
        </p:txBody>
      </p:sp>
      <p:sp>
        <p:nvSpPr>
          <p:cNvPr id="83" name="TextBox 82"/>
          <p:cNvSpPr txBox="1"/>
          <p:nvPr/>
        </p:nvSpPr>
        <p:spPr>
          <a:xfrm>
            <a:off x="161984" y="1158614"/>
            <a:ext cx="8839200" cy="707886"/>
          </a:xfrm>
          <a:prstGeom prst="rect">
            <a:avLst/>
          </a:prstGeom>
          <a:solidFill>
            <a:srgbClr val="003366"/>
          </a:solidFill>
        </p:spPr>
        <p:txBody>
          <a:bodyPr wrap="square" rtlCol="0">
            <a:spAutoFit/>
          </a:bodyPr>
          <a:lstStyle/>
          <a:p>
            <a:r>
              <a:rPr lang="en-US" sz="2000" i="1" dirty="0" smtClean="0">
                <a:solidFill>
                  <a:schemeClr val="bg1"/>
                </a:solidFill>
              </a:rPr>
              <a:t>By workshops and Technology Roadmaps, Each </a:t>
            </a:r>
            <a:r>
              <a:rPr lang="en-US" sz="2000" i="1" dirty="0">
                <a:solidFill>
                  <a:schemeClr val="bg1"/>
                </a:solidFill>
              </a:rPr>
              <a:t>Institute </a:t>
            </a:r>
            <a:r>
              <a:rPr lang="en-US" sz="2000" i="1" dirty="0" smtClean="0">
                <a:solidFill>
                  <a:schemeClr val="bg1"/>
                </a:solidFill>
              </a:rPr>
              <a:t>works on the industry priorities and big challenges only solvable by collaboration</a:t>
            </a:r>
            <a:endParaRPr lang="en-US" sz="2000" i="1" dirty="0">
              <a:solidFill>
                <a:schemeClr val="bg1"/>
              </a:solidFill>
            </a:endParaRPr>
          </a:p>
        </p:txBody>
      </p:sp>
      <p:graphicFrame>
        <p:nvGraphicFramePr>
          <p:cNvPr id="12" name="Content Placeholder 11"/>
          <p:cNvGraphicFramePr>
            <a:graphicFrameLocks noGrp="1"/>
          </p:cNvGraphicFramePr>
          <p:nvPr>
            <p:ph idx="1"/>
            <p:extLst/>
          </p:nvPr>
        </p:nvGraphicFramePr>
        <p:xfrm>
          <a:off x="313955" y="2085654"/>
          <a:ext cx="8638497" cy="442480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377575491"/>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a:xfrm>
            <a:off x="125927" y="5733486"/>
            <a:ext cx="8919470" cy="70663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0" name="Rectangle 19"/>
          <p:cNvSpPr/>
          <p:nvPr/>
        </p:nvSpPr>
        <p:spPr>
          <a:xfrm>
            <a:off x="104495" y="4812972"/>
            <a:ext cx="8919470" cy="83814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9" name="Rectangle 18"/>
          <p:cNvSpPr/>
          <p:nvPr/>
        </p:nvSpPr>
        <p:spPr>
          <a:xfrm>
            <a:off x="112420" y="2234614"/>
            <a:ext cx="8961206" cy="1365786"/>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8" name="Rectangle 17"/>
          <p:cNvSpPr/>
          <p:nvPr/>
        </p:nvSpPr>
        <p:spPr>
          <a:xfrm>
            <a:off x="102363" y="3682769"/>
            <a:ext cx="8919470" cy="104783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aphicFrame>
        <p:nvGraphicFramePr>
          <p:cNvPr id="7173" name="Object 2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5" name="think-cell Slide" r:id="rId5" imgW="360" imgH="360" progId="">
                  <p:embed/>
                </p:oleObj>
              </mc:Choice>
              <mc:Fallback>
                <p:oleObj name="think-cell Slide" r:id="rId5" imgW="360" imgH="360" progId="">
                  <p:embed/>
                  <p:pic>
                    <p:nvPicPr>
                      <p:cNvPr id="7173" name="Object 2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175" name="TextBox 2"/>
          <p:cNvSpPr txBox="1">
            <a:spLocks noChangeArrowheads="1"/>
          </p:cNvSpPr>
          <p:nvPr/>
        </p:nvSpPr>
        <p:spPr bwMode="auto">
          <a:xfrm>
            <a:off x="2766960" y="2196611"/>
            <a:ext cx="6105274"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22780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7352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1924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6496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15888" indent="-115888">
              <a:buFont typeface="Arial" panose="020B0604020202020204" pitchFamily="34" charset="0"/>
              <a:buChar char="•"/>
            </a:pPr>
            <a:r>
              <a:rPr lang="en-US" altLang="en-US" sz="1200" dirty="0" smtClean="0">
                <a:solidFill>
                  <a:schemeClr val="tx2">
                    <a:lumMod val="50000"/>
                  </a:schemeClr>
                </a:solidFill>
              </a:rPr>
              <a:t>Strengthen infrastructure capacity:</a:t>
            </a:r>
          </a:p>
          <a:p>
            <a:pPr marL="171450" lvl="1"/>
            <a:r>
              <a:rPr lang="en-US" altLang="en-US" sz="1200" dirty="0" smtClean="0">
                <a:solidFill>
                  <a:schemeClr val="tx2">
                    <a:lumMod val="50000"/>
                  </a:schemeClr>
                </a:solidFill>
              </a:rPr>
              <a:t> - Materials </a:t>
            </a:r>
            <a:r>
              <a:rPr lang="en-US" altLang="en-US" sz="1200" dirty="0">
                <a:solidFill>
                  <a:schemeClr val="tx2">
                    <a:lumMod val="50000"/>
                  </a:schemeClr>
                </a:solidFill>
              </a:rPr>
              <a:t>and processing </a:t>
            </a:r>
            <a:r>
              <a:rPr lang="en-US" altLang="en-US" sz="1200" dirty="0" smtClean="0">
                <a:solidFill>
                  <a:schemeClr val="tx2">
                    <a:lumMod val="50000"/>
                  </a:schemeClr>
                </a:solidFill>
              </a:rPr>
              <a:t>    - Modeling </a:t>
            </a:r>
            <a:r>
              <a:rPr lang="en-US" altLang="en-US" sz="1200" dirty="0">
                <a:solidFill>
                  <a:schemeClr val="tx2">
                    <a:lumMod val="50000"/>
                  </a:schemeClr>
                </a:solidFill>
              </a:rPr>
              <a:t>and simulation </a:t>
            </a:r>
            <a:endParaRPr lang="en-US" altLang="en-US" sz="1200" dirty="0" smtClean="0">
              <a:solidFill>
                <a:schemeClr val="tx2">
                  <a:lumMod val="50000"/>
                </a:schemeClr>
              </a:solidFill>
            </a:endParaRPr>
          </a:p>
          <a:p>
            <a:pPr marL="287338" lvl="1" indent="-115888">
              <a:buFont typeface="Arial" panose="020B0604020202020204" pitchFamily="34" charset="0"/>
              <a:buChar char="•"/>
            </a:pPr>
            <a:endParaRPr lang="en-US" altLang="en-US" sz="1200" dirty="0" smtClean="0">
              <a:solidFill>
                <a:schemeClr val="tx2">
                  <a:lumMod val="50000"/>
                </a:schemeClr>
              </a:solidFill>
            </a:endParaRPr>
          </a:p>
          <a:p>
            <a:pPr marL="115888" indent="-115888">
              <a:buFont typeface="Arial" panose="020B0604020202020204" pitchFamily="34" charset="0"/>
              <a:buChar char="•"/>
            </a:pPr>
            <a:r>
              <a:rPr lang="en-US" altLang="en-US" sz="1200" dirty="0" smtClean="0">
                <a:solidFill>
                  <a:schemeClr val="tx2">
                    <a:lumMod val="50000"/>
                  </a:schemeClr>
                </a:solidFill>
              </a:rPr>
              <a:t>Innovation and workforce development </a:t>
            </a:r>
            <a:r>
              <a:rPr lang="en-US" altLang="en-US" sz="1200" dirty="0">
                <a:solidFill>
                  <a:schemeClr val="tx2">
                    <a:lumMod val="50000"/>
                  </a:schemeClr>
                </a:solidFill>
              </a:rPr>
              <a:t>in </a:t>
            </a:r>
            <a:r>
              <a:rPr lang="en-US" altLang="en-US" sz="1200" dirty="0" smtClean="0">
                <a:solidFill>
                  <a:schemeClr val="tx2">
                    <a:lumMod val="50000"/>
                  </a:schemeClr>
                </a:solidFill>
              </a:rPr>
              <a:t>strategic areas with national benefit:</a:t>
            </a:r>
            <a:endParaRPr lang="en-US" altLang="en-US" sz="1200" dirty="0">
              <a:solidFill>
                <a:schemeClr val="tx2">
                  <a:lumMod val="50000"/>
                </a:schemeClr>
              </a:solidFill>
            </a:endParaRPr>
          </a:p>
          <a:p>
            <a:pPr marL="171450" lvl="1"/>
            <a:r>
              <a:rPr lang="en-US" altLang="en-US" sz="1200" dirty="0" smtClean="0">
                <a:solidFill>
                  <a:schemeClr val="tx2">
                    <a:lumMod val="50000"/>
                  </a:schemeClr>
                </a:solidFill>
              </a:rPr>
              <a:t> - Automotive  - Wind  - Compressed </a:t>
            </a:r>
            <a:r>
              <a:rPr lang="en-US" altLang="en-US" sz="1200" dirty="0">
                <a:solidFill>
                  <a:schemeClr val="tx2">
                    <a:lumMod val="50000"/>
                  </a:schemeClr>
                </a:solidFill>
              </a:rPr>
              <a:t>gas </a:t>
            </a:r>
            <a:r>
              <a:rPr lang="en-US" altLang="en-US" sz="1200" dirty="0" smtClean="0">
                <a:solidFill>
                  <a:schemeClr val="tx2">
                    <a:lumMod val="50000"/>
                  </a:schemeClr>
                </a:solidFill>
              </a:rPr>
              <a:t>storage</a:t>
            </a:r>
            <a:endParaRPr lang="en-US" altLang="en-US" sz="1200" dirty="0">
              <a:solidFill>
                <a:schemeClr val="tx2">
                  <a:lumMod val="50000"/>
                </a:schemeClr>
              </a:solidFill>
            </a:endParaRPr>
          </a:p>
        </p:txBody>
      </p:sp>
      <p:sp>
        <p:nvSpPr>
          <p:cNvPr id="7176" name="TextBox 3"/>
          <p:cNvSpPr txBox="1">
            <a:spLocks noChangeArrowheads="1"/>
          </p:cNvSpPr>
          <p:nvPr/>
        </p:nvSpPr>
        <p:spPr bwMode="auto">
          <a:xfrm>
            <a:off x="102363" y="2379107"/>
            <a:ext cx="2519363"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r>
              <a:rPr lang="en-US" altLang="en-US" sz="1400" b="1" dirty="0">
                <a:solidFill>
                  <a:srgbClr val="002060"/>
                </a:solidFill>
              </a:rPr>
              <a:t>1. First Projects</a:t>
            </a:r>
          </a:p>
          <a:p>
            <a:r>
              <a:rPr lang="en-US" altLang="en-US" sz="1400" dirty="0"/>
              <a:t>Identified in proposal </a:t>
            </a:r>
            <a:r>
              <a:rPr lang="en-US" altLang="en-US" sz="1400" dirty="0" smtClean="0"/>
              <a:t>to DOE</a:t>
            </a:r>
            <a:endParaRPr lang="en-US" altLang="en-US" sz="1400" dirty="0"/>
          </a:p>
        </p:txBody>
      </p:sp>
      <p:sp>
        <p:nvSpPr>
          <p:cNvPr id="7177" name="TextBox 9"/>
          <p:cNvSpPr txBox="1">
            <a:spLocks noChangeArrowheads="1"/>
          </p:cNvSpPr>
          <p:nvPr/>
        </p:nvSpPr>
        <p:spPr bwMode="auto">
          <a:xfrm>
            <a:off x="133696" y="4912451"/>
            <a:ext cx="2565116"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7338" indent="-287338"/>
            <a:r>
              <a:rPr lang="en-US" altLang="en-US" sz="1400" b="1" dirty="0">
                <a:solidFill>
                  <a:srgbClr val="002060"/>
                </a:solidFill>
              </a:rPr>
              <a:t>3. Strategic Investment Plan</a:t>
            </a:r>
          </a:p>
          <a:p>
            <a:r>
              <a:rPr lang="en-US" altLang="en-US" sz="1400" dirty="0"/>
              <a:t>Driven by </a:t>
            </a:r>
            <a:r>
              <a:rPr lang="en-US" altLang="en-US" sz="1400" dirty="0" smtClean="0"/>
              <a:t>IACMI BOD and Technical Advisory Board</a:t>
            </a:r>
            <a:endParaRPr lang="en-US" altLang="en-US" sz="1400" dirty="0"/>
          </a:p>
        </p:txBody>
      </p:sp>
      <p:sp>
        <p:nvSpPr>
          <p:cNvPr id="7179" name="TextBox 11"/>
          <p:cNvSpPr txBox="1">
            <a:spLocks noChangeArrowheads="1"/>
          </p:cNvSpPr>
          <p:nvPr/>
        </p:nvSpPr>
        <p:spPr bwMode="auto">
          <a:xfrm>
            <a:off x="2787828" y="3849337"/>
            <a:ext cx="6105274"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22780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7352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1924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6496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15888" indent="-115888">
              <a:buFont typeface="Arial" panose="020B0604020202020204" pitchFamily="34" charset="0"/>
              <a:buChar char="•"/>
            </a:pPr>
            <a:r>
              <a:rPr lang="en-US" altLang="en-US" sz="1200" dirty="0" smtClean="0">
                <a:solidFill>
                  <a:schemeClr val="tx2">
                    <a:lumMod val="50000"/>
                  </a:schemeClr>
                </a:solidFill>
              </a:rPr>
              <a:t>Identifies key hurdles to high -impact, large scale advanced composites manufacturing</a:t>
            </a:r>
          </a:p>
          <a:p>
            <a:pPr marL="115888" indent="-115888">
              <a:buFont typeface="Arial" panose="020B0604020202020204" pitchFamily="34" charset="0"/>
              <a:buChar char="•"/>
            </a:pPr>
            <a:r>
              <a:rPr lang="en-US" altLang="en-US" sz="1200" dirty="0" smtClean="0">
                <a:solidFill>
                  <a:schemeClr val="tx2">
                    <a:lumMod val="50000"/>
                  </a:schemeClr>
                </a:solidFill>
              </a:rPr>
              <a:t>Prioritizes opportunities across the materials and manufacturing supply chain</a:t>
            </a:r>
          </a:p>
          <a:p>
            <a:pPr>
              <a:buFont typeface="Arial" panose="020B0604020202020204" pitchFamily="34" charset="0"/>
              <a:buChar char="•"/>
            </a:pPr>
            <a:endParaRPr lang="en-US" altLang="en-US" sz="1400" dirty="0">
              <a:solidFill>
                <a:schemeClr val="tx2">
                  <a:lumMod val="50000"/>
                </a:schemeClr>
              </a:solidFill>
            </a:endParaRPr>
          </a:p>
        </p:txBody>
      </p:sp>
      <p:sp>
        <p:nvSpPr>
          <p:cNvPr id="7180" name="TextBox 12"/>
          <p:cNvSpPr txBox="1">
            <a:spLocks noChangeArrowheads="1"/>
          </p:cNvSpPr>
          <p:nvPr/>
        </p:nvSpPr>
        <p:spPr bwMode="auto">
          <a:xfrm>
            <a:off x="133695" y="3721383"/>
            <a:ext cx="2519363"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287338" indent="-287338"/>
            <a:r>
              <a:rPr lang="en-US" altLang="en-US" sz="1400" b="1" dirty="0">
                <a:solidFill>
                  <a:srgbClr val="002060"/>
                </a:solidFill>
              </a:rPr>
              <a:t>2. Technology Roadmap</a:t>
            </a:r>
          </a:p>
          <a:p>
            <a:r>
              <a:rPr lang="en-US" altLang="en-US" sz="1400" dirty="0"/>
              <a:t>Driven by </a:t>
            </a:r>
            <a:r>
              <a:rPr lang="en-US" altLang="en-US" sz="1400" dirty="0" smtClean="0"/>
              <a:t>IACMI CTO, Industry and Technology Advisory Board</a:t>
            </a:r>
            <a:endParaRPr lang="en-US" altLang="en-US" sz="1400" dirty="0"/>
          </a:p>
        </p:txBody>
      </p:sp>
      <p:sp>
        <p:nvSpPr>
          <p:cNvPr id="7182" name="TextBox 14"/>
          <p:cNvSpPr txBox="1">
            <a:spLocks noChangeArrowheads="1"/>
          </p:cNvSpPr>
          <p:nvPr/>
        </p:nvSpPr>
        <p:spPr bwMode="auto">
          <a:xfrm>
            <a:off x="2803438" y="4816812"/>
            <a:ext cx="610527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22780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7352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1924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6496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15888" indent="-115888">
              <a:buFont typeface="Arial" panose="020B0604020202020204" pitchFamily="34" charset="0"/>
              <a:buChar char="•"/>
            </a:pPr>
            <a:endParaRPr lang="en-US" altLang="en-US" sz="1200" dirty="0" smtClean="0">
              <a:solidFill>
                <a:schemeClr val="tx2">
                  <a:lumMod val="50000"/>
                </a:schemeClr>
              </a:solidFill>
            </a:endParaRPr>
          </a:p>
          <a:p>
            <a:pPr marL="115888" indent="-115888">
              <a:buFont typeface="Arial" panose="020B0604020202020204" pitchFamily="34" charset="0"/>
              <a:buChar char="•"/>
            </a:pPr>
            <a:r>
              <a:rPr lang="en-US" sz="1200" dirty="0" smtClean="0">
                <a:solidFill>
                  <a:schemeClr val="tx2">
                    <a:lumMod val="50000"/>
                  </a:schemeClr>
                </a:solidFill>
              </a:rPr>
              <a:t>Changing </a:t>
            </a:r>
            <a:r>
              <a:rPr lang="en-US" sz="1200" dirty="0">
                <a:solidFill>
                  <a:schemeClr val="tx2">
                    <a:lumMod val="50000"/>
                  </a:schemeClr>
                </a:solidFill>
              </a:rPr>
              <a:t>the innovation </a:t>
            </a:r>
            <a:r>
              <a:rPr lang="en-US" sz="1200" dirty="0" smtClean="0">
                <a:solidFill>
                  <a:schemeClr val="tx2">
                    <a:lumMod val="50000"/>
                  </a:schemeClr>
                </a:solidFill>
              </a:rPr>
              <a:t>cycle to enable rapid adoption and scale-up of advanced composites manufacturing</a:t>
            </a:r>
            <a:endParaRPr lang="en-US" altLang="en-US" sz="1200" dirty="0" smtClean="0">
              <a:solidFill>
                <a:schemeClr val="tx2">
                  <a:lumMod val="50000"/>
                </a:schemeClr>
              </a:solidFill>
            </a:endParaRPr>
          </a:p>
          <a:p>
            <a:pPr marL="115888" indent="-115888">
              <a:buFont typeface="Arial" panose="020B0604020202020204" pitchFamily="34" charset="0"/>
              <a:buChar char="•"/>
            </a:pPr>
            <a:endParaRPr lang="en-US" altLang="en-US" sz="1200" dirty="0" smtClean="0">
              <a:solidFill>
                <a:schemeClr val="tx2">
                  <a:lumMod val="50000"/>
                </a:schemeClr>
              </a:solidFill>
            </a:endParaRPr>
          </a:p>
        </p:txBody>
      </p:sp>
      <p:cxnSp>
        <p:nvCxnSpPr>
          <p:cNvPr id="21" name="Straight Connector 20"/>
          <p:cNvCxnSpPr/>
          <p:nvPr/>
        </p:nvCxnSpPr>
        <p:spPr>
          <a:xfrm flipH="1">
            <a:off x="2696525" y="1921399"/>
            <a:ext cx="2287" cy="459285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7187" name="TextBox 26"/>
          <p:cNvSpPr txBox="1">
            <a:spLocks noChangeArrowheads="1"/>
          </p:cNvSpPr>
          <p:nvPr/>
        </p:nvSpPr>
        <p:spPr bwMode="auto">
          <a:xfrm>
            <a:off x="798219" y="1938862"/>
            <a:ext cx="10191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b="1" dirty="0"/>
              <a:t>Activity</a:t>
            </a:r>
          </a:p>
        </p:txBody>
      </p:sp>
      <p:sp>
        <p:nvSpPr>
          <p:cNvPr id="7188" name="TextBox 27"/>
          <p:cNvSpPr txBox="1">
            <a:spLocks noChangeArrowheads="1"/>
          </p:cNvSpPr>
          <p:nvPr/>
        </p:nvSpPr>
        <p:spPr bwMode="auto">
          <a:xfrm>
            <a:off x="3866857" y="1922987"/>
            <a:ext cx="890587"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altLang="en-US" b="1"/>
              <a:t>Result</a:t>
            </a:r>
          </a:p>
        </p:txBody>
      </p:sp>
      <p:sp>
        <p:nvSpPr>
          <p:cNvPr id="16" name="Title 1"/>
          <p:cNvSpPr txBox="1">
            <a:spLocks/>
          </p:cNvSpPr>
          <p:nvPr/>
        </p:nvSpPr>
        <p:spPr>
          <a:xfrm>
            <a:off x="1191291" y="132559"/>
            <a:ext cx="7031281" cy="693821"/>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3600" kern="1200">
                <a:solidFill>
                  <a:schemeClr val="bg1"/>
                </a:solidFill>
                <a:latin typeface="+mj-lt"/>
                <a:ea typeface="+mj-ea"/>
                <a:cs typeface="+mj-cs"/>
              </a:defRPr>
            </a:lvl1pPr>
          </a:lstStyle>
          <a:p>
            <a:pPr algn="l"/>
            <a:r>
              <a:rPr lang="en-US" b="1" dirty="0"/>
              <a:t>5) Balanced Portfolio of Projects</a:t>
            </a:r>
          </a:p>
        </p:txBody>
      </p:sp>
      <p:sp>
        <p:nvSpPr>
          <p:cNvPr id="17" name="TextBox 16"/>
          <p:cNvSpPr txBox="1"/>
          <p:nvPr/>
        </p:nvSpPr>
        <p:spPr>
          <a:xfrm>
            <a:off x="166062" y="1191153"/>
            <a:ext cx="8839200" cy="707886"/>
          </a:xfrm>
          <a:prstGeom prst="rect">
            <a:avLst/>
          </a:prstGeom>
          <a:solidFill>
            <a:srgbClr val="003366"/>
          </a:solidFill>
        </p:spPr>
        <p:txBody>
          <a:bodyPr wrap="square" rtlCol="0">
            <a:spAutoFit/>
          </a:bodyPr>
          <a:lstStyle/>
          <a:p>
            <a:r>
              <a:rPr lang="en-US" sz="2000" i="1" dirty="0" smtClean="0">
                <a:solidFill>
                  <a:schemeClr val="bg1"/>
                </a:solidFill>
              </a:rPr>
              <a:t>From Technology Roadmaps and Strategic Investment Plan, Each Institute manages a balanced portfolio of real projects for Industry</a:t>
            </a:r>
            <a:endParaRPr lang="en-US" sz="2000" i="1" dirty="0">
              <a:solidFill>
                <a:schemeClr val="bg1"/>
              </a:solidFill>
            </a:endParaRPr>
          </a:p>
        </p:txBody>
      </p:sp>
      <p:sp>
        <p:nvSpPr>
          <p:cNvPr id="23" name="TextBox 9"/>
          <p:cNvSpPr txBox="1">
            <a:spLocks noChangeArrowheads="1"/>
          </p:cNvSpPr>
          <p:nvPr/>
        </p:nvSpPr>
        <p:spPr bwMode="auto">
          <a:xfrm>
            <a:off x="247597" y="6009511"/>
            <a:ext cx="251936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287338" indent="-287338"/>
            <a:r>
              <a:rPr lang="en-US" altLang="en-US" sz="1400" b="1" dirty="0">
                <a:solidFill>
                  <a:srgbClr val="002060"/>
                </a:solidFill>
              </a:rPr>
              <a:t>4</a:t>
            </a:r>
            <a:r>
              <a:rPr lang="en-US" altLang="en-US" sz="1400" b="1" dirty="0" smtClean="0">
                <a:solidFill>
                  <a:srgbClr val="002060"/>
                </a:solidFill>
              </a:rPr>
              <a:t>. Open Project Call</a:t>
            </a:r>
            <a:endParaRPr lang="en-US" altLang="en-US" sz="1400" b="1" dirty="0">
              <a:solidFill>
                <a:srgbClr val="002060"/>
              </a:solidFill>
            </a:endParaRPr>
          </a:p>
        </p:txBody>
      </p:sp>
      <p:sp>
        <p:nvSpPr>
          <p:cNvPr id="25" name="TextBox 11"/>
          <p:cNvSpPr txBox="1">
            <a:spLocks noChangeArrowheads="1"/>
          </p:cNvSpPr>
          <p:nvPr/>
        </p:nvSpPr>
        <p:spPr bwMode="auto">
          <a:xfrm>
            <a:off x="2879953" y="5752575"/>
            <a:ext cx="6105274" cy="8617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a:defRPr>
                <a:solidFill>
                  <a:schemeClr val="tx1"/>
                </a:solidFill>
                <a:latin typeface="Arial" panose="020B0604020202020204" pitchFamily="34" charset="0"/>
                <a:cs typeface="Arial" panose="020B0604020202020204" pitchFamily="34" charset="0"/>
              </a:defRPr>
            </a:lvl1pPr>
            <a:lvl2pPr>
              <a:defRPr>
                <a:solidFill>
                  <a:schemeClr val="tx1"/>
                </a:solidFill>
                <a:latin typeface="Arial" panose="020B0604020202020204" pitchFamily="34" charset="0"/>
                <a:cs typeface="Arial" panose="020B0604020202020204" pitchFamily="34" charset="0"/>
              </a:defRPr>
            </a:lvl2pPr>
            <a:lvl3pPr>
              <a:defRPr>
                <a:solidFill>
                  <a:schemeClr val="tx1"/>
                </a:solidFill>
                <a:latin typeface="Arial" panose="020B0604020202020204" pitchFamily="34" charset="0"/>
                <a:cs typeface="Arial" panose="020B0604020202020204" pitchFamily="34" charset="0"/>
              </a:defRPr>
            </a:lvl3pPr>
            <a:lvl4pPr>
              <a:defRPr>
                <a:solidFill>
                  <a:schemeClr val="tx1"/>
                </a:solidFill>
                <a:latin typeface="Arial" panose="020B0604020202020204" pitchFamily="34" charset="0"/>
                <a:cs typeface="Arial" panose="020B0604020202020204" pitchFamily="34" charset="0"/>
              </a:defRPr>
            </a:lvl4pPr>
            <a:lvl5pPr>
              <a:defRPr>
                <a:solidFill>
                  <a:schemeClr val="tx1"/>
                </a:solidFill>
                <a:latin typeface="Arial" panose="020B0604020202020204" pitchFamily="34" charset="0"/>
                <a:cs typeface="Arial" panose="020B0604020202020204" pitchFamily="34" charset="0"/>
              </a:defRPr>
            </a:lvl5pPr>
            <a:lvl6pPr marL="22780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7352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1924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649663" indent="7938" defTabSz="909638"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115888" indent="-115888">
              <a:buFont typeface="Arial" panose="020B0604020202020204" pitchFamily="34" charset="0"/>
              <a:buChar char="•"/>
            </a:pPr>
            <a:r>
              <a:rPr lang="en-US" altLang="en-US" sz="1200" dirty="0" smtClean="0">
                <a:solidFill>
                  <a:schemeClr val="tx2">
                    <a:lumMod val="50000"/>
                  </a:schemeClr>
                </a:solidFill>
              </a:rPr>
              <a:t>Aligns with strategic investment plan and technology roadmap</a:t>
            </a:r>
          </a:p>
          <a:p>
            <a:pPr marL="115888" indent="-115888">
              <a:buFont typeface="Arial" panose="020B0604020202020204" pitchFamily="34" charset="0"/>
              <a:buChar char="•"/>
            </a:pPr>
            <a:r>
              <a:rPr lang="en-US" altLang="en-US" sz="1200" dirty="0" smtClean="0">
                <a:solidFill>
                  <a:schemeClr val="tx2">
                    <a:lumMod val="50000"/>
                  </a:schemeClr>
                </a:solidFill>
              </a:rPr>
              <a:t>Emphasis on projects with high near term impact.</a:t>
            </a:r>
          </a:p>
          <a:p>
            <a:pPr marL="115888" indent="-115888">
              <a:buFont typeface="Arial" panose="020B0604020202020204" pitchFamily="34" charset="0"/>
              <a:buChar char="•"/>
            </a:pPr>
            <a:r>
              <a:rPr lang="en-US" altLang="en-US" sz="1200" b="1" dirty="0" smtClean="0">
                <a:solidFill>
                  <a:schemeClr val="tx2">
                    <a:lumMod val="50000"/>
                  </a:schemeClr>
                </a:solidFill>
              </a:rPr>
              <a:t>Project Call- </a:t>
            </a:r>
            <a:r>
              <a:rPr lang="en-US" altLang="en-US" sz="1200" dirty="0" smtClean="0">
                <a:solidFill>
                  <a:schemeClr val="tx2">
                    <a:lumMod val="50000"/>
                  </a:schemeClr>
                </a:solidFill>
              </a:rPr>
              <a:t>open NOW</a:t>
            </a:r>
            <a:endParaRPr lang="en-US" altLang="en-US" sz="1200" dirty="0">
              <a:solidFill>
                <a:schemeClr val="tx2">
                  <a:lumMod val="50000"/>
                </a:schemeClr>
              </a:solidFill>
            </a:endParaRPr>
          </a:p>
          <a:p>
            <a:pPr>
              <a:buFont typeface="Arial" panose="020B0604020202020204" pitchFamily="34" charset="0"/>
              <a:buChar char="•"/>
            </a:pPr>
            <a:endParaRPr lang="en-US" altLang="en-US" sz="1400" dirty="0">
              <a:solidFill>
                <a:schemeClr val="tx2">
                  <a:lumMod val="50000"/>
                </a:schemeClr>
              </a:solidFill>
            </a:endParaRPr>
          </a:p>
        </p:txBody>
      </p:sp>
    </p:spTree>
    <p:extLst>
      <p:ext uri="{BB962C8B-B14F-4D97-AF65-F5344CB8AC3E}">
        <p14:creationId xmlns:p14="http://schemas.microsoft.com/office/powerpoint/2010/main" val="937010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310944" y="-27920"/>
            <a:ext cx="8426618" cy="954107"/>
          </a:xfrm>
          <a:prstGeom prst="rect">
            <a:avLst/>
          </a:prstGeom>
          <a:noFill/>
        </p:spPr>
        <p:txBody>
          <a:bodyPr wrap="square" rtlCol="0">
            <a:spAutoFit/>
          </a:bodyPr>
          <a:lstStyle/>
          <a:p>
            <a:pPr algn="ctr"/>
            <a:r>
              <a:rPr lang="en-US" sz="2800" dirty="0" smtClean="0">
                <a:solidFill>
                  <a:schemeClr val="bg1"/>
                </a:solidFill>
                <a:latin typeface="Arial" panose="020B0604020202020204" pitchFamily="34" charset="0"/>
                <a:cs typeface="Arial" panose="020B0604020202020204" pitchFamily="34" charset="0"/>
              </a:rPr>
              <a:t>Interagency Advanced Manufacturing</a:t>
            </a:r>
          </a:p>
          <a:p>
            <a:pPr algn="ctr"/>
            <a:r>
              <a:rPr lang="en-US" sz="2800" dirty="0" smtClean="0">
                <a:solidFill>
                  <a:schemeClr val="bg1"/>
                </a:solidFill>
                <a:latin typeface="Arial" panose="020B0604020202020204" pitchFamily="34" charset="0"/>
                <a:cs typeface="Arial" panose="020B0604020202020204" pitchFamily="34" charset="0"/>
              </a:rPr>
              <a:t>National Program Office (AMNPO)</a:t>
            </a:r>
            <a:endParaRPr lang="en-US" sz="2800" dirty="0">
              <a:solidFill>
                <a:schemeClr val="bg1"/>
              </a:solidFill>
              <a:latin typeface="Arial" panose="020B0604020202020204" pitchFamily="34" charset="0"/>
              <a:cs typeface="Arial" panose="020B0604020202020204" pitchFamily="34" charset="0"/>
            </a:endParaRPr>
          </a:p>
        </p:txBody>
      </p:sp>
      <p:sp>
        <p:nvSpPr>
          <p:cNvPr id="8" name="Slide Number Placeholder 33"/>
          <p:cNvSpPr>
            <a:spLocks noGrp="1"/>
          </p:cNvSpPr>
          <p:nvPr>
            <p:ph type="sldNum" sz="quarter" idx="12"/>
          </p:nvPr>
        </p:nvSpPr>
        <p:spPr>
          <a:xfrm>
            <a:off x="88490" y="6324600"/>
            <a:ext cx="444909" cy="365125"/>
          </a:xfrm>
        </p:spPr>
        <p:txBody>
          <a:bodyPr/>
          <a:lstStyle/>
          <a:p>
            <a:pPr eaLnBrk="1" latinLnBrk="0" hangingPunct="1"/>
            <a:fld id="{D5BBC35B-A44B-4119-B8DA-DE9E3DFADA20}" type="slidenum">
              <a:rPr kumimoji="0" lang="en-US" sz="1400" smtClean="0">
                <a:solidFill>
                  <a:schemeClr val="bg1"/>
                </a:solidFill>
                <a:latin typeface="Arial" panose="020B0604020202020204" pitchFamily="34" charset="0"/>
                <a:cs typeface="Arial" panose="020B0604020202020204" pitchFamily="34" charset="0"/>
              </a:rPr>
              <a:pPr eaLnBrk="1" latinLnBrk="0" hangingPunct="1"/>
              <a:t>2</a:t>
            </a:fld>
            <a:endParaRPr kumimoji="0" lang="en-US" sz="1400" dirty="0">
              <a:solidFill>
                <a:schemeClr val="bg1"/>
              </a:solidFill>
              <a:latin typeface="Arial" panose="020B0604020202020204" pitchFamily="34" charset="0"/>
              <a:cs typeface="Arial" panose="020B0604020202020204" pitchFamily="34" charset="0"/>
            </a:endParaRPr>
          </a:p>
        </p:txBody>
      </p:sp>
      <p:cxnSp>
        <p:nvCxnSpPr>
          <p:cNvPr id="10" name="Straight Connector 9"/>
          <p:cNvCxnSpPr/>
          <p:nvPr/>
        </p:nvCxnSpPr>
        <p:spPr>
          <a:xfrm flipV="1">
            <a:off x="4710552" y="2091907"/>
            <a:ext cx="0" cy="537654"/>
          </a:xfrm>
          <a:prstGeom prst="line">
            <a:avLst/>
          </a:prstGeom>
          <a:ln/>
        </p:spPr>
        <p:style>
          <a:lnRef idx="1">
            <a:schemeClr val="accent1"/>
          </a:lnRef>
          <a:fillRef idx="0">
            <a:schemeClr val="accent1"/>
          </a:fillRef>
          <a:effectRef idx="0">
            <a:schemeClr val="accent1"/>
          </a:effectRef>
          <a:fontRef idx="minor">
            <a:schemeClr val="tx1"/>
          </a:fontRef>
        </p:style>
      </p:cxnSp>
      <p:sp>
        <p:nvSpPr>
          <p:cNvPr id="11" name="Rounded Rectangle 10"/>
          <p:cNvSpPr/>
          <p:nvPr/>
        </p:nvSpPr>
        <p:spPr>
          <a:xfrm>
            <a:off x="1311442" y="1238250"/>
            <a:ext cx="6569242" cy="1122484"/>
          </a:xfrm>
          <a:prstGeom prst="roundRect">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defTabSz="457200"/>
            <a:endParaRPr lang="en-US">
              <a:solidFill>
                <a:prstClr val="white"/>
              </a:solidFill>
            </a:endParaRPr>
          </a:p>
        </p:txBody>
      </p:sp>
      <p:cxnSp>
        <p:nvCxnSpPr>
          <p:cNvPr id="13" name="Straight Connector 12"/>
          <p:cNvCxnSpPr>
            <a:stCxn id="14" idx="1"/>
            <a:endCxn id="17" idx="3"/>
          </p:cNvCxnSpPr>
          <p:nvPr/>
        </p:nvCxnSpPr>
        <p:spPr>
          <a:xfrm flipH="1">
            <a:off x="6050063" y="5539472"/>
            <a:ext cx="150281" cy="10908"/>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4" name="Rounded Rectangle 13"/>
          <p:cNvSpPr/>
          <p:nvPr/>
        </p:nvSpPr>
        <p:spPr>
          <a:xfrm>
            <a:off x="6200344" y="4953000"/>
            <a:ext cx="2943656" cy="1172944"/>
          </a:xfrm>
          <a:prstGeom prst="roundRect">
            <a:avLst/>
          </a:prstGeom>
          <a:solidFill>
            <a:schemeClr val="accent1">
              <a:lumMod val="40000"/>
              <a:lumOff val="60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smtClean="0">
                <a:solidFill>
                  <a:srgbClr val="000000"/>
                </a:solidFill>
                <a:latin typeface="Arial"/>
              </a:rPr>
              <a:t>NSTC - </a:t>
            </a:r>
            <a:r>
              <a:rPr lang="en-US" dirty="0" smtClean="0">
                <a:solidFill>
                  <a:srgbClr val="000000"/>
                </a:solidFill>
                <a:latin typeface="Arial"/>
              </a:rPr>
              <a:t>Advanced </a:t>
            </a:r>
            <a:r>
              <a:rPr lang="en-US" dirty="0">
                <a:solidFill>
                  <a:srgbClr val="000000"/>
                </a:solidFill>
                <a:latin typeface="Arial"/>
              </a:rPr>
              <a:t>Manufacturing </a:t>
            </a:r>
            <a:r>
              <a:rPr lang="en-US" dirty="0" smtClean="0">
                <a:solidFill>
                  <a:srgbClr val="000000"/>
                </a:solidFill>
                <a:latin typeface="Arial"/>
              </a:rPr>
              <a:t>Subcommittee</a:t>
            </a:r>
            <a:endParaRPr lang="en-US" sz="1600" dirty="0">
              <a:solidFill>
                <a:srgbClr val="000000"/>
              </a:solidFill>
              <a:latin typeface="Arial"/>
            </a:endParaRPr>
          </a:p>
        </p:txBody>
      </p:sp>
      <p:sp>
        <p:nvSpPr>
          <p:cNvPr id="15" name="Rounded Rectangle 14"/>
          <p:cNvSpPr/>
          <p:nvPr/>
        </p:nvSpPr>
        <p:spPr>
          <a:xfrm>
            <a:off x="2658979" y="1482580"/>
            <a:ext cx="4150895" cy="63536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000000"/>
                </a:solidFill>
                <a:latin typeface="Arial"/>
              </a:rPr>
              <a:t>Executive Office of the President             </a:t>
            </a:r>
          </a:p>
        </p:txBody>
      </p:sp>
      <p:sp>
        <p:nvSpPr>
          <p:cNvPr id="16" name="Rounded Rectangle 15"/>
          <p:cNvSpPr/>
          <p:nvPr/>
        </p:nvSpPr>
        <p:spPr>
          <a:xfrm>
            <a:off x="152400" y="4974816"/>
            <a:ext cx="2425869" cy="1151128"/>
          </a:xfrm>
          <a:prstGeom prst="roundRect">
            <a:avLst/>
          </a:prstGeom>
          <a:solidFill>
            <a:schemeClr val="accent1">
              <a:lumMod val="40000"/>
              <a:lumOff val="60000"/>
            </a:schemeClr>
          </a:solidFill>
          <a:ln/>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a:solidFill>
                  <a:srgbClr val="000000"/>
                </a:solidFill>
                <a:latin typeface="Arial"/>
              </a:rPr>
              <a:t>Advanced Manufacturing</a:t>
            </a:r>
          </a:p>
          <a:p>
            <a:pPr algn="ctr"/>
            <a:r>
              <a:rPr lang="en-US" b="1" dirty="0">
                <a:solidFill>
                  <a:srgbClr val="000000"/>
                </a:solidFill>
                <a:latin typeface="Arial"/>
              </a:rPr>
              <a:t>Partnership </a:t>
            </a:r>
            <a:r>
              <a:rPr lang="en-US" dirty="0">
                <a:solidFill>
                  <a:srgbClr val="000000"/>
                </a:solidFill>
                <a:latin typeface="Arial"/>
              </a:rPr>
              <a:t>(</a:t>
            </a:r>
            <a:r>
              <a:rPr lang="en-US" dirty="0" smtClean="0">
                <a:solidFill>
                  <a:srgbClr val="000000"/>
                </a:solidFill>
                <a:latin typeface="Arial"/>
              </a:rPr>
              <a:t>AMP/PCAST)</a:t>
            </a:r>
            <a:endParaRPr lang="en-US" dirty="0">
              <a:solidFill>
                <a:srgbClr val="000000"/>
              </a:solidFill>
              <a:latin typeface="Arial"/>
            </a:endParaRPr>
          </a:p>
        </p:txBody>
      </p:sp>
      <p:sp>
        <p:nvSpPr>
          <p:cNvPr id="17" name="Rounded Rectangle 16"/>
          <p:cNvSpPr/>
          <p:nvPr/>
        </p:nvSpPr>
        <p:spPr>
          <a:xfrm>
            <a:off x="2743200" y="4958556"/>
            <a:ext cx="3306863" cy="1183648"/>
          </a:xfrm>
          <a:prstGeom prst="roundRect">
            <a:avLst/>
          </a:prstGeom>
          <a:solidFill>
            <a:schemeClr val="accent1">
              <a:lumMod val="40000"/>
              <a:lumOff val="60000"/>
            </a:schemeClr>
          </a:solidFill>
        </p:spPr>
        <p:style>
          <a:lnRef idx="3">
            <a:schemeClr val="lt1"/>
          </a:lnRef>
          <a:fillRef idx="1">
            <a:schemeClr val="accent1"/>
          </a:fillRef>
          <a:effectRef idx="1">
            <a:schemeClr val="accent1"/>
          </a:effectRef>
          <a:fontRef idx="minor">
            <a:schemeClr val="lt1"/>
          </a:fontRef>
        </p:style>
        <p:txBody>
          <a:bodyPr rtlCol="0" anchor="ctr"/>
          <a:lstStyle/>
          <a:p>
            <a:pPr algn="ctr"/>
            <a:r>
              <a:rPr lang="en-US" b="1" dirty="0">
                <a:solidFill>
                  <a:srgbClr val="000000"/>
                </a:solidFill>
                <a:latin typeface="Arial"/>
              </a:rPr>
              <a:t>Advanced Manufacturing</a:t>
            </a:r>
          </a:p>
          <a:p>
            <a:pPr algn="ctr"/>
            <a:r>
              <a:rPr lang="en-US" b="1" dirty="0">
                <a:solidFill>
                  <a:srgbClr val="000000"/>
                </a:solidFill>
                <a:latin typeface="Arial"/>
              </a:rPr>
              <a:t>National Program Office</a:t>
            </a:r>
          </a:p>
          <a:p>
            <a:pPr algn="ctr"/>
            <a:r>
              <a:rPr lang="en-US" sz="1600" dirty="0">
                <a:solidFill>
                  <a:srgbClr val="000000"/>
                </a:solidFill>
                <a:latin typeface="Arial"/>
              </a:rPr>
              <a:t>(</a:t>
            </a:r>
            <a:r>
              <a:rPr lang="en-US" sz="1600" dirty="0" smtClean="0">
                <a:solidFill>
                  <a:srgbClr val="000000"/>
                </a:solidFill>
                <a:latin typeface="Arial"/>
              </a:rPr>
              <a:t>hosted by DOC </a:t>
            </a:r>
            <a:r>
              <a:rPr lang="en-US" sz="1600" dirty="0">
                <a:solidFill>
                  <a:srgbClr val="000000"/>
                </a:solidFill>
                <a:latin typeface="Arial"/>
              </a:rPr>
              <a:t>- </a:t>
            </a:r>
            <a:r>
              <a:rPr lang="en-US" sz="1600" dirty="0" smtClean="0">
                <a:solidFill>
                  <a:srgbClr val="000000"/>
                </a:solidFill>
                <a:latin typeface="Arial"/>
              </a:rPr>
              <a:t>NIST)</a:t>
            </a:r>
            <a:endParaRPr lang="en-US" sz="1600" dirty="0">
              <a:solidFill>
                <a:srgbClr val="000000"/>
              </a:solidFill>
              <a:latin typeface="Arial"/>
            </a:endParaRPr>
          </a:p>
        </p:txBody>
      </p:sp>
      <p:pic>
        <p:nvPicPr>
          <p:cNvPr id="20" name="Picture 2"/>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906690" y="1337726"/>
            <a:ext cx="852883" cy="852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1" name="Picture 3" descr="C:\Users\hevans\Desktop\US-WhiteHouse-Logo.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403916" y="1391396"/>
            <a:ext cx="1174353" cy="799213"/>
          </a:xfrm>
          <a:prstGeom prst="rect">
            <a:avLst/>
          </a:prstGeom>
          <a:noFill/>
          <a:extLst>
            <a:ext uri="{909E8E84-426E-40dd-AFC4-6F175D3DCCD1}">
              <a14:hiddenFill xmlns:a14="http://schemas.microsoft.com/office/drawing/2010/main">
                <a:solidFill>
                  <a:srgbClr val="FFFFFF"/>
                </a:solidFill>
              </a14:hiddenFill>
            </a:ext>
          </a:extLst>
        </p:spPr>
      </p:pic>
      <p:sp>
        <p:nvSpPr>
          <p:cNvPr id="25" name="Rounded Rectangle 24"/>
          <p:cNvSpPr/>
          <p:nvPr/>
        </p:nvSpPr>
        <p:spPr>
          <a:xfrm>
            <a:off x="846221" y="2514600"/>
            <a:ext cx="7459579" cy="228628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dirty="0">
              <a:solidFill>
                <a:srgbClr val="000000"/>
              </a:solidFill>
              <a:latin typeface="Arial"/>
            </a:endParaRPr>
          </a:p>
        </p:txBody>
      </p:sp>
      <p:pic>
        <p:nvPicPr>
          <p:cNvPr id="26" name="Picture 30"/>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206975" y="2596739"/>
            <a:ext cx="1184805" cy="1130109"/>
          </a:xfrm>
          <a:prstGeom prst="rect">
            <a:avLst/>
          </a:prstGeom>
          <a:noFill/>
          <a:ln w="9525">
            <a:noFill/>
            <a:miter lim="800000"/>
            <a:headEnd/>
            <a:tailEnd/>
          </a:ln>
        </p:spPr>
      </p:pic>
      <p:pic>
        <p:nvPicPr>
          <p:cNvPr id="27" name="Picture 26"/>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903962" y="2532332"/>
            <a:ext cx="1224582" cy="1168050"/>
          </a:xfrm>
          <a:prstGeom prst="rect">
            <a:avLst/>
          </a:prstGeom>
          <a:noFill/>
          <a:ln w="9525">
            <a:noFill/>
            <a:miter lim="800000"/>
            <a:headEnd/>
            <a:tailEnd/>
          </a:ln>
        </p:spPr>
      </p:pic>
      <p:pic>
        <p:nvPicPr>
          <p:cNvPr id="28" name="Picture 32"/>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3486948" y="2587620"/>
            <a:ext cx="1171849" cy="1102774"/>
          </a:xfrm>
          <a:prstGeom prst="rect">
            <a:avLst/>
          </a:prstGeom>
          <a:noFill/>
          <a:ln w="9525">
            <a:noFill/>
            <a:miter lim="800000"/>
            <a:headEnd/>
            <a:tailEnd/>
          </a:ln>
        </p:spPr>
      </p:pic>
      <p:pic>
        <p:nvPicPr>
          <p:cNvPr id="29" name="Picture 2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677105" y="2642209"/>
            <a:ext cx="1319375" cy="1005538"/>
          </a:xfrm>
          <a:prstGeom prst="rect">
            <a:avLst/>
          </a:prstGeom>
        </p:spPr>
      </p:pic>
      <p:pic>
        <p:nvPicPr>
          <p:cNvPr id="30" name="Picture 2" descr="http://www.pnt.gov/membership/doc-large.jpg"/>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998002" y="2642209"/>
            <a:ext cx="1115380" cy="1063888"/>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12" descr="http://ksbdc.kansas.gov/PublishingImages/SBA%20color%20logo%20offical%20Aug%202011.jp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860376" y="4100874"/>
            <a:ext cx="709817" cy="29874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4" descr="http://cnsnews.com/sites/default/files/images/epa%20logo.png?1293705515"/>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695330" y="3845098"/>
            <a:ext cx="771036" cy="80110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6" descr="http://www.vitapedia.org/RDA/USDA_Logo.jp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6890669" y="4011767"/>
            <a:ext cx="645894" cy="43211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descr="http://www.msquaredstrategies.com/assets/images/clients/department-of-transportation-seal.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862346" y="3888191"/>
            <a:ext cx="754964" cy="724111"/>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Users\guptep\Desktop\Agency logos\dol.png"/>
          <p:cNvPicPr>
            <a:picLocks noChangeAspect="1" noChangeArrowheads="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3826315" y="3865074"/>
            <a:ext cx="785301" cy="74904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8" descr="C:\Users\guptep\Desktop\Agency logos\usDepartmentEducation-20110423-234520.gif"/>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7128543" y="2666116"/>
            <a:ext cx="1029142" cy="981632"/>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http://jonathanturley.files.wordpress.com/2011/12/depthomelandsec.jpg"/>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2725894" y="3837746"/>
            <a:ext cx="855331" cy="8158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77229841"/>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p:cNvSpPr>
            <a:spLocks noGrp="1"/>
          </p:cNvSpPr>
          <p:nvPr>
            <p:ph type="sldNum" sz="quarter" idx="12"/>
          </p:nvPr>
        </p:nvSpPr>
        <p:spPr>
          <a:xfrm>
            <a:off x="7072888" y="6258444"/>
            <a:ext cx="1902553" cy="365125"/>
          </a:xfrm>
          <a:prstGeom prst="rect">
            <a:avLst/>
          </a:prstGeom>
        </p:spPr>
        <p:txBody>
          <a:bodyPr/>
          <a:lstStyle/>
          <a:p>
            <a:pPr algn="r"/>
            <a:fld id="{72D7BA27-C16C-1A4F-8D3C-B4A583C22619}" type="slidenum">
              <a:rPr lang="en-US" sz="1400" smtClean="0">
                <a:solidFill>
                  <a:schemeClr val="tx1"/>
                </a:solidFill>
              </a:rPr>
              <a:pPr algn="r"/>
              <a:t>3</a:t>
            </a:fld>
            <a:endParaRPr lang="en-US" sz="1400" dirty="0">
              <a:solidFill>
                <a:schemeClr val="tx1"/>
              </a:solidFill>
            </a:endParaRPr>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58764" y="2026092"/>
            <a:ext cx="2547257" cy="3371850"/>
          </a:xfrm>
          <a:prstGeom prst="rect">
            <a:avLst/>
          </a:prstGeom>
          <a:ln w="15875">
            <a:solidFill>
              <a:schemeClr val="tx1"/>
            </a:solidFill>
          </a:ln>
        </p:spPr>
      </p:pic>
      <p:pic>
        <p:nvPicPr>
          <p:cNvPr id="5" name="Picture 4"/>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330862" y="1730078"/>
            <a:ext cx="2588080" cy="3396343"/>
          </a:xfrm>
          <a:prstGeom prst="rect">
            <a:avLst/>
          </a:prstGeom>
          <a:ln w="15875">
            <a:solidFill>
              <a:schemeClr val="tx1"/>
            </a:solidFill>
          </a:ln>
        </p:spPr>
      </p:pic>
      <p:pic>
        <p:nvPicPr>
          <p:cNvPr id="13" name="Picture 12"/>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297556" y="1438765"/>
            <a:ext cx="2677885" cy="3412672"/>
          </a:xfrm>
          <a:prstGeom prst="rect">
            <a:avLst/>
          </a:prstGeom>
          <a:ln w="15875">
            <a:solidFill>
              <a:schemeClr val="tx1"/>
            </a:solidFill>
          </a:ln>
        </p:spPr>
      </p:pic>
      <p:sp>
        <p:nvSpPr>
          <p:cNvPr id="14" name="TextBox 13"/>
          <p:cNvSpPr txBox="1"/>
          <p:nvPr/>
        </p:nvSpPr>
        <p:spPr>
          <a:xfrm>
            <a:off x="137600" y="5450666"/>
            <a:ext cx="2906486" cy="954107"/>
          </a:xfrm>
          <a:prstGeom prst="rect">
            <a:avLst/>
          </a:prstGeom>
          <a:noFill/>
        </p:spPr>
        <p:txBody>
          <a:bodyPr wrap="square" rtlCol="0">
            <a:spAutoFit/>
          </a:bodyPr>
          <a:lstStyle/>
          <a:p>
            <a:pPr algn="ctr"/>
            <a:r>
              <a:rPr lang="en-US" sz="1400" b="1" dirty="0" smtClean="0"/>
              <a:t>PCAST 2011</a:t>
            </a:r>
          </a:p>
          <a:p>
            <a:pPr algn="ctr"/>
            <a:r>
              <a:rPr lang="en-US" sz="1400" b="1" i="1" dirty="0" smtClean="0"/>
              <a:t>Recommends Advanced Manufacturing </a:t>
            </a:r>
            <a:r>
              <a:rPr lang="en-US" sz="1400" b="1" i="1" dirty="0"/>
              <a:t>I</a:t>
            </a:r>
            <a:r>
              <a:rPr lang="en-US" sz="1400" b="1" i="1" dirty="0" smtClean="0"/>
              <a:t>nitiative as national innovation policy</a:t>
            </a:r>
            <a:endParaRPr lang="en-US" sz="1400" b="1" i="1" dirty="0"/>
          </a:p>
        </p:txBody>
      </p:sp>
      <p:sp>
        <p:nvSpPr>
          <p:cNvPr id="15" name="TextBox 14"/>
          <p:cNvSpPr txBox="1"/>
          <p:nvPr/>
        </p:nvSpPr>
        <p:spPr>
          <a:xfrm>
            <a:off x="3330861" y="5304337"/>
            <a:ext cx="2551809" cy="954107"/>
          </a:xfrm>
          <a:prstGeom prst="rect">
            <a:avLst/>
          </a:prstGeom>
          <a:noFill/>
        </p:spPr>
        <p:txBody>
          <a:bodyPr wrap="square" rtlCol="0">
            <a:spAutoFit/>
          </a:bodyPr>
          <a:lstStyle/>
          <a:p>
            <a:pPr algn="ctr"/>
            <a:r>
              <a:rPr lang="en-US" sz="1400" b="1" dirty="0" smtClean="0"/>
              <a:t>PCAST 2012</a:t>
            </a:r>
          </a:p>
          <a:p>
            <a:pPr algn="ctr"/>
            <a:r>
              <a:rPr lang="en-US" sz="1400" b="1" i="1" dirty="0" smtClean="0"/>
              <a:t>Recommends Manufacturing Innovation Institutes to address key market failure</a:t>
            </a:r>
            <a:endParaRPr lang="en-US" sz="1400" b="1" i="1" dirty="0"/>
          </a:p>
        </p:txBody>
      </p:sp>
      <p:sp>
        <p:nvSpPr>
          <p:cNvPr id="16" name="TextBox 15"/>
          <p:cNvSpPr txBox="1"/>
          <p:nvPr/>
        </p:nvSpPr>
        <p:spPr>
          <a:xfrm>
            <a:off x="6253117" y="4901193"/>
            <a:ext cx="2771308" cy="954107"/>
          </a:xfrm>
          <a:prstGeom prst="rect">
            <a:avLst/>
          </a:prstGeom>
          <a:noFill/>
        </p:spPr>
        <p:txBody>
          <a:bodyPr wrap="square" rtlCol="0">
            <a:spAutoFit/>
          </a:bodyPr>
          <a:lstStyle/>
          <a:p>
            <a:pPr algn="ctr"/>
            <a:r>
              <a:rPr lang="en-US" sz="1400" b="1" dirty="0" smtClean="0"/>
              <a:t>PCAST 2014</a:t>
            </a:r>
          </a:p>
          <a:p>
            <a:pPr algn="ctr"/>
            <a:r>
              <a:rPr lang="en-US" sz="1400" b="1" i="1" dirty="0" smtClean="0"/>
              <a:t>Recommends strong, collaborative network of Manufacturing Innovation Institutes</a:t>
            </a:r>
            <a:endParaRPr lang="en-US" sz="1400" b="1" i="1" dirty="0"/>
          </a:p>
        </p:txBody>
      </p:sp>
      <p:sp>
        <p:nvSpPr>
          <p:cNvPr id="12" name="Title 1"/>
          <p:cNvSpPr txBox="1">
            <a:spLocks/>
          </p:cNvSpPr>
          <p:nvPr/>
        </p:nvSpPr>
        <p:spPr>
          <a:xfrm>
            <a:off x="-15054" y="11430"/>
            <a:ext cx="9144000" cy="762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200" b="1" dirty="0">
                <a:solidFill>
                  <a:schemeClr val="bg1"/>
                </a:solidFill>
                <a:latin typeface="+mn-lt"/>
                <a:cs typeface="Calibri" pitchFamily="34" charset="0"/>
              </a:rPr>
              <a:t>PCAST: The </a:t>
            </a:r>
            <a:r>
              <a:rPr lang="en-US" sz="3200" b="1" dirty="0" smtClean="0">
                <a:solidFill>
                  <a:schemeClr val="bg1"/>
                </a:solidFill>
                <a:latin typeface="+mn-lt"/>
                <a:cs typeface="Calibri" pitchFamily="34" charset="0"/>
              </a:rPr>
              <a:t>Independent Basis </a:t>
            </a:r>
            <a:r>
              <a:rPr lang="en-US" sz="3200" b="1" dirty="0">
                <a:solidFill>
                  <a:schemeClr val="bg1"/>
                </a:solidFill>
                <a:latin typeface="+mn-lt"/>
                <a:cs typeface="Calibri" pitchFamily="34" charset="0"/>
              </a:rPr>
              <a:t>of </a:t>
            </a:r>
            <a:r>
              <a:rPr lang="en-US" sz="3200" b="1" dirty="0" smtClean="0">
                <a:solidFill>
                  <a:schemeClr val="bg1"/>
                </a:solidFill>
                <a:latin typeface="+mn-lt"/>
                <a:cs typeface="Calibri" pitchFamily="34" charset="0"/>
              </a:rPr>
              <a:t>NNMI</a:t>
            </a:r>
          </a:p>
          <a:p>
            <a:r>
              <a:rPr lang="en-US" sz="2800" b="1" i="1" dirty="0">
                <a:solidFill>
                  <a:schemeClr val="bg1"/>
                </a:solidFill>
                <a:latin typeface="+mn-lt"/>
              </a:rPr>
              <a:t>President’s Council of Advisors on Science and Technology</a:t>
            </a:r>
          </a:p>
          <a:p>
            <a:endParaRPr lang="en-US" sz="2800" dirty="0">
              <a:solidFill>
                <a:schemeClr val="bg1"/>
              </a:solidFill>
              <a:latin typeface="+mn-lt"/>
              <a:cs typeface="Calibri" pitchFamily="34" charset="0"/>
            </a:endParaRPr>
          </a:p>
        </p:txBody>
      </p:sp>
    </p:spTree>
    <p:extLst>
      <p:ext uri="{BB962C8B-B14F-4D97-AF65-F5344CB8AC3E}">
        <p14:creationId xmlns:p14="http://schemas.microsoft.com/office/powerpoint/2010/main" val="2932657071"/>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p:cNvSpPr>
            <a:spLocks noGrp="1"/>
          </p:cNvSpPr>
          <p:nvPr>
            <p:ph type="sldNum" sz="quarter" idx="12"/>
          </p:nvPr>
        </p:nvSpPr>
        <p:spPr>
          <a:xfrm>
            <a:off x="7072888" y="6258444"/>
            <a:ext cx="1902553" cy="365125"/>
          </a:xfrm>
          <a:prstGeom prst="rect">
            <a:avLst/>
          </a:prstGeom>
        </p:spPr>
        <p:txBody>
          <a:bodyPr/>
          <a:lstStyle/>
          <a:p>
            <a:pPr algn="r"/>
            <a:fld id="{72D7BA27-C16C-1A4F-8D3C-B4A583C22619}" type="slidenum">
              <a:rPr lang="en-US" sz="1400" smtClean="0">
                <a:solidFill>
                  <a:schemeClr val="tx1"/>
                </a:solidFill>
              </a:rPr>
              <a:pPr algn="r"/>
              <a:t>4</a:t>
            </a:fld>
            <a:endParaRPr lang="en-US" sz="1400" dirty="0">
              <a:solidFill>
                <a:schemeClr val="tx1"/>
              </a:solidFill>
            </a:endParaRPr>
          </a:p>
        </p:txBody>
      </p:sp>
      <p:sp>
        <p:nvSpPr>
          <p:cNvPr id="14" name="TextBox 13"/>
          <p:cNvSpPr txBox="1"/>
          <p:nvPr/>
        </p:nvSpPr>
        <p:spPr>
          <a:xfrm>
            <a:off x="261683" y="4777289"/>
            <a:ext cx="2776522" cy="1846659"/>
          </a:xfrm>
          <a:prstGeom prst="rect">
            <a:avLst/>
          </a:prstGeom>
          <a:noFill/>
        </p:spPr>
        <p:txBody>
          <a:bodyPr wrap="square" rtlCol="0">
            <a:spAutoFit/>
          </a:bodyPr>
          <a:lstStyle/>
          <a:p>
            <a:pPr algn="ctr"/>
            <a:r>
              <a:rPr lang="en-US" sz="1600" b="1" dirty="0" smtClean="0"/>
              <a:t>First Annual Report</a:t>
            </a:r>
          </a:p>
          <a:p>
            <a:pPr algn="ctr"/>
            <a:r>
              <a:rPr lang="en-US" sz="1600" b="1" dirty="0" smtClean="0"/>
              <a:t>on the NNMI Program</a:t>
            </a:r>
          </a:p>
          <a:p>
            <a:pPr algn="ctr"/>
            <a:endParaRPr lang="en-US" sz="1600" b="1" dirty="0" smtClean="0"/>
          </a:p>
          <a:p>
            <a:pPr algn="ctr"/>
            <a:r>
              <a:rPr lang="en-US" sz="1600" b="1" i="1" dirty="0" smtClean="0"/>
              <a:t>“accomplishments </a:t>
            </a:r>
            <a:r>
              <a:rPr lang="en-US" sz="1600" b="1" i="1" dirty="0"/>
              <a:t>of the established institutes </a:t>
            </a:r>
            <a:r>
              <a:rPr lang="en-US" sz="1600" b="1" i="1" dirty="0" smtClean="0"/>
              <a:t>are</a:t>
            </a:r>
          </a:p>
          <a:p>
            <a:pPr algn="ctr"/>
            <a:r>
              <a:rPr lang="en-US" sz="1600" b="1" i="1" dirty="0" smtClean="0"/>
              <a:t>Promising”</a:t>
            </a:r>
            <a:endParaRPr lang="en-US" sz="1600" b="1" i="1" dirty="0"/>
          </a:p>
          <a:p>
            <a:pPr algn="ctr"/>
            <a:endParaRPr lang="en-US" b="1" i="1" dirty="0"/>
          </a:p>
        </p:txBody>
      </p:sp>
      <p:sp>
        <p:nvSpPr>
          <p:cNvPr id="12" name="Title 1"/>
          <p:cNvSpPr txBox="1">
            <a:spLocks/>
          </p:cNvSpPr>
          <p:nvPr/>
        </p:nvSpPr>
        <p:spPr>
          <a:xfrm>
            <a:off x="-15054" y="11430"/>
            <a:ext cx="9144000" cy="762000"/>
          </a:xfrm>
          <a:prstGeom prst="rect">
            <a:avLst/>
          </a:prstGeom>
        </p:spPr>
        <p:txBody>
          <a:bodyP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sz="3200" b="1" dirty="0" smtClean="0">
                <a:solidFill>
                  <a:schemeClr val="bg1"/>
                </a:solidFill>
                <a:latin typeface="+mn-lt"/>
                <a:cs typeface="Calibri" pitchFamily="34" charset="0"/>
              </a:rPr>
              <a:t>Recent NNMI Reports</a:t>
            </a:r>
            <a:endParaRPr lang="en-US" sz="2800" b="1" i="1" dirty="0">
              <a:solidFill>
                <a:schemeClr val="bg1"/>
              </a:solidFill>
              <a:latin typeface="+mn-lt"/>
            </a:endParaRPr>
          </a:p>
          <a:p>
            <a:endParaRPr lang="en-US" sz="2800" dirty="0">
              <a:solidFill>
                <a:schemeClr val="bg1"/>
              </a:solidFill>
              <a:latin typeface="+mn-lt"/>
              <a:cs typeface="Calibri" pitchFamily="34" charset="0"/>
            </a:endParaRPr>
          </a:p>
        </p:txBody>
      </p:sp>
      <p:pic>
        <p:nvPicPr>
          <p:cNvPr id="2" name="Picture 1"/>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61683" y="1092056"/>
            <a:ext cx="2776522" cy="3684102"/>
          </a:xfrm>
          <a:prstGeom prst="rect">
            <a:avLst/>
          </a:prstGeom>
          <a:ln w="19050" cmpd="sng">
            <a:solidFill>
              <a:schemeClr val="tx1"/>
            </a:solidFill>
          </a:ln>
        </p:spPr>
      </p:pic>
      <p:pic>
        <p:nvPicPr>
          <p:cNvPr id="4" name="Picture 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221922" y="1092055"/>
            <a:ext cx="2771526" cy="3684103"/>
          </a:xfrm>
          <a:prstGeom prst="rect">
            <a:avLst/>
          </a:prstGeom>
          <a:ln w="19050" cmpd="sng">
            <a:solidFill>
              <a:schemeClr val="tx1"/>
            </a:solidFill>
          </a:ln>
        </p:spPr>
      </p:pic>
      <p:sp>
        <p:nvSpPr>
          <p:cNvPr id="17" name="TextBox 16"/>
          <p:cNvSpPr txBox="1"/>
          <p:nvPr/>
        </p:nvSpPr>
        <p:spPr>
          <a:xfrm>
            <a:off x="3221922" y="4799765"/>
            <a:ext cx="2771526" cy="1815882"/>
          </a:xfrm>
          <a:prstGeom prst="rect">
            <a:avLst/>
          </a:prstGeom>
          <a:noFill/>
        </p:spPr>
        <p:txBody>
          <a:bodyPr wrap="square" rtlCol="0">
            <a:spAutoFit/>
          </a:bodyPr>
          <a:lstStyle/>
          <a:p>
            <a:pPr algn="ctr"/>
            <a:r>
              <a:rPr lang="en-US" sz="1600" b="1" dirty="0" smtClean="0"/>
              <a:t>First Strategic Plan</a:t>
            </a:r>
          </a:p>
          <a:p>
            <a:pPr algn="ctr"/>
            <a:r>
              <a:rPr lang="en-US" sz="1600" b="1" dirty="0" smtClean="0"/>
              <a:t>on the NNMI Program</a:t>
            </a:r>
          </a:p>
          <a:p>
            <a:pPr algn="ctr"/>
            <a:endParaRPr lang="en-US" sz="1600" b="1" dirty="0" smtClean="0"/>
          </a:p>
          <a:p>
            <a:pPr algn="ctr"/>
            <a:r>
              <a:rPr lang="en-US" sz="1600" b="1" i="1" dirty="0" smtClean="0"/>
              <a:t>“</a:t>
            </a:r>
            <a:r>
              <a:rPr lang="en-US" sz="1600" b="1" i="1" dirty="0"/>
              <a:t>identifies </a:t>
            </a:r>
            <a:r>
              <a:rPr lang="en-US" sz="1600" b="1" i="1" dirty="0" smtClean="0"/>
              <a:t>methods </a:t>
            </a:r>
            <a:r>
              <a:rPr lang="en-US" sz="1600" b="1" i="1" dirty="0"/>
              <a:t>by which </a:t>
            </a:r>
            <a:r>
              <a:rPr lang="en-US" sz="1600" b="1" i="1" dirty="0" smtClean="0"/>
              <a:t>goals </a:t>
            </a:r>
            <a:r>
              <a:rPr lang="en-US" sz="1600" b="1" i="1" dirty="0"/>
              <a:t>will be achieved and </a:t>
            </a:r>
            <a:r>
              <a:rPr lang="en-US" sz="1600" b="1" i="1" dirty="0" smtClean="0"/>
              <a:t>assessed”</a:t>
            </a:r>
            <a:endParaRPr lang="en-US" sz="1600" b="1" i="1" dirty="0"/>
          </a:p>
          <a:p>
            <a:pPr algn="ctr"/>
            <a:endParaRPr lang="en-US" sz="1600" b="1" i="1" dirty="0"/>
          </a:p>
        </p:txBody>
      </p:sp>
      <p:sp>
        <p:nvSpPr>
          <p:cNvPr id="9" name="TextBox 8"/>
          <p:cNvSpPr txBox="1"/>
          <p:nvPr/>
        </p:nvSpPr>
        <p:spPr>
          <a:xfrm>
            <a:off x="6117077" y="4797927"/>
            <a:ext cx="2869603" cy="1815882"/>
          </a:xfrm>
          <a:prstGeom prst="rect">
            <a:avLst/>
          </a:prstGeom>
          <a:noFill/>
        </p:spPr>
        <p:txBody>
          <a:bodyPr wrap="square" rtlCol="0">
            <a:spAutoFit/>
          </a:bodyPr>
          <a:lstStyle/>
          <a:p>
            <a:pPr algn="ctr"/>
            <a:r>
              <a:rPr lang="en-US" sz="1600" b="1" dirty="0" smtClean="0"/>
              <a:t>Priority Technology Areas across the Government </a:t>
            </a:r>
          </a:p>
          <a:p>
            <a:pPr algn="ctr"/>
            <a:endParaRPr lang="en-US" sz="1600" b="1" i="1" dirty="0"/>
          </a:p>
          <a:p>
            <a:pPr algn="ctr"/>
            <a:r>
              <a:rPr lang="en-US" sz="1600" b="1" i="1" dirty="0" smtClean="0"/>
              <a:t>“</a:t>
            </a:r>
            <a:r>
              <a:rPr lang="en-US" sz="1600" b="1" i="1" dirty="0"/>
              <a:t>shared vision of the most important technologies for U.S. competitiveness</a:t>
            </a:r>
            <a:r>
              <a:rPr lang="en-US" sz="1600" b="1" i="1" dirty="0" smtClean="0"/>
              <a:t>”</a:t>
            </a:r>
            <a:endParaRPr lang="en-US" sz="1600" b="1" i="1" dirty="0"/>
          </a:p>
          <a:p>
            <a:pPr algn="ctr"/>
            <a:endParaRPr lang="en-US" sz="1600" b="1" i="1" dirty="0"/>
          </a:p>
        </p:txBody>
      </p:sp>
      <p:pic>
        <p:nvPicPr>
          <p:cNvPr id="6" name="Picture 5"/>
          <p:cNvPicPr>
            <a:picLocks noChangeAspect="1"/>
          </p:cNvPicPr>
          <p:nvPr/>
        </p:nvPicPr>
        <p:blipFill>
          <a:blip r:embed="rId4"/>
          <a:stretch>
            <a:fillRect/>
          </a:stretch>
        </p:blipFill>
        <p:spPr>
          <a:xfrm>
            <a:off x="6141509" y="1103293"/>
            <a:ext cx="2819510" cy="3684103"/>
          </a:xfrm>
          <a:prstGeom prst="rect">
            <a:avLst/>
          </a:prstGeom>
          <a:ln w="19050" cmpd="sng">
            <a:solidFill>
              <a:srgbClr val="000000"/>
            </a:solidFill>
          </a:ln>
        </p:spPr>
      </p:pic>
    </p:spTree>
    <p:extLst>
      <p:ext uri="{BB962C8B-B14F-4D97-AF65-F5344CB8AC3E}">
        <p14:creationId xmlns:p14="http://schemas.microsoft.com/office/powerpoint/2010/main" val="273365942"/>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descr="map"/>
          <p:cNvPicPr>
            <a:picLocks noChangeAspect="1" noChangeArrowheads="1"/>
          </p:cNvPicPr>
          <p:nvPr/>
        </p:nvPicPr>
        <p:blipFill>
          <a:blip r:embed="rId2" cstate="screen">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a:stretch>
            <a:fillRect/>
          </a:stretch>
        </p:blipFill>
        <p:spPr bwMode="auto">
          <a:xfrm>
            <a:off x="-41014" y="966131"/>
            <a:ext cx="9196253" cy="5848604"/>
          </a:xfrm>
          <a:prstGeom prst="rect">
            <a:avLst/>
          </a:prstGeom>
          <a:solidFill>
            <a:schemeClr val="bg1">
              <a:lumMod val="85000"/>
            </a:schemeClr>
          </a:solidFill>
          <a:ln>
            <a:solidFill>
              <a:schemeClr val="bg2">
                <a:lumMod val="25000"/>
              </a:schemeClr>
            </a:solidFill>
          </a:ln>
          <a:effectLst>
            <a:outerShdw blurRad="292100" dist="139700" dir="2700000" algn="tl" rotWithShape="0">
              <a:srgbClr val="333333">
                <a:alpha val="65000"/>
              </a:srgbClr>
            </a:outerShdw>
          </a:effectLst>
          <a:extLst/>
        </p:spPr>
      </p:pic>
      <p:sp>
        <p:nvSpPr>
          <p:cNvPr id="33" name="5-Point Star 32"/>
          <p:cNvSpPr/>
          <p:nvPr/>
        </p:nvSpPr>
        <p:spPr>
          <a:xfrm>
            <a:off x="2837293" y="3629246"/>
            <a:ext cx="479539" cy="39614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dirty="0">
              <a:solidFill>
                <a:prstClr val="white"/>
              </a:solidFill>
            </a:endParaRPr>
          </a:p>
        </p:txBody>
      </p:sp>
      <p:sp>
        <p:nvSpPr>
          <p:cNvPr id="34" name="5-Point Star 33"/>
          <p:cNvSpPr/>
          <p:nvPr/>
        </p:nvSpPr>
        <p:spPr>
          <a:xfrm>
            <a:off x="5829195" y="4672132"/>
            <a:ext cx="479539" cy="396140"/>
          </a:xfrm>
          <a:prstGeom prst="star5">
            <a:avLst/>
          </a:prstGeom>
          <a:solidFill>
            <a:srgbClr val="339933"/>
          </a:solidFill>
          <a:ln>
            <a:solidFill>
              <a:srgbClr val="00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dirty="0">
              <a:solidFill>
                <a:prstClr val="white"/>
              </a:solidFill>
            </a:endParaRPr>
          </a:p>
        </p:txBody>
      </p:sp>
      <p:sp>
        <p:nvSpPr>
          <p:cNvPr id="36" name="5-Point Star 35"/>
          <p:cNvSpPr/>
          <p:nvPr/>
        </p:nvSpPr>
        <p:spPr>
          <a:xfrm>
            <a:off x="7647912" y="2337237"/>
            <a:ext cx="479539" cy="39614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dirty="0">
              <a:solidFill>
                <a:prstClr val="white"/>
              </a:solidFill>
            </a:endParaRPr>
          </a:p>
        </p:txBody>
      </p:sp>
      <p:sp>
        <p:nvSpPr>
          <p:cNvPr id="37" name="5-Point Star 36"/>
          <p:cNvSpPr/>
          <p:nvPr/>
        </p:nvSpPr>
        <p:spPr>
          <a:xfrm>
            <a:off x="6460395" y="3128279"/>
            <a:ext cx="479539" cy="39614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dirty="0">
              <a:solidFill>
                <a:prstClr val="white"/>
              </a:solidFill>
            </a:endParaRPr>
          </a:p>
        </p:txBody>
      </p:sp>
      <p:sp>
        <p:nvSpPr>
          <p:cNvPr id="38" name="5-Point Star 37"/>
          <p:cNvSpPr/>
          <p:nvPr/>
        </p:nvSpPr>
        <p:spPr>
          <a:xfrm>
            <a:off x="796407" y="4275990"/>
            <a:ext cx="479539" cy="396140"/>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en-US" dirty="0">
              <a:solidFill>
                <a:prstClr val="white"/>
              </a:solidFill>
            </a:endParaRPr>
          </a:p>
        </p:txBody>
      </p:sp>
      <p:pic>
        <p:nvPicPr>
          <p:cNvPr id="2051"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201193" y="2028180"/>
            <a:ext cx="1441006" cy="1003778"/>
          </a:xfrm>
          <a:prstGeom prst="rect">
            <a:avLst/>
          </a:prstGeom>
          <a:noFill/>
          <a:ln>
            <a:noFill/>
          </a:ln>
          <a:effectLst>
            <a:outerShdw dist="35921" dir="2700000" algn="ctr" rotWithShape="0">
              <a:schemeClr val="bg2"/>
            </a:outerShdw>
            <a:softEdge rad="63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2" name="Picture 4"/>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505998" y="2733377"/>
            <a:ext cx="1605472" cy="1068784"/>
          </a:xfrm>
          <a:prstGeom prst="rect">
            <a:avLst/>
          </a:prstGeom>
          <a:noFill/>
          <a:ln>
            <a:noFill/>
          </a:ln>
          <a:effectLst>
            <a:softEdge rad="63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3" name="Picture 5"/>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38608" y="3905899"/>
            <a:ext cx="1674676" cy="983872"/>
          </a:xfrm>
          <a:prstGeom prst="rect">
            <a:avLst/>
          </a:prstGeom>
          <a:noFill/>
          <a:ln>
            <a:noFill/>
          </a:ln>
          <a:effectLst>
            <a:softEdge rad="63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4" name="Picture 6"/>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533658" y="3117078"/>
            <a:ext cx="1491825" cy="988334"/>
          </a:xfrm>
          <a:prstGeom prst="rect">
            <a:avLst/>
          </a:prstGeom>
          <a:noFill/>
          <a:ln>
            <a:noFill/>
          </a:ln>
          <a:effectLst>
            <a:softEdge rad="63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5" name="Picture 7"/>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261316" y="4362665"/>
            <a:ext cx="1500318" cy="1012937"/>
          </a:xfrm>
          <a:prstGeom prst="rect">
            <a:avLst/>
          </a:prstGeom>
          <a:noFill/>
          <a:ln>
            <a:noFill/>
          </a:ln>
          <a:effectLst>
            <a:outerShdw dist="35921" dir="2700000" algn="ctr" rotWithShape="0">
              <a:schemeClr val="bg2"/>
            </a:outerShdw>
            <a:softEdge rad="6350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5" name="TextBox 34"/>
          <p:cNvSpPr txBox="1"/>
          <p:nvPr/>
        </p:nvSpPr>
        <p:spPr>
          <a:xfrm>
            <a:off x="7125505" y="2976506"/>
            <a:ext cx="2058577" cy="430887"/>
          </a:xfrm>
          <a:prstGeom prst="rect">
            <a:avLst/>
          </a:prstGeom>
          <a:noFill/>
        </p:spPr>
        <p:txBody>
          <a:bodyPr wrap="none" rtlCol="0">
            <a:spAutoFit/>
          </a:bodyPr>
          <a:lstStyle/>
          <a:p>
            <a:pPr algn="ctr"/>
            <a:r>
              <a:rPr lang="en-US" sz="1100" b="1" dirty="0" smtClean="0"/>
              <a:t>Rensselaer </a:t>
            </a:r>
            <a:r>
              <a:rPr lang="en-US" sz="1100" b="1" dirty="0"/>
              <a:t>Polytechnic </a:t>
            </a:r>
            <a:r>
              <a:rPr lang="en-US" sz="1100" b="1" dirty="0" smtClean="0"/>
              <a:t>Institute</a:t>
            </a:r>
          </a:p>
          <a:p>
            <a:pPr algn="ctr"/>
            <a:r>
              <a:rPr lang="en-US" sz="1100" b="1" dirty="0" smtClean="0"/>
              <a:t>Troy </a:t>
            </a:r>
            <a:r>
              <a:rPr lang="en-US" sz="1100" b="1" dirty="0"/>
              <a:t>New </a:t>
            </a:r>
            <a:r>
              <a:rPr lang="en-US" sz="1100" b="1" dirty="0" smtClean="0"/>
              <a:t>York</a:t>
            </a:r>
            <a:endParaRPr lang="en-US" sz="1100" b="1" dirty="0"/>
          </a:p>
        </p:txBody>
      </p:sp>
      <p:sp>
        <p:nvSpPr>
          <p:cNvPr id="39" name="TextBox 38"/>
          <p:cNvSpPr txBox="1"/>
          <p:nvPr/>
        </p:nvSpPr>
        <p:spPr>
          <a:xfrm>
            <a:off x="5320008" y="3703029"/>
            <a:ext cx="1936749" cy="430887"/>
          </a:xfrm>
          <a:prstGeom prst="rect">
            <a:avLst/>
          </a:prstGeom>
          <a:noFill/>
        </p:spPr>
        <p:txBody>
          <a:bodyPr wrap="none" rtlCol="0">
            <a:spAutoFit/>
          </a:bodyPr>
          <a:lstStyle/>
          <a:p>
            <a:pPr algn="ctr"/>
            <a:r>
              <a:rPr lang="en-US" sz="1100" b="1" dirty="0"/>
              <a:t>Cuyahoga Community College</a:t>
            </a:r>
          </a:p>
          <a:p>
            <a:pPr algn="ctr"/>
            <a:r>
              <a:rPr lang="en-US" sz="1100" b="1" dirty="0" smtClean="0"/>
              <a:t>Cleveland Ohio</a:t>
            </a:r>
            <a:endParaRPr lang="en-US" sz="1100" b="1" dirty="0"/>
          </a:p>
        </p:txBody>
      </p:sp>
      <p:sp>
        <p:nvSpPr>
          <p:cNvPr id="40" name="TextBox 39"/>
          <p:cNvSpPr txBox="1"/>
          <p:nvPr/>
        </p:nvSpPr>
        <p:spPr>
          <a:xfrm>
            <a:off x="276870" y="4912191"/>
            <a:ext cx="2345514" cy="430887"/>
          </a:xfrm>
          <a:prstGeom prst="rect">
            <a:avLst/>
          </a:prstGeom>
          <a:noFill/>
        </p:spPr>
        <p:txBody>
          <a:bodyPr wrap="none" rtlCol="0">
            <a:spAutoFit/>
          </a:bodyPr>
          <a:lstStyle>
            <a:defPPr>
              <a:defRPr lang="en-US"/>
            </a:defPPr>
            <a:lvl1pPr algn="ctr">
              <a:defRPr sz="1400"/>
            </a:lvl1pPr>
          </a:lstStyle>
          <a:p>
            <a:r>
              <a:rPr lang="en-US" sz="1100" b="1" dirty="0"/>
              <a:t>National Academies Beckman Center</a:t>
            </a:r>
          </a:p>
          <a:p>
            <a:r>
              <a:rPr lang="en-US" sz="1100" b="1" dirty="0" smtClean="0"/>
              <a:t>Irvine </a:t>
            </a:r>
            <a:r>
              <a:rPr lang="en-US" sz="1100" b="1" dirty="0"/>
              <a:t>California</a:t>
            </a:r>
          </a:p>
        </p:txBody>
      </p:sp>
      <p:sp>
        <p:nvSpPr>
          <p:cNvPr id="41" name="TextBox 40"/>
          <p:cNvSpPr txBox="1"/>
          <p:nvPr/>
        </p:nvSpPr>
        <p:spPr>
          <a:xfrm>
            <a:off x="2622384" y="4126318"/>
            <a:ext cx="1497526" cy="430887"/>
          </a:xfrm>
          <a:prstGeom prst="rect">
            <a:avLst/>
          </a:prstGeom>
          <a:noFill/>
        </p:spPr>
        <p:txBody>
          <a:bodyPr wrap="none" rtlCol="0">
            <a:spAutoFit/>
          </a:bodyPr>
          <a:lstStyle>
            <a:defPPr>
              <a:defRPr lang="en-US"/>
            </a:defPPr>
            <a:lvl1pPr algn="ctr">
              <a:defRPr sz="1400"/>
            </a:lvl1pPr>
          </a:lstStyle>
          <a:p>
            <a:r>
              <a:rPr lang="en-US" sz="1100" b="1" dirty="0" smtClean="0"/>
              <a:t>University of Colorado</a:t>
            </a:r>
          </a:p>
          <a:p>
            <a:r>
              <a:rPr lang="en-US" sz="1100" b="1" dirty="0" smtClean="0"/>
              <a:t>Boulder, Colorado</a:t>
            </a:r>
            <a:endParaRPr lang="en-US" sz="1100" b="1" dirty="0"/>
          </a:p>
        </p:txBody>
      </p:sp>
      <p:sp>
        <p:nvSpPr>
          <p:cNvPr id="42" name="TextBox 41"/>
          <p:cNvSpPr txBox="1"/>
          <p:nvPr/>
        </p:nvSpPr>
        <p:spPr>
          <a:xfrm>
            <a:off x="5086087" y="5230498"/>
            <a:ext cx="1903085" cy="430887"/>
          </a:xfrm>
          <a:prstGeom prst="rect">
            <a:avLst/>
          </a:prstGeom>
          <a:noFill/>
        </p:spPr>
        <p:txBody>
          <a:bodyPr wrap="none" rtlCol="0">
            <a:spAutoFit/>
          </a:bodyPr>
          <a:lstStyle>
            <a:defPPr>
              <a:defRPr lang="en-US"/>
            </a:defPPr>
            <a:lvl1pPr algn="ctr">
              <a:defRPr sz="1400"/>
            </a:lvl1pPr>
          </a:lstStyle>
          <a:p>
            <a:r>
              <a:rPr lang="en-US" sz="1100" b="1" dirty="0" smtClean="0"/>
              <a:t>U.S. Space and Rocket Center</a:t>
            </a:r>
          </a:p>
          <a:p>
            <a:r>
              <a:rPr lang="en-US" sz="1100" b="1" dirty="0" smtClean="0"/>
              <a:t>Huntsville, Alabama</a:t>
            </a:r>
            <a:endParaRPr lang="en-US" sz="1100" b="1" dirty="0"/>
          </a:p>
        </p:txBody>
      </p:sp>
      <p:sp>
        <p:nvSpPr>
          <p:cNvPr id="43" name="TextBox 42"/>
          <p:cNvSpPr txBox="1"/>
          <p:nvPr/>
        </p:nvSpPr>
        <p:spPr>
          <a:xfrm>
            <a:off x="2250371" y="1996321"/>
            <a:ext cx="4950822" cy="830997"/>
          </a:xfrm>
          <a:prstGeom prst="rect">
            <a:avLst/>
          </a:prstGeom>
          <a:noFill/>
        </p:spPr>
        <p:txBody>
          <a:bodyPr wrap="square" rtlCol="0">
            <a:spAutoFit/>
          </a:bodyPr>
          <a:lstStyle/>
          <a:p>
            <a:pPr algn="ctr"/>
            <a:r>
              <a:rPr lang="en-US" sz="2400" b="1" i="1" dirty="0">
                <a:solidFill>
                  <a:srgbClr val="FF0000"/>
                </a:solidFill>
              </a:rPr>
              <a:t>Broad &amp;</a:t>
            </a:r>
            <a:r>
              <a:rPr lang="en-US" sz="2400" b="1" i="1" dirty="0" smtClean="0">
                <a:solidFill>
                  <a:srgbClr val="FF0000"/>
                </a:solidFill>
              </a:rPr>
              <a:t> </a:t>
            </a:r>
            <a:r>
              <a:rPr lang="en-US" sz="2400" b="1" i="1" dirty="0">
                <a:solidFill>
                  <a:srgbClr val="FF0000"/>
                </a:solidFill>
              </a:rPr>
              <a:t>Diverse Stakeholder </a:t>
            </a:r>
            <a:r>
              <a:rPr lang="en-US" sz="2400" b="1" i="1" dirty="0" smtClean="0">
                <a:solidFill>
                  <a:srgbClr val="FF0000"/>
                </a:solidFill>
              </a:rPr>
              <a:t>Input</a:t>
            </a:r>
          </a:p>
          <a:p>
            <a:pPr algn="ctr"/>
            <a:r>
              <a:rPr lang="en-US" sz="2400" b="1" i="1" dirty="0" smtClean="0">
                <a:solidFill>
                  <a:srgbClr val="FF0000"/>
                </a:solidFill>
              </a:rPr>
              <a:t>1,200 voices on the NNMI Design!</a:t>
            </a:r>
          </a:p>
        </p:txBody>
      </p:sp>
      <p:grpSp>
        <p:nvGrpSpPr>
          <p:cNvPr id="4" name="Group 3"/>
          <p:cNvGrpSpPr/>
          <p:nvPr/>
        </p:nvGrpSpPr>
        <p:grpSpPr>
          <a:xfrm>
            <a:off x="-51935" y="1712065"/>
            <a:ext cx="3194979" cy="2113808"/>
            <a:chOff x="20350" y="1607668"/>
            <a:chExt cx="3194979" cy="2113808"/>
          </a:xfrm>
        </p:grpSpPr>
        <p:graphicFrame>
          <p:nvGraphicFramePr>
            <p:cNvPr id="47" name="Chart 46"/>
            <p:cNvGraphicFramePr>
              <a:graphicFrameLocks/>
            </p:cNvGraphicFramePr>
            <p:nvPr>
              <p:extLst/>
            </p:nvPr>
          </p:nvGraphicFramePr>
          <p:xfrm>
            <a:off x="86784" y="1615740"/>
            <a:ext cx="3128545" cy="2105736"/>
          </p:xfrm>
          <a:graphic>
            <a:graphicData uri="http://schemas.openxmlformats.org/drawingml/2006/chart">
              <c:chart xmlns:c="http://schemas.openxmlformats.org/drawingml/2006/chart" xmlns:r="http://schemas.openxmlformats.org/officeDocument/2006/relationships" r:id="rId9"/>
            </a:graphicData>
          </a:graphic>
        </p:graphicFrame>
        <p:sp>
          <p:nvSpPr>
            <p:cNvPr id="3" name="TextBox 2"/>
            <p:cNvSpPr txBox="1"/>
            <p:nvPr/>
          </p:nvSpPr>
          <p:spPr>
            <a:xfrm>
              <a:off x="999652" y="1607668"/>
              <a:ext cx="735217" cy="369332"/>
            </a:xfrm>
            <a:prstGeom prst="rect">
              <a:avLst/>
            </a:prstGeom>
            <a:noFill/>
          </p:spPr>
          <p:txBody>
            <a:bodyPr wrap="square" rtlCol="0">
              <a:spAutoFit/>
            </a:bodyPr>
            <a:lstStyle/>
            <a:p>
              <a:pPr algn="ctr"/>
              <a:r>
                <a:rPr lang="en-US" sz="900" dirty="0" smtClean="0"/>
                <a:t>All Other 10%</a:t>
              </a:r>
              <a:endParaRPr lang="en-US" sz="900" dirty="0"/>
            </a:p>
          </p:txBody>
        </p:sp>
        <p:sp>
          <p:nvSpPr>
            <p:cNvPr id="48" name="TextBox 47"/>
            <p:cNvSpPr txBox="1"/>
            <p:nvPr/>
          </p:nvSpPr>
          <p:spPr>
            <a:xfrm>
              <a:off x="123309" y="1859074"/>
              <a:ext cx="1074076" cy="369332"/>
            </a:xfrm>
            <a:prstGeom prst="rect">
              <a:avLst/>
            </a:prstGeom>
            <a:noFill/>
          </p:spPr>
          <p:txBody>
            <a:bodyPr wrap="square" rtlCol="0">
              <a:spAutoFit/>
            </a:bodyPr>
            <a:lstStyle/>
            <a:p>
              <a:pPr algn="ctr"/>
              <a:r>
                <a:rPr lang="en-US" sz="900" dirty="0" smtClean="0"/>
                <a:t>Economic Development 6%</a:t>
              </a:r>
              <a:endParaRPr lang="en-US" sz="900" dirty="0"/>
            </a:p>
          </p:txBody>
        </p:sp>
        <p:sp>
          <p:nvSpPr>
            <p:cNvPr id="49" name="TextBox 48"/>
            <p:cNvSpPr txBox="1"/>
            <p:nvPr/>
          </p:nvSpPr>
          <p:spPr>
            <a:xfrm>
              <a:off x="100438" y="2261445"/>
              <a:ext cx="872518" cy="369332"/>
            </a:xfrm>
            <a:prstGeom prst="rect">
              <a:avLst/>
            </a:prstGeom>
            <a:noFill/>
          </p:spPr>
          <p:txBody>
            <a:bodyPr wrap="square" rtlCol="0">
              <a:spAutoFit/>
            </a:bodyPr>
            <a:lstStyle/>
            <a:p>
              <a:pPr algn="ctr"/>
              <a:r>
                <a:rPr lang="en-US" sz="900" dirty="0" smtClean="0"/>
                <a:t>Research &amp; </a:t>
              </a:r>
              <a:r>
                <a:rPr lang="en-US" sz="900" dirty="0"/>
                <a:t>n</a:t>
              </a:r>
              <a:r>
                <a:rPr lang="en-US" sz="900" dirty="0" smtClean="0"/>
                <a:t>on-profits 8%</a:t>
              </a:r>
              <a:endParaRPr lang="en-US" sz="900" dirty="0"/>
            </a:p>
          </p:txBody>
        </p:sp>
        <p:sp>
          <p:nvSpPr>
            <p:cNvPr id="50" name="TextBox 49"/>
            <p:cNvSpPr txBox="1"/>
            <p:nvPr/>
          </p:nvSpPr>
          <p:spPr>
            <a:xfrm>
              <a:off x="20350" y="2747745"/>
              <a:ext cx="1020870" cy="369332"/>
            </a:xfrm>
            <a:prstGeom prst="rect">
              <a:avLst/>
            </a:prstGeom>
            <a:noFill/>
          </p:spPr>
          <p:txBody>
            <a:bodyPr wrap="square" rtlCol="0">
              <a:spAutoFit/>
            </a:bodyPr>
            <a:lstStyle/>
            <a:p>
              <a:pPr algn="ctr"/>
              <a:r>
                <a:rPr lang="en-US" sz="900" dirty="0" smtClean="0"/>
                <a:t>Federal State &amp; Local Gov’t 14%</a:t>
              </a:r>
              <a:endParaRPr lang="en-US" sz="900" dirty="0"/>
            </a:p>
          </p:txBody>
        </p:sp>
      </p:grpSp>
      <p:sp>
        <p:nvSpPr>
          <p:cNvPr id="2" name="Title 1"/>
          <p:cNvSpPr>
            <a:spLocks noGrp="1"/>
          </p:cNvSpPr>
          <p:nvPr>
            <p:ph type="ctrTitle" idx="4294967295"/>
          </p:nvPr>
        </p:nvSpPr>
        <p:spPr>
          <a:xfrm>
            <a:off x="26619" y="-45719"/>
            <a:ext cx="9144000" cy="742950"/>
          </a:xfrm>
          <a:prstGeom prst="rect">
            <a:avLst/>
          </a:prstGeom>
        </p:spPr>
        <p:txBody>
          <a:bodyPr>
            <a:noAutofit/>
          </a:bodyPr>
          <a:lstStyle/>
          <a:p>
            <a:pPr algn="ctr"/>
            <a:r>
              <a:rPr lang="en-US" sz="3200" b="1" dirty="0" smtClean="0">
                <a:solidFill>
                  <a:schemeClr val="bg1"/>
                </a:solidFill>
                <a:latin typeface="+mn-lt"/>
              </a:rPr>
              <a:t>Public Engagement on Design</a:t>
            </a:r>
            <a:br>
              <a:rPr lang="en-US" sz="3200" b="1" dirty="0" smtClean="0">
                <a:solidFill>
                  <a:schemeClr val="bg1"/>
                </a:solidFill>
                <a:latin typeface="+mn-lt"/>
              </a:rPr>
            </a:br>
            <a:r>
              <a:rPr lang="en-US" sz="2800" b="1" i="1" dirty="0" smtClean="0">
                <a:solidFill>
                  <a:schemeClr val="bg1"/>
                </a:solidFill>
                <a:latin typeface="+mn-lt"/>
              </a:rPr>
              <a:t>Workshops &amp; Request for Information</a:t>
            </a:r>
            <a:endParaRPr lang="en-US" sz="2800" b="1" i="1" dirty="0">
              <a:solidFill>
                <a:schemeClr val="bg1"/>
              </a:solidFill>
              <a:latin typeface="+mn-lt"/>
            </a:endParaRPr>
          </a:p>
        </p:txBody>
      </p:sp>
      <p:pic>
        <p:nvPicPr>
          <p:cNvPr id="5" name="Picture 4"/>
          <p:cNvPicPr>
            <a:picLocks noChangeAspect="1"/>
          </p:cNvPicPr>
          <p:nvPr/>
        </p:nvPicPr>
        <p:blipFill>
          <a:blip r:embed="rId10"/>
          <a:stretch>
            <a:fillRect/>
          </a:stretch>
        </p:blipFill>
        <p:spPr>
          <a:xfrm>
            <a:off x="3552842" y="4677152"/>
            <a:ext cx="1438780" cy="1862768"/>
          </a:xfrm>
          <a:prstGeom prst="rect">
            <a:avLst/>
          </a:prstGeom>
          <a:ln>
            <a:solidFill>
              <a:srgbClr val="4A452A"/>
            </a:solidFill>
          </a:ln>
        </p:spPr>
      </p:pic>
      <p:sp>
        <p:nvSpPr>
          <p:cNvPr id="6" name="5-Point Star 5"/>
          <p:cNvSpPr/>
          <p:nvPr/>
        </p:nvSpPr>
        <p:spPr>
          <a:xfrm>
            <a:off x="6680819" y="4229810"/>
            <a:ext cx="439559" cy="281215"/>
          </a:xfrm>
          <a:prstGeom prst="star5">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5-Point Star 28"/>
          <p:cNvSpPr/>
          <p:nvPr/>
        </p:nvSpPr>
        <p:spPr>
          <a:xfrm>
            <a:off x="5207761" y="2747493"/>
            <a:ext cx="439559" cy="281215"/>
          </a:xfrm>
          <a:prstGeom prst="star5">
            <a:avLst/>
          </a:prstGeom>
          <a:solidFill>
            <a:srgbClr val="FFFF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25698718"/>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5038" y="2097101"/>
            <a:ext cx="3259877" cy="4218666"/>
          </a:xfrm>
          <a:prstGeom prst="rect">
            <a:avLst/>
          </a:prstGeom>
          <a:ln>
            <a:solidFill>
              <a:schemeClr val="tx1"/>
            </a:solidFill>
          </a:ln>
          <a:effectLst>
            <a:outerShdw blurRad="50800" dist="38100" dir="2700000" algn="tl" rotWithShape="0">
              <a:prstClr val="black">
                <a:alpha val="40000"/>
              </a:prstClr>
            </a:outerShdw>
          </a:effectLst>
          <a:scene3d>
            <a:camera prst="orthographicFront"/>
            <a:lightRig rig="threePt" dir="t"/>
          </a:scene3d>
          <a:sp3d extrusionH="76200">
            <a:bevelT prst="relaxedInset"/>
            <a:extrusionClr>
              <a:schemeClr val="tx1"/>
            </a:extrusionClr>
          </a:sp3d>
        </p:spPr>
      </p:pic>
      <p:sp>
        <p:nvSpPr>
          <p:cNvPr id="2" name="TextBox 1"/>
          <p:cNvSpPr txBox="1"/>
          <p:nvPr/>
        </p:nvSpPr>
        <p:spPr>
          <a:xfrm>
            <a:off x="269726" y="1047286"/>
            <a:ext cx="2618592" cy="830997"/>
          </a:xfrm>
          <a:prstGeom prst="rect">
            <a:avLst/>
          </a:prstGeom>
          <a:solidFill>
            <a:schemeClr val="bg2">
              <a:lumMod val="90000"/>
            </a:schemeClr>
          </a:solidFill>
        </p:spPr>
        <p:txBody>
          <a:bodyPr wrap="square" rtlCol="0">
            <a:spAutoFit/>
          </a:bodyPr>
          <a:lstStyle/>
          <a:p>
            <a:pPr algn="ctr"/>
            <a:r>
              <a:rPr lang="en-US" sz="1600" b="1" dirty="0" smtClean="0">
                <a:latin typeface="Arial"/>
                <a:cs typeface="Arial"/>
              </a:rPr>
              <a:t>White House Report</a:t>
            </a:r>
          </a:p>
          <a:p>
            <a:pPr algn="ctr"/>
            <a:r>
              <a:rPr lang="en-US" sz="1600" b="1" dirty="0" smtClean="0">
                <a:latin typeface="Arial"/>
                <a:cs typeface="Arial"/>
              </a:rPr>
              <a:t>NNMI Framework Design</a:t>
            </a:r>
          </a:p>
          <a:p>
            <a:pPr algn="ctr"/>
            <a:r>
              <a:rPr lang="en-US" sz="1600" b="1" dirty="0" smtClean="0">
                <a:latin typeface="Arial"/>
                <a:cs typeface="Arial"/>
              </a:rPr>
              <a:t>January 2013</a:t>
            </a:r>
            <a:endParaRPr lang="en-US" sz="1600" b="1" dirty="0">
              <a:latin typeface="Arial"/>
              <a:cs typeface="Arial"/>
            </a:endParaRPr>
          </a:p>
        </p:txBody>
      </p:sp>
      <p:sp>
        <p:nvSpPr>
          <p:cNvPr id="6" name="Slide Number Placeholder 1"/>
          <p:cNvSpPr>
            <a:spLocks noGrp="1"/>
          </p:cNvSpPr>
          <p:nvPr>
            <p:ph type="sldNum" sz="quarter" idx="12"/>
          </p:nvPr>
        </p:nvSpPr>
        <p:spPr>
          <a:xfrm>
            <a:off x="7121872" y="6458473"/>
            <a:ext cx="1902553" cy="365125"/>
          </a:xfrm>
          <a:prstGeom prst="rect">
            <a:avLst/>
          </a:prstGeom>
        </p:spPr>
        <p:txBody>
          <a:bodyPr/>
          <a:lstStyle/>
          <a:p>
            <a:pPr algn="r"/>
            <a:fld id="{72D7BA27-C16C-1A4F-8D3C-B4A583C22619}" type="slidenum">
              <a:rPr lang="en-US" sz="1400" smtClean="0">
                <a:solidFill>
                  <a:schemeClr val="tx1"/>
                </a:solidFill>
              </a:rPr>
              <a:pPr algn="r"/>
              <a:t>6</a:t>
            </a:fld>
            <a:endParaRPr lang="en-US" sz="1400" dirty="0">
              <a:solidFill>
                <a:schemeClr val="tx1"/>
              </a:solidFill>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342387" y="1262319"/>
            <a:ext cx="5725539" cy="4898257"/>
          </a:xfrm>
          <a:prstGeom prst="rect">
            <a:avLst/>
          </a:prstGeom>
        </p:spPr>
      </p:pic>
      <p:sp>
        <p:nvSpPr>
          <p:cNvPr id="10" name="Title 5"/>
          <p:cNvSpPr txBox="1">
            <a:spLocks/>
          </p:cNvSpPr>
          <p:nvPr/>
        </p:nvSpPr>
        <p:spPr>
          <a:xfrm>
            <a:off x="0" y="0"/>
            <a:ext cx="9144000" cy="912411"/>
          </a:xfrm>
          <a:prstGeom prst="rect">
            <a:avLst/>
          </a:prstGeom>
          <a:solidFill>
            <a:srgbClr val="002060"/>
          </a:solidFill>
        </p:spPr>
        <p:txBody>
          <a:bodyPr rtlCol="0">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defRPr/>
            </a:pPr>
            <a:r>
              <a:rPr lang="en-US" sz="3200" b="1" dirty="0">
                <a:solidFill>
                  <a:schemeClr val="bg1"/>
                </a:solidFill>
                <a:latin typeface="Calibri" pitchFamily="34" charset="0"/>
                <a:cs typeface="Calibri" pitchFamily="34" charset="0"/>
              </a:rPr>
              <a:t>The Institute Design</a:t>
            </a:r>
          </a:p>
          <a:p>
            <a:pPr>
              <a:defRPr/>
            </a:pPr>
            <a:r>
              <a:rPr lang="en-US" sz="2400" b="1" i="1" dirty="0">
                <a:solidFill>
                  <a:schemeClr val="bg1"/>
                </a:solidFill>
                <a:latin typeface="Calibri" pitchFamily="34" charset="0"/>
                <a:cs typeface="Calibri" pitchFamily="34" charset="0"/>
              </a:rPr>
              <a:t>Creating the space for Industry &amp; Academia to collaborate</a:t>
            </a:r>
          </a:p>
        </p:txBody>
      </p:sp>
    </p:spTree>
    <p:extLst>
      <p:ext uri="{BB962C8B-B14F-4D97-AF65-F5344CB8AC3E}">
        <p14:creationId xmlns:p14="http://schemas.microsoft.com/office/powerpoint/2010/main" val="162307694"/>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297543" y="1010412"/>
            <a:ext cx="6591714" cy="5339923"/>
          </a:xfrm>
          <a:prstGeom prst="rect">
            <a:avLst/>
          </a:prstGeom>
          <a:noFill/>
        </p:spPr>
        <p:txBody>
          <a:bodyPr wrap="square" rtlCol="0">
            <a:spAutoFit/>
          </a:bodyPr>
          <a:lstStyle/>
          <a:p>
            <a:pPr marL="173831" lvl="1" indent="-173831">
              <a:spcBef>
                <a:spcPts val="1200"/>
              </a:spcBef>
              <a:buFont typeface="Arial" pitchFamily="34" charset="0"/>
              <a:buChar char="•"/>
            </a:pPr>
            <a:r>
              <a:rPr lang="en-US" sz="2200" dirty="0"/>
              <a:t>Establish a presence, at scale, in the “missing middle” of advanced manufacturing research</a:t>
            </a:r>
          </a:p>
          <a:p>
            <a:pPr marL="173831" lvl="1" indent="-173831">
              <a:spcBef>
                <a:spcPts val="1200"/>
              </a:spcBef>
              <a:buFont typeface="Arial" pitchFamily="34" charset="0"/>
              <a:buChar char="•"/>
            </a:pPr>
            <a:r>
              <a:rPr lang="en-US" sz="2200" dirty="0"/>
              <a:t>Create an Industrial Commons, supporting  future </a:t>
            </a:r>
            <a:r>
              <a:rPr lang="en-US" sz="2200" dirty="0" smtClean="0"/>
              <a:t>“manufacturing hubs”, </a:t>
            </a:r>
            <a:r>
              <a:rPr lang="en-US" sz="2200" dirty="0"/>
              <a:t>with active partnering between all stakeholders</a:t>
            </a:r>
          </a:p>
          <a:p>
            <a:pPr marL="173831" lvl="1" indent="-173831">
              <a:spcBef>
                <a:spcPts val="1200"/>
              </a:spcBef>
              <a:buFont typeface="Arial" pitchFamily="34" charset="0"/>
              <a:buChar char="•"/>
            </a:pPr>
            <a:r>
              <a:rPr lang="en-US" sz="2200" dirty="0"/>
              <a:t>Emphasize/support longer-term </a:t>
            </a:r>
            <a:r>
              <a:rPr lang="en-US" sz="2200" dirty="0" smtClean="0"/>
              <a:t>investments by </a:t>
            </a:r>
            <a:r>
              <a:rPr lang="en-US" sz="2200" dirty="0"/>
              <a:t>industry</a:t>
            </a:r>
          </a:p>
          <a:p>
            <a:pPr marL="173831" lvl="1" indent="-173831">
              <a:spcBef>
                <a:spcPts val="1200"/>
              </a:spcBef>
              <a:buFont typeface="Arial" pitchFamily="34" charset="0"/>
              <a:buChar char="•"/>
            </a:pPr>
            <a:r>
              <a:rPr lang="en-US" sz="2200" dirty="0"/>
              <a:t>Combine R&amp;D with workforce development </a:t>
            </a:r>
            <a:r>
              <a:rPr lang="en-US" sz="2200" dirty="0" smtClean="0"/>
              <a:t>and </a:t>
            </a:r>
            <a:r>
              <a:rPr lang="en-US" sz="2200" dirty="0"/>
              <a:t>training</a:t>
            </a:r>
          </a:p>
          <a:p>
            <a:pPr marL="173831" lvl="1" indent="-173831">
              <a:spcBef>
                <a:spcPts val="1200"/>
              </a:spcBef>
              <a:buFont typeface="Arial" pitchFamily="34" charset="0"/>
              <a:buChar char="•"/>
            </a:pPr>
            <a:r>
              <a:rPr lang="en-US" sz="2200" b="1" i="1" dirty="0"/>
              <a:t>Overarching Objective: </a:t>
            </a:r>
            <a:r>
              <a:rPr lang="en-US" sz="2200" b="1" i="1" dirty="0" smtClean="0"/>
              <a:t>Unleash </a:t>
            </a:r>
            <a:r>
              <a:rPr lang="en-US" sz="2200" b="1" i="1" dirty="0"/>
              <a:t>new U.S. advanced manufacturing capabilities and industries </a:t>
            </a:r>
            <a:r>
              <a:rPr lang="en-US" sz="2200" i="1" dirty="0"/>
              <a:t>– for stronger global competitiveness and U.S. economic &amp; national security</a:t>
            </a:r>
          </a:p>
          <a:p>
            <a:r>
              <a:rPr lang="en-US" sz="1500" dirty="0"/>
              <a:t>	</a:t>
            </a:r>
          </a:p>
        </p:txBody>
      </p:sp>
      <p:graphicFrame>
        <p:nvGraphicFramePr>
          <p:cNvPr id="3" name="Diagram 2"/>
          <p:cNvGraphicFramePr/>
          <p:nvPr>
            <p:extLst>
              <p:ext uri="{D42A27DB-BD31-4B8C-83A1-F6EECF244321}">
                <p14:modId xmlns:p14="http://schemas.microsoft.com/office/powerpoint/2010/main" val="4032152606"/>
              </p:ext>
            </p:extLst>
          </p:nvPr>
        </p:nvGraphicFramePr>
        <p:xfrm>
          <a:off x="6088743" y="1120591"/>
          <a:ext cx="3500641" cy="30944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ctangle 1"/>
          <p:cNvSpPr/>
          <p:nvPr/>
        </p:nvSpPr>
        <p:spPr>
          <a:xfrm>
            <a:off x="297543" y="59365"/>
            <a:ext cx="8650514" cy="830997"/>
          </a:xfrm>
          <a:prstGeom prst="rect">
            <a:avLst/>
          </a:prstGeom>
        </p:spPr>
        <p:txBody>
          <a:bodyPr wrap="square">
            <a:spAutoFit/>
          </a:bodyPr>
          <a:lstStyle/>
          <a:p>
            <a:pPr algn="ctr">
              <a:defRPr/>
            </a:pPr>
            <a:r>
              <a:rPr lang="en-US" sz="2400" b="1">
                <a:solidFill>
                  <a:schemeClr val="bg1"/>
                </a:solidFill>
                <a:latin typeface="Calibri" pitchFamily="34" charset="0"/>
                <a:cs typeface="Calibri" pitchFamily="34" charset="0"/>
              </a:rPr>
              <a:t>NNMI: Enabling a Manufacturing Renaissance</a:t>
            </a:r>
          </a:p>
          <a:p>
            <a:pPr algn="ctr">
              <a:defRPr/>
            </a:pPr>
            <a:r>
              <a:rPr lang="en-US" sz="2400" i="1">
                <a:solidFill>
                  <a:schemeClr val="bg1"/>
                </a:solidFill>
                <a:latin typeface="Calibri" pitchFamily="34" charset="0"/>
              </a:rPr>
              <a:t>Accelerating Discovery to Application to Production</a:t>
            </a:r>
            <a:endParaRPr lang="en-US" sz="1600" i="1" dirty="0">
              <a:solidFill>
                <a:schemeClr val="bg1"/>
              </a:solidFill>
            </a:endParaRPr>
          </a:p>
        </p:txBody>
      </p:sp>
      <p:sp>
        <p:nvSpPr>
          <p:cNvPr id="6" name="TextBox 5"/>
          <p:cNvSpPr txBox="1"/>
          <p:nvPr/>
        </p:nvSpPr>
        <p:spPr>
          <a:xfrm>
            <a:off x="44956" y="6079440"/>
            <a:ext cx="9035829" cy="707886"/>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28575">
            <a:solidFill>
              <a:schemeClr val="accent1">
                <a:shade val="50000"/>
              </a:schemeClr>
            </a:solidFill>
          </a:ln>
        </p:spPr>
        <p:txBody>
          <a:bodyPr wrap="square" rtlCol="0">
            <a:spAutoFit/>
          </a:bodyPr>
          <a:lstStyle/>
          <a:p>
            <a:pPr algn="ctr"/>
            <a:r>
              <a:rPr lang="en-US" sz="2000" b="1" dirty="0" smtClean="0"/>
              <a:t>Federal startup investment: ~$70M/institute over 5-7 years</a:t>
            </a:r>
          </a:p>
          <a:p>
            <a:pPr algn="ctr"/>
            <a:r>
              <a:rPr lang="en-US" sz="2000" b="1" dirty="0" smtClean="0"/>
              <a:t>Institute Consortium owners must have minimum 1:1 co-investment</a:t>
            </a:r>
            <a:endParaRPr lang="en-US" sz="2000" dirty="0"/>
          </a:p>
        </p:txBody>
      </p:sp>
    </p:spTree>
    <p:extLst>
      <p:ext uri="{BB962C8B-B14F-4D97-AF65-F5344CB8AC3E}">
        <p14:creationId xmlns:p14="http://schemas.microsoft.com/office/powerpoint/2010/main" val="34890123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2655" y="886490"/>
            <a:ext cx="9133533" cy="5971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8674" name="Title 1"/>
          <p:cNvSpPr>
            <a:spLocks noGrp="1"/>
          </p:cNvSpPr>
          <p:nvPr>
            <p:ph type="title"/>
          </p:nvPr>
        </p:nvSpPr>
        <p:spPr>
          <a:xfrm>
            <a:off x="1" y="192468"/>
            <a:ext cx="9166187" cy="533400"/>
          </a:xfrm>
        </p:spPr>
        <p:txBody>
          <a:bodyPr>
            <a:noAutofit/>
          </a:bodyPr>
          <a:lstStyle/>
          <a:p>
            <a:pPr eaLnBrk="1" hangingPunct="1"/>
            <a:r>
              <a:rPr lang="en-US" altLang="en-US" sz="3600" b="1" dirty="0">
                <a:solidFill>
                  <a:schemeClr val="bg1"/>
                </a:solidFill>
                <a:latin typeface="Calibri" pitchFamily="34" charset="0"/>
                <a:cs typeface="Calibri" pitchFamily="34" charset="0"/>
              </a:rPr>
              <a:t>NNMI: </a:t>
            </a:r>
            <a:r>
              <a:rPr lang="en-US" altLang="en-US" sz="3600" b="1" dirty="0" smtClean="0">
                <a:solidFill>
                  <a:schemeClr val="bg1"/>
                </a:solidFill>
                <a:latin typeface="Calibri" pitchFamily="34" charset="0"/>
                <a:cs typeface="Calibri" pitchFamily="34" charset="0"/>
              </a:rPr>
              <a:t>Addressing </a:t>
            </a:r>
            <a:r>
              <a:rPr lang="en-US" altLang="en-US" sz="3600" b="1" dirty="0">
                <a:solidFill>
                  <a:schemeClr val="bg1"/>
                </a:solidFill>
                <a:latin typeface="Calibri" pitchFamily="34" charset="0"/>
                <a:cs typeface="Calibri" pitchFamily="34" charset="0"/>
              </a:rPr>
              <a:t>the “Scale-up” Gap</a:t>
            </a:r>
          </a:p>
        </p:txBody>
      </p:sp>
      <p:sp>
        <p:nvSpPr>
          <p:cNvPr id="12" name="Slide Number Placeholder 1"/>
          <p:cNvSpPr>
            <a:spLocks noGrp="1"/>
          </p:cNvSpPr>
          <p:nvPr>
            <p:ph type="sldNum" sz="quarter" idx="4"/>
          </p:nvPr>
        </p:nvSpPr>
        <p:spPr>
          <a:xfrm>
            <a:off x="7234416" y="6465507"/>
            <a:ext cx="1902553" cy="365125"/>
          </a:xfrm>
          <a:prstGeom prst="rect">
            <a:avLst/>
          </a:prstGeom>
        </p:spPr>
        <p:txBody>
          <a:bodyPr/>
          <a:lstStyle/>
          <a:p>
            <a:pPr algn="r"/>
            <a:fld id="{72D7BA27-C16C-1A4F-8D3C-B4A583C22619}" type="slidenum">
              <a:rPr lang="en-US" sz="1400" smtClean="0">
                <a:solidFill>
                  <a:schemeClr val="tx1"/>
                </a:solidFill>
              </a:rPr>
              <a:pPr algn="r"/>
              <a:t>8</a:t>
            </a:fld>
            <a:endParaRPr lang="en-US" sz="1400" dirty="0">
              <a:solidFill>
                <a:schemeClr val="tx1"/>
              </a:solidFill>
            </a:endParaRPr>
          </a:p>
        </p:txBody>
      </p:sp>
      <p:cxnSp>
        <p:nvCxnSpPr>
          <p:cNvPr id="5" name="Straight Connector 4"/>
          <p:cNvCxnSpPr/>
          <p:nvPr/>
        </p:nvCxnSpPr>
        <p:spPr>
          <a:xfrm>
            <a:off x="0" y="762000"/>
            <a:ext cx="9144000" cy="0"/>
          </a:xfrm>
          <a:prstGeom prst="line">
            <a:avLst/>
          </a:prstGeom>
          <a:ln>
            <a:noFill/>
          </a:ln>
        </p:spPr>
        <p:style>
          <a:lnRef idx="1">
            <a:schemeClr val="accent1"/>
          </a:lnRef>
          <a:fillRef idx="0">
            <a:schemeClr val="accent1"/>
          </a:fillRef>
          <a:effectRef idx="0">
            <a:schemeClr val="accent1"/>
          </a:effectRef>
          <a:fontRef idx="minor">
            <a:schemeClr val="tx1"/>
          </a:fontRef>
        </p:style>
      </p:cxnSp>
      <p:pic>
        <p:nvPicPr>
          <p:cNvPr id="65" name="Picture 1" descr="image001"/>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12545" y="3061356"/>
            <a:ext cx="9149514" cy="37580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6" name="TextBox 65"/>
          <p:cNvSpPr txBox="1"/>
          <p:nvPr/>
        </p:nvSpPr>
        <p:spPr>
          <a:xfrm>
            <a:off x="1218519" y="3125394"/>
            <a:ext cx="1600200" cy="400110"/>
          </a:xfrm>
          <a:prstGeom prst="rect">
            <a:avLst/>
          </a:prstGeom>
          <a:noFill/>
        </p:spPr>
        <p:txBody>
          <a:bodyPr wrap="square" rtlCol="0">
            <a:spAutoFit/>
          </a:bodyPr>
          <a:lstStyle/>
          <a:p>
            <a:pPr algn="ctr"/>
            <a:r>
              <a:rPr lang="en-US" sz="2000" b="1" i="1" dirty="0">
                <a:solidFill>
                  <a:srgbClr val="000099"/>
                </a:solidFill>
              </a:rPr>
              <a:t>Basic R&amp;D</a:t>
            </a:r>
          </a:p>
        </p:txBody>
      </p:sp>
      <p:sp>
        <p:nvSpPr>
          <p:cNvPr id="67" name="TextBox 66"/>
          <p:cNvSpPr txBox="1"/>
          <p:nvPr/>
        </p:nvSpPr>
        <p:spPr>
          <a:xfrm>
            <a:off x="6744220" y="3125394"/>
            <a:ext cx="2514600" cy="400110"/>
          </a:xfrm>
          <a:prstGeom prst="rect">
            <a:avLst/>
          </a:prstGeom>
          <a:noFill/>
        </p:spPr>
        <p:txBody>
          <a:bodyPr wrap="square" rtlCol="0">
            <a:spAutoFit/>
          </a:bodyPr>
          <a:lstStyle/>
          <a:p>
            <a:pPr algn="ctr"/>
            <a:r>
              <a:rPr lang="en-US" sz="2000" b="1" i="1" dirty="0">
                <a:solidFill>
                  <a:srgbClr val="000099"/>
                </a:solidFill>
              </a:rPr>
              <a:t>Commercialization</a:t>
            </a:r>
          </a:p>
        </p:txBody>
      </p:sp>
      <p:sp>
        <p:nvSpPr>
          <p:cNvPr id="69" name="TextBox 68"/>
          <p:cNvSpPr txBox="1"/>
          <p:nvPr/>
        </p:nvSpPr>
        <p:spPr>
          <a:xfrm>
            <a:off x="-12545" y="1192504"/>
            <a:ext cx="9010436" cy="1384995"/>
          </a:xfrm>
          <a:prstGeom prst="rect">
            <a:avLst/>
          </a:prstGeom>
          <a:noFill/>
        </p:spPr>
        <p:txBody>
          <a:bodyPr wrap="square" rtlCol="0">
            <a:spAutoFit/>
          </a:bodyPr>
          <a:lstStyle/>
          <a:p>
            <a:pPr algn="ctr"/>
            <a:r>
              <a:rPr lang="en-US" sz="2800" i="1" dirty="0" smtClean="0">
                <a:solidFill>
                  <a:srgbClr val="1F497D"/>
                </a:solidFill>
                <a:cs typeface="Calibri" pitchFamily="34" charset="0"/>
              </a:rPr>
              <a:t>Focus is to address market failure of insufficient industry R&amp;D in the “missing middle” or “industrial commons” to de-risk promising new technologies</a:t>
            </a:r>
            <a:endParaRPr lang="en-US" sz="2800" i="1" dirty="0">
              <a:solidFill>
                <a:srgbClr val="1F497D"/>
              </a:solidFill>
              <a:cs typeface="Calibri" pitchFamily="34" charset="0"/>
            </a:endParaRPr>
          </a:p>
        </p:txBody>
      </p:sp>
    </p:spTree>
    <p:extLst>
      <p:ext uri="{BB962C8B-B14F-4D97-AF65-F5344CB8AC3E}">
        <p14:creationId xmlns:p14="http://schemas.microsoft.com/office/powerpoint/2010/main" val="4026191535"/>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0" y="106380"/>
            <a:ext cx="9144000" cy="778968"/>
          </a:xfrm>
        </p:spPr>
        <p:txBody>
          <a:bodyPr anchor="t">
            <a:normAutofit/>
          </a:bodyPr>
          <a:lstStyle/>
          <a:p>
            <a:pPr>
              <a:defRPr/>
            </a:pPr>
            <a:r>
              <a:rPr lang="en-US" sz="3600" b="1" dirty="0" smtClean="0">
                <a:solidFill>
                  <a:schemeClr val="bg1"/>
                </a:solidFill>
                <a:latin typeface="+mn-lt"/>
                <a:cs typeface="Calibri" pitchFamily="34" charset="0"/>
              </a:rPr>
              <a:t>The NNMI Mission</a:t>
            </a:r>
            <a:endParaRPr lang="en-US" sz="3600" b="1" dirty="0">
              <a:solidFill>
                <a:schemeClr val="bg1"/>
              </a:solidFill>
              <a:latin typeface="+mn-lt"/>
              <a:cs typeface="Calibri" pitchFamily="34" charset="0"/>
            </a:endParaRPr>
          </a:p>
        </p:txBody>
      </p:sp>
      <p:sp>
        <p:nvSpPr>
          <p:cNvPr id="8" name="Content Placeholder 7"/>
          <p:cNvSpPr>
            <a:spLocks noGrp="1"/>
          </p:cNvSpPr>
          <p:nvPr>
            <p:ph idx="1"/>
          </p:nvPr>
        </p:nvSpPr>
        <p:spPr>
          <a:xfrm>
            <a:off x="359831" y="1039554"/>
            <a:ext cx="8384119" cy="4604527"/>
          </a:xfrm>
        </p:spPr>
        <p:txBody>
          <a:bodyPr anchor="t">
            <a:noAutofit/>
          </a:bodyPr>
          <a:lstStyle/>
          <a:p>
            <a:pPr marL="0" indent="0">
              <a:buNone/>
            </a:pPr>
            <a:r>
              <a:rPr lang="en-US" sz="2200" i="1" dirty="0" smtClean="0"/>
              <a:t>“The Network serves the Institutes, the Institutes connect through the Network, and the Program serves the Nation.”</a:t>
            </a:r>
          </a:p>
          <a:p>
            <a:pPr marL="0" indent="0">
              <a:buNone/>
            </a:pPr>
            <a:endParaRPr lang="en-US" sz="1000" dirty="0" smtClean="0"/>
          </a:p>
          <a:p>
            <a:pPr marL="0" indent="0">
              <a:buNone/>
            </a:pPr>
            <a:r>
              <a:rPr lang="en-US" sz="2200" b="1" dirty="0" smtClean="0"/>
              <a:t>Program Mission </a:t>
            </a:r>
            <a:r>
              <a:rPr lang="en-US" sz="2200" dirty="0" smtClean="0"/>
              <a:t>(Institutes + Network)</a:t>
            </a:r>
          </a:p>
          <a:p>
            <a:pPr marL="0" indent="0">
              <a:buNone/>
            </a:pPr>
            <a:r>
              <a:rPr lang="en-US" sz="2200" dirty="0" smtClean="0"/>
              <a:t>Advance American domestic manufacturing innovation by creating an effective manufacturing research and development infrastructure for U.S. industry and academia to solve industry-relevant problems.</a:t>
            </a:r>
          </a:p>
          <a:p>
            <a:pPr marL="0" indent="0">
              <a:buNone/>
            </a:pPr>
            <a:endParaRPr lang="en-US" sz="1050" b="1" i="1" dirty="0" smtClean="0"/>
          </a:p>
          <a:p>
            <a:pPr marL="0" indent="0">
              <a:buNone/>
            </a:pPr>
            <a:r>
              <a:rPr lang="en-US" sz="2200" b="1" i="1" dirty="0" smtClean="0"/>
              <a:t>Institute Mission</a:t>
            </a:r>
            <a:endParaRPr lang="en-US" sz="2200" i="1" dirty="0" smtClean="0"/>
          </a:p>
          <a:p>
            <a:pPr marL="0" indent="0">
              <a:buNone/>
            </a:pPr>
            <a:r>
              <a:rPr lang="en-US" sz="2200" i="1" dirty="0" smtClean="0"/>
              <a:t>Create and strengthen American manufacturing hubs through sustainable industry-led innovation institutes that create, showcase, and deploy new capabilities. </a:t>
            </a:r>
          </a:p>
          <a:p>
            <a:pPr marL="0" indent="0">
              <a:buNone/>
            </a:pPr>
            <a:endParaRPr lang="en-US" sz="1200" b="1" i="1" dirty="0" smtClean="0"/>
          </a:p>
          <a:p>
            <a:pPr marL="0" indent="0">
              <a:buNone/>
            </a:pPr>
            <a:r>
              <a:rPr lang="en-US" sz="2200" b="1" i="1" dirty="0" smtClean="0"/>
              <a:t>Network Mission</a:t>
            </a:r>
            <a:endParaRPr lang="en-US" sz="2200" i="1" dirty="0" smtClean="0"/>
          </a:p>
          <a:p>
            <a:pPr marL="0" indent="0">
              <a:buNone/>
            </a:pPr>
            <a:r>
              <a:rPr lang="en-US" sz="2200" i="1" dirty="0" smtClean="0"/>
              <a:t>Maximize the integrated impact of the manufacturing innovation institutes on U.S. manufacturing competitiveness.</a:t>
            </a:r>
          </a:p>
          <a:p>
            <a:pPr marL="0" indent="0">
              <a:buNone/>
            </a:pPr>
            <a:endParaRPr lang="en-US" sz="2200" dirty="0"/>
          </a:p>
        </p:txBody>
      </p:sp>
      <p:sp>
        <p:nvSpPr>
          <p:cNvPr id="6" name="Slide Number Placeholder 5"/>
          <p:cNvSpPr>
            <a:spLocks noGrp="1"/>
          </p:cNvSpPr>
          <p:nvPr>
            <p:ph type="sldNum" sz="quarter" idx="4"/>
          </p:nvPr>
        </p:nvSpPr>
        <p:spPr>
          <a:xfrm>
            <a:off x="7086600" y="6356350"/>
            <a:ext cx="2057400" cy="365125"/>
          </a:xfrm>
        </p:spPr>
        <p:txBody>
          <a:bodyPr/>
          <a:lstStyle/>
          <a:p>
            <a:fld id="{D57F1E4F-1CFF-5643-939E-217C01CDF565}" type="slidenum">
              <a:rPr lang="en-US" smtClean="0"/>
              <a:pPr/>
              <a:t>9</a:t>
            </a:fld>
            <a:endParaRPr lang="en-US" dirty="0"/>
          </a:p>
        </p:txBody>
      </p:sp>
    </p:spTree>
    <p:extLst>
      <p:ext uri="{BB962C8B-B14F-4D97-AF65-F5344CB8AC3E}">
        <p14:creationId xmlns:p14="http://schemas.microsoft.com/office/powerpoint/2010/main" val="3911272661"/>
      </p:ext>
    </p:extLst>
  </p:cSld>
  <p:clrMapOvr>
    <a:masterClrMapping/>
  </p:clrMapOvr>
  <p:transition xmlns:p14="http://schemas.microsoft.com/office/powerpoint/2010/main" spd="med"/>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FQ8kISqE0GI0MYCsk.1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IST_NNMI_Revise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New Clean Template AMNPO NNMI 08262015.pptx" id="{D3D8D946-DC18-466E-875F-A12042BC4045}" vid="{91091329-B1B0-467B-9DFC-C3C2ADD71A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New Clean Template AMNPO NNMI 08262015 - TEMPLATE</Template>
  <TotalTime>1767</TotalTime>
  <Words>1972</Words>
  <Application>Microsoft Macintosh PowerPoint</Application>
  <PresentationFormat>On-screen Show (4:3)</PresentationFormat>
  <Paragraphs>259</Paragraphs>
  <Slides>19</Slides>
  <Notes>10</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1" baseType="lpstr">
      <vt:lpstr>NIST_NNMI_Revised</vt:lpstr>
      <vt:lpstr>think-cell Slide</vt:lpstr>
      <vt:lpstr>PowerPoint Presentation</vt:lpstr>
      <vt:lpstr>PowerPoint Presentation</vt:lpstr>
      <vt:lpstr>PowerPoint Presentation</vt:lpstr>
      <vt:lpstr>PowerPoint Presentation</vt:lpstr>
      <vt:lpstr>Public Engagement on Design Workshops &amp; Request for Information</vt:lpstr>
      <vt:lpstr>PowerPoint Presentation</vt:lpstr>
      <vt:lpstr>PowerPoint Presentation</vt:lpstr>
      <vt:lpstr>NNMI: Addressing the “Scale-up” Gap</vt:lpstr>
      <vt:lpstr>The NNMI Mission</vt:lpstr>
      <vt:lpstr>Building the Network</vt:lpstr>
      <vt:lpstr>PowerPoint Presentation</vt:lpstr>
      <vt:lpstr>National Network for Manufacturing Innovation</vt:lpstr>
      <vt:lpstr>Institute of Advanced Composites Manufacturing Innovation</vt:lpstr>
      <vt:lpstr>PowerPoint Presentation</vt:lpstr>
      <vt:lpstr>1) Clear, unique Institute Focus</vt:lpstr>
      <vt:lpstr>2) Clear Industry Value Proposition</vt:lpstr>
      <vt:lpstr>PowerPoint Presentation</vt:lpstr>
      <vt:lpstr>PowerPoint Presentation</vt:lpstr>
      <vt:lpstr>PowerPoint Presentation</vt:lpstr>
    </vt:vector>
  </TitlesOfParts>
  <Company>USGP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ck to add Title</dc:title>
  <dc:creator>Maureen Nugent</dc:creator>
  <cp:lastModifiedBy>Fikes, John C. (MSFC-ZP30)</cp:lastModifiedBy>
  <cp:revision>115</cp:revision>
  <cp:lastPrinted>2015-10-01T15:38:27Z</cp:lastPrinted>
  <dcterms:created xsi:type="dcterms:W3CDTF">2015-03-04T14:39:39Z</dcterms:created>
  <dcterms:modified xsi:type="dcterms:W3CDTF">2016-06-20T21:27:03Z</dcterms:modified>
</cp:coreProperties>
</file>